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00" r:id="rId3"/>
  </p:sldMasterIdLst>
  <p:notesMasterIdLst>
    <p:notesMasterId r:id="rId25"/>
  </p:notesMasterIdLst>
  <p:sldIdLst>
    <p:sldId id="2147374918" r:id="rId4"/>
    <p:sldId id="2147374915" r:id="rId5"/>
    <p:sldId id="2147374910" r:id="rId6"/>
    <p:sldId id="2147374913" r:id="rId7"/>
    <p:sldId id="2147374914" r:id="rId8"/>
    <p:sldId id="2147374911" r:id="rId9"/>
    <p:sldId id="2147374916" r:id="rId10"/>
    <p:sldId id="2147374917" r:id="rId11"/>
    <p:sldId id="2147374921" r:id="rId12"/>
    <p:sldId id="2147374922" r:id="rId13"/>
    <p:sldId id="2147374912" r:id="rId14"/>
    <p:sldId id="4875" r:id="rId15"/>
    <p:sldId id="4876" r:id="rId16"/>
    <p:sldId id="2147374919" r:id="rId17"/>
    <p:sldId id="2147374920" r:id="rId18"/>
    <p:sldId id="2147374923" r:id="rId19"/>
    <p:sldId id="2147374924" r:id="rId20"/>
    <p:sldId id="2147374925" r:id="rId21"/>
    <p:sldId id="2147374926" r:id="rId22"/>
    <p:sldId id="2147374927" r:id="rId23"/>
    <p:sldId id="318"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262626"/>
    <a:srgbClr val="C0C0C0"/>
    <a:srgbClr val="FFE600"/>
    <a:srgbClr val="080808"/>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84530C-1040-4F70-8FB5-F4391A53C901}" v="72" dt="2023-09-08T19:23:52.706"/>
    <p1510:client id="{66725D04-7957-4E8B-8251-911A7F80CE25}" v="67" dt="2023-09-09T08:43:30.30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4660"/>
  </p:normalViewPr>
  <p:slideViewPr>
    <p:cSldViewPr snapToGrid="0">
      <p:cViewPr varScale="1">
        <p:scale>
          <a:sx n="67" d="100"/>
          <a:sy n="67" d="100"/>
        </p:scale>
        <p:origin x="644"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customXml" Target="../customXml/item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33"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customXml" Target="../customXml/item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 Id="rId30" Type="http://schemas.microsoft.com/office/2016/11/relationships/changesInfo" Target="changesInfos/changesInfo1.xml"/><Relationship Id="rId8"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rth P Ved" userId="4b0ec5b8-7ef9-4dc0-8d36-4c3446bef2c8" providerId="ADAL" clId="{66725D04-7957-4E8B-8251-911A7F80CE25}"/>
    <pc:docChg chg="undo redo custSel addSld delSld modSld modMainMaster">
      <pc:chgData name="Parth P Ved" userId="4b0ec5b8-7ef9-4dc0-8d36-4c3446bef2c8" providerId="ADAL" clId="{66725D04-7957-4E8B-8251-911A7F80CE25}" dt="2023-09-09T08:44:14.905" v="2671" actId="113"/>
      <pc:docMkLst>
        <pc:docMk/>
      </pc:docMkLst>
      <pc:sldChg chg="del">
        <pc:chgData name="Parth P Ved" userId="4b0ec5b8-7ef9-4dc0-8d36-4c3446bef2c8" providerId="ADAL" clId="{66725D04-7957-4E8B-8251-911A7F80CE25}" dt="2023-09-09T07:35:25.382" v="396" actId="47"/>
        <pc:sldMkLst>
          <pc:docMk/>
          <pc:sldMk cId="916565778" sldId="4874"/>
        </pc:sldMkLst>
      </pc:sldChg>
      <pc:sldChg chg="addSp delSp modSp mod">
        <pc:chgData name="Parth P Ved" userId="4b0ec5b8-7ef9-4dc0-8d36-4c3446bef2c8" providerId="ADAL" clId="{66725D04-7957-4E8B-8251-911A7F80CE25}" dt="2023-09-09T07:54:19.916" v="2245" actId="20577"/>
        <pc:sldMkLst>
          <pc:docMk/>
          <pc:sldMk cId="2775541266" sldId="2147374913"/>
        </pc:sldMkLst>
        <pc:spChg chg="add mod">
          <ac:chgData name="Parth P Ved" userId="4b0ec5b8-7ef9-4dc0-8d36-4c3446bef2c8" providerId="ADAL" clId="{66725D04-7957-4E8B-8251-911A7F80CE25}" dt="2023-09-09T07:52:27.473" v="1891" actId="20577"/>
          <ac:spMkLst>
            <pc:docMk/>
            <pc:sldMk cId="2775541266" sldId="2147374913"/>
            <ac:spMk id="2" creationId="{BC1F187E-BBA4-CC49-C827-CED1379365BC}"/>
          </ac:spMkLst>
        </pc:spChg>
        <pc:spChg chg="add mod">
          <ac:chgData name="Parth P Ved" userId="4b0ec5b8-7ef9-4dc0-8d36-4c3446bef2c8" providerId="ADAL" clId="{66725D04-7957-4E8B-8251-911A7F80CE25}" dt="2023-09-09T07:50:27.176" v="1556" actId="20577"/>
          <ac:spMkLst>
            <pc:docMk/>
            <pc:sldMk cId="2775541266" sldId="2147374913"/>
            <ac:spMk id="4" creationId="{86EBEEC0-4FE8-1414-2667-332AA019BF93}"/>
          </ac:spMkLst>
        </pc:spChg>
        <pc:spChg chg="add mod">
          <ac:chgData name="Parth P Ved" userId="4b0ec5b8-7ef9-4dc0-8d36-4c3446bef2c8" providerId="ADAL" clId="{66725D04-7957-4E8B-8251-911A7F80CE25}" dt="2023-09-09T07:52:16.187" v="1873" actId="20577"/>
          <ac:spMkLst>
            <pc:docMk/>
            <pc:sldMk cId="2775541266" sldId="2147374913"/>
            <ac:spMk id="5" creationId="{588088D1-6B5E-8B22-A264-D1E84839F3BB}"/>
          </ac:spMkLst>
        </pc:spChg>
        <pc:spChg chg="add mod">
          <ac:chgData name="Parth P Ved" userId="4b0ec5b8-7ef9-4dc0-8d36-4c3446bef2c8" providerId="ADAL" clId="{66725D04-7957-4E8B-8251-911A7F80CE25}" dt="2023-09-09T07:54:19.916" v="2245" actId="20577"/>
          <ac:spMkLst>
            <pc:docMk/>
            <pc:sldMk cId="2775541266" sldId="2147374913"/>
            <ac:spMk id="6" creationId="{0FD9FACD-25E6-A119-C6D2-F263FC6AA330}"/>
          </ac:spMkLst>
        </pc:spChg>
        <pc:spChg chg="del">
          <ac:chgData name="Parth P Ved" userId="4b0ec5b8-7ef9-4dc0-8d36-4c3446bef2c8" providerId="ADAL" clId="{66725D04-7957-4E8B-8251-911A7F80CE25}" dt="2023-09-09T07:28:58.845" v="9" actId="21"/>
          <ac:spMkLst>
            <pc:docMk/>
            <pc:sldMk cId="2775541266" sldId="2147374913"/>
            <ac:spMk id="52" creationId="{01999DA9-04C7-4BB4-9C2B-7B2BF7E178B0}"/>
          </ac:spMkLst>
        </pc:spChg>
        <pc:spChg chg="mod">
          <ac:chgData name="Parth P Ved" userId="4b0ec5b8-7ef9-4dc0-8d36-4c3446bef2c8" providerId="ADAL" clId="{66725D04-7957-4E8B-8251-911A7F80CE25}" dt="2023-09-09T07:34:03.010" v="393" actId="1076"/>
          <ac:spMkLst>
            <pc:docMk/>
            <pc:sldMk cId="2775541266" sldId="2147374913"/>
            <ac:spMk id="60" creationId="{1EA1F619-48C7-4DB7-8941-CE0A3000CAD4}"/>
          </ac:spMkLst>
        </pc:spChg>
        <pc:spChg chg="del">
          <ac:chgData name="Parth P Ved" userId="4b0ec5b8-7ef9-4dc0-8d36-4c3446bef2c8" providerId="ADAL" clId="{66725D04-7957-4E8B-8251-911A7F80CE25}" dt="2023-09-09T07:28:58.845" v="9" actId="21"/>
          <ac:spMkLst>
            <pc:docMk/>
            <pc:sldMk cId="2775541266" sldId="2147374913"/>
            <ac:spMk id="61" creationId="{4135059C-6C51-4652-AC0D-1EBA7471FEAC}"/>
          </ac:spMkLst>
        </pc:spChg>
        <pc:spChg chg="del">
          <ac:chgData name="Parth P Ved" userId="4b0ec5b8-7ef9-4dc0-8d36-4c3446bef2c8" providerId="ADAL" clId="{66725D04-7957-4E8B-8251-911A7F80CE25}" dt="2023-09-09T07:28:58.845" v="9" actId="21"/>
          <ac:spMkLst>
            <pc:docMk/>
            <pc:sldMk cId="2775541266" sldId="2147374913"/>
            <ac:spMk id="62" creationId="{318D3676-1CB1-44C3-A87E-4043624C129D}"/>
          </ac:spMkLst>
        </pc:spChg>
        <pc:spChg chg="del">
          <ac:chgData name="Parth P Ved" userId="4b0ec5b8-7ef9-4dc0-8d36-4c3446bef2c8" providerId="ADAL" clId="{66725D04-7957-4E8B-8251-911A7F80CE25}" dt="2023-09-09T07:28:58.845" v="9" actId="21"/>
          <ac:spMkLst>
            <pc:docMk/>
            <pc:sldMk cId="2775541266" sldId="2147374913"/>
            <ac:spMk id="64" creationId="{B134A4D1-D3D1-409E-9AC2-BC3872B2D4AD}"/>
          </ac:spMkLst>
        </pc:spChg>
      </pc:sldChg>
      <pc:sldChg chg="addSp delSp modSp mod">
        <pc:chgData name="Parth P Ved" userId="4b0ec5b8-7ef9-4dc0-8d36-4c3446bef2c8" providerId="ADAL" clId="{66725D04-7957-4E8B-8251-911A7F80CE25}" dt="2023-09-09T07:45:28.415" v="1175" actId="465"/>
        <pc:sldMkLst>
          <pc:docMk/>
          <pc:sldMk cId="2849089771" sldId="2147374914"/>
        </pc:sldMkLst>
        <pc:spChg chg="add del mod">
          <ac:chgData name="Parth P Ved" userId="4b0ec5b8-7ef9-4dc0-8d36-4c3446bef2c8" providerId="ADAL" clId="{66725D04-7957-4E8B-8251-911A7F80CE25}" dt="2023-09-09T07:29:01.780" v="11"/>
          <ac:spMkLst>
            <pc:docMk/>
            <pc:sldMk cId="2849089771" sldId="2147374914"/>
            <ac:spMk id="2" creationId="{5355DC9F-3138-584D-973F-C793B512A09F}"/>
          </ac:spMkLst>
        </pc:spChg>
        <pc:spChg chg="mod">
          <ac:chgData name="Parth P Ved" userId="4b0ec5b8-7ef9-4dc0-8d36-4c3446bef2c8" providerId="ADAL" clId="{66725D04-7957-4E8B-8251-911A7F80CE25}" dt="2023-09-09T07:29:18.976" v="61" actId="20577"/>
          <ac:spMkLst>
            <pc:docMk/>
            <pc:sldMk cId="2849089771" sldId="2147374914"/>
            <ac:spMk id="3" creationId="{F22C4214-8094-2B96-C1FF-9B458C9C467E}"/>
          </ac:spMkLst>
        </pc:spChg>
        <pc:spChg chg="add del mod">
          <ac:chgData name="Parth P Ved" userId="4b0ec5b8-7ef9-4dc0-8d36-4c3446bef2c8" providerId="ADAL" clId="{66725D04-7957-4E8B-8251-911A7F80CE25}" dt="2023-09-09T07:29:01.780" v="11"/>
          <ac:spMkLst>
            <pc:docMk/>
            <pc:sldMk cId="2849089771" sldId="2147374914"/>
            <ac:spMk id="4" creationId="{F0DDF5F2-53C3-0F29-B467-116225FD0D86}"/>
          </ac:spMkLst>
        </pc:spChg>
        <pc:spChg chg="add del mod">
          <ac:chgData name="Parth P Ved" userId="4b0ec5b8-7ef9-4dc0-8d36-4c3446bef2c8" providerId="ADAL" clId="{66725D04-7957-4E8B-8251-911A7F80CE25}" dt="2023-09-09T07:29:01.780" v="11"/>
          <ac:spMkLst>
            <pc:docMk/>
            <pc:sldMk cId="2849089771" sldId="2147374914"/>
            <ac:spMk id="5" creationId="{E965DE03-F2BD-58EA-2B7B-AED6BB760694}"/>
          </ac:spMkLst>
        </pc:spChg>
        <pc:spChg chg="add del mod">
          <ac:chgData name="Parth P Ved" userId="4b0ec5b8-7ef9-4dc0-8d36-4c3446bef2c8" providerId="ADAL" clId="{66725D04-7957-4E8B-8251-911A7F80CE25}" dt="2023-09-09T07:29:01.780" v="11"/>
          <ac:spMkLst>
            <pc:docMk/>
            <pc:sldMk cId="2849089771" sldId="2147374914"/>
            <ac:spMk id="6" creationId="{E9FA1687-48C4-CA79-50E4-46476F78AC90}"/>
          </ac:spMkLst>
        </pc:spChg>
        <pc:spChg chg="add mod">
          <ac:chgData name="Parth P Ved" userId="4b0ec5b8-7ef9-4dc0-8d36-4c3446bef2c8" providerId="ADAL" clId="{66725D04-7957-4E8B-8251-911A7F80CE25}" dt="2023-09-09T07:41:06.281" v="515" actId="1076"/>
          <ac:spMkLst>
            <pc:docMk/>
            <pc:sldMk cId="2849089771" sldId="2147374914"/>
            <ac:spMk id="7" creationId="{324F7AAD-8AF9-7D92-A0B5-9874E45FE4DB}"/>
          </ac:spMkLst>
        </pc:spChg>
        <pc:spChg chg="add mod">
          <ac:chgData name="Parth P Ved" userId="4b0ec5b8-7ef9-4dc0-8d36-4c3446bef2c8" providerId="ADAL" clId="{66725D04-7957-4E8B-8251-911A7F80CE25}" dt="2023-09-09T07:45:28.415" v="1175" actId="465"/>
          <ac:spMkLst>
            <pc:docMk/>
            <pc:sldMk cId="2849089771" sldId="2147374914"/>
            <ac:spMk id="8" creationId="{704CF3BF-FE9E-D129-A570-18AF93751C51}"/>
          </ac:spMkLst>
        </pc:spChg>
        <pc:spChg chg="add mod">
          <ac:chgData name="Parth P Ved" userId="4b0ec5b8-7ef9-4dc0-8d36-4c3446bef2c8" providerId="ADAL" clId="{66725D04-7957-4E8B-8251-911A7F80CE25}" dt="2023-09-09T07:45:28.415" v="1175" actId="465"/>
          <ac:spMkLst>
            <pc:docMk/>
            <pc:sldMk cId="2849089771" sldId="2147374914"/>
            <ac:spMk id="9" creationId="{BD7776B5-E254-59B6-8EE5-57F79C8A30C9}"/>
          </ac:spMkLst>
        </pc:spChg>
        <pc:spChg chg="del mod">
          <ac:chgData name="Parth P Ved" userId="4b0ec5b8-7ef9-4dc0-8d36-4c3446bef2c8" providerId="ADAL" clId="{66725D04-7957-4E8B-8251-911A7F80CE25}" dt="2023-09-09T07:35:49.486" v="399" actId="478"/>
          <ac:spMkLst>
            <pc:docMk/>
            <pc:sldMk cId="2849089771" sldId="2147374914"/>
            <ac:spMk id="10" creationId="{EC397484-199C-4FC4-8564-5E0557CD6CCB}"/>
          </ac:spMkLst>
        </pc:spChg>
        <pc:spChg chg="del mod">
          <ac:chgData name="Parth P Ved" userId="4b0ec5b8-7ef9-4dc0-8d36-4c3446bef2c8" providerId="ADAL" clId="{66725D04-7957-4E8B-8251-911A7F80CE25}" dt="2023-09-09T07:35:47.321" v="398" actId="478"/>
          <ac:spMkLst>
            <pc:docMk/>
            <pc:sldMk cId="2849089771" sldId="2147374914"/>
            <ac:spMk id="11" creationId="{591155E6-7713-4BD3-BB3C-98C44384A49E}"/>
          </ac:spMkLst>
        </pc:spChg>
        <pc:spChg chg="del mod">
          <ac:chgData name="Parth P Ved" userId="4b0ec5b8-7ef9-4dc0-8d36-4c3446bef2c8" providerId="ADAL" clId="{66725D04-7957-4E8B-8251-911A7F80CE25}" dt="2023-09-09T07:37:25.084" v="429" actId="478"/>
          <ac:spMkLst>
            <pc:docMk/>
            <pc:sldMk cId="2849089771" sldId="2147374914"/>
            <ac:spMk id="12" creationId="{C1D8AF5A-6A81-4176-93B5-5B90FE56FA81}"/>
          </ac:spMkLst>
        </pc:spChg>
        <pc:spChg chg="del mod">
          <ac:chgData name="Parth P Ved" userId="4b0ec5b8-7ef9-4dc0-8d36-4c3446bef2c8" providerId="ADAL" clId="{66725D04-7957-4E8B-8251-911A7F80CE25}" dt="2023-09-09T07:37:27.494" v="430" actId="478"/>
          <ac:spMkLst>
            <pc:docMk/>
            <pc:sldMk cId="2849089771" sldId="2147374914"/>
            <ac:spMk id="13" creationId="{6000041E-2A62-44EB-B269-BA78C3196527}"/>
          </ac:spMkLst>
        </pc:spChg>
        <pc:spChg chg="del mod">
          <ac:chgData name="Parth P Ved" userId="4b0ec5b8-7ef9-4dc0-8d36-4c3446bef2c8" providerId="ADAL" clId="{66725D04-7957-4E8B-8251-911A7F80CE25}" dt="2023-09-09T07:43:45.513" v="898" actId="478"/>
          <ac:spMkLst>
            <pc:docMk/>
            <pc:sldMk cId="2849089771" sldId="2147374914"/>
            <ac:spMk id="14" creationId="{B2FA8583-204C-406C-AC30-FCA21D073713}"/>
          </ac:spMkLst>
        </pc:spChg>
        <pc:spChg chg="del mod">
          <ac:chgData name="Parth P Ved" userId="4b0ec5b8-7ef9-4dc0-8d36-4c3446bef2c8" providerId="ADAL" clId="{66725D04-7957-4E8B-8251-911A7F80CE25}" dt="2023-09-09T07:37:15.163" v="427" actId="478"/>
          <ac:spMkLst>
            <pc:docMk/>
            <pc:sldMk cId="2849089771" sldId="2147374914"/>
            <ac:spMk id="15" creationId="{3AE12B84-720A-4DA5-B897-47EADA616B10}"/>
          </ac:spMkLst>
        </pc:spChg>
        <pc:spChg chg="del mod">
          <ac:chgData name="Parth P Ved" userId="4b0ec5b8-7ef9-4dc0-8d36-4c3446bef2c8" providerId="ADAL" clId="{66725D04-7957-4E8B-8251-911A7F80CE25}" dt="2023-09-09T07:37:15.163" v="427" actId="478"/>
          <ac:spMkLst>
            <pc:docMk/>
            <pc:sldMk cId="2849089771" sldId="2147374914"/>
            <ac:spMk id="16" creationId="{745806A1-B082-4139-8D41-ED53DBF6AA3D}"/>
          </ac:spMkLst>
        </pc:spChg>
        <pc:spChg chg="mod">
          <ac:chgData name="Parth P Ved" userId="4b0ec5b8-7ef9-4dc0-8d36-4c3446bef2c8" providerId="ADAL" clId="{66725D04-7957-4E8B-8251-911A7F80CE25}" dt="2023-09-09T07:29:05.457" v="50" actId="1036"/>
          <ac:spMkLst>
            <pc:docMk/>
            <pc:sldMk cId="2849089771" sldId="2147374914"/>
            <ac:spMk id="17" creationId="{BFB6EAC8-F8B1-4F40-81C2-536B499729EA}"/>
          </ac:spMkLst>
        </pc:spChg>
        <pc:spChg chg="mod">
          <ac:chgData name="Parth P Ved" userId="4b0ec5b8-7ef9-4dc0-8d36-4c3446bef2c8" providerId="ADAL" clId="{66725D04-7957-4E8B-8251-911A7F80CE25}" dt="2023-09-09T07:29:05.457" v="50" actId="1036"/>
          <ac:spMkLst>
            <pc:docMk/>
            <pc:sldMk cId="2849089771" sldId="2147374914"/>
            <ac:spMk id="18" creationId="{FDAC8677-EDB9-4472-B7B3-BE5B9763B36A}"/>
          </ac:spMkLst>
        </pc:spChg>
        <pc:spChg chg="add mod">
          <ac:chgData name="Parth P Ved" userId="4b0ec5b8-7ef9-4dc0-8d36-4c3446bef2c8" providerId="ADAL" clId="{66725D04-7957-4E8B-8251-911A7F80CE25}" dt="2023-09-09T07:45:28.415" v="1175" actId="465"/>
          <ac:spMkLst>
            <pc:docMk/>
            <pc:sldMk cId="2849089771" sldId="2147374914"/>
            <ac:spMk id="19" creationId="{D10242B9-1C71-93DF-93A7-8237842CEE07}"/>
          </ac:spMkLst>
        </pc:spChg>
        <pc:spChg chg="add mod">
          <ac:chgData name="Parth P Ved" userId="4b0ec5b8-7ef9-4dc0-8d36-4c3446bef2c8" providerId="ADAL" clId="{66725D04-7957-4E8B-8251-911A7F80CE25}" dt="2023-09-09T07:45:28.415" v="1175" actId="465"/>
          <ac:spMkLst>
            <pc:docMk/>
            <pc:sldMk cId="2849089771" sldId="2147374914"/>
            <ac:spMk id="20" creationId="{2B9CE4F6-1793-55A0-536E-CF8C42120352}"/>
          </ac:spMkLst>
        </pc:spChg>
        <pc:spChg chg="add mod">
          <ac:chgData name="Parth P Ved" userId="4b0ec5b8-7ef9-4dc0-8d36-4c3446bef2c8" providerId="ADAL" clId="{66725D04-7957-4E8B-8251-911A7F80CE25}" dt="2023-09-09T07:45:28.415" v="1175" actId="465"/>
          <ac:spMkLst>
            <pc:docMk/>
            <pc:sldMk cId="2849089771" sldId="2147374914"/>
            <ac:spMk id="21" creationId="{6F7642E4-032E-46C4-257B-D4C024E1070A}"/>
          </ac:spMkLst>
        </pc:spChg>
        <pc:spChg chg="add del mod">
          <ac:chgData name="Parth P Ved" userId="4b0ec5b8-7ef9-4dc0-8d36-4c3446bef2c8" providerId="ADAL" clId="{66725D04-7957-4E8B-8251-911A7F80CE25}" dt="2023-09-09T07:45:23.152" v="1174" actId="478"/>
          <ac:spMkLst>
            <pc:docMk/>
            <pc:sldMk cId="2849089771" sldId="2147374914"/>
            <ac:spMk id="22" creationId="{D3CB298E-4C6B-5CC6-FE36-495D568EF71A}"/>
          </ac:spMkLst>
        </pc:spChg>
        <pc:spChg chg="add mod">
          <ac:chgData name="Parth P Ved" userId="4b0ec5b8-7ef9-4dc0-8d36-4c3446bef2c8" providerId="ADAL" clId="{66725D04-7957-4E8B-8251-911A7F80CE25}" dt="2023-09-09T07:45:21.250" v="1173" actId="20577"/>
          <ac:spMkLst>
            <pc:docMk/>
            <pc:sldMk cId="2849089771" sldId="2147374914"/>
            <ac:spMk id="23" creationId="{EBF95893-D819-5FD7-2688-F3A62CD95037}"/>
          </ac:spMkLst>
        </pc:spChg>
        <pc:spChg chg="del mod">
          <ac:chgData name="Parth P Ved" userId="4b0ec5b8-7ef9-4dc0-8d36-4c3446bef2c8" providerId="ADAL" clId="{66725D04-7957-4E8B-8251-911A7F80CE25}" dt="2023-09-09T07:35:44.250" v="397" actId="478"/>
          <ac:spMkLst>
            <pc:docMk/>
            <pc:sldMk cId="2849089771" sldId="2147374914"/>
            <ac:spMk id="52" creationId="{01999DA9-04C7-4BB4-9C2B-7B2BF7E178B0}"/>
          </ac:spMkLst>
        </pc:spChg>
        <pc:spChg chg="del">
          <ac:chgData name="Parth P Ved" userId="4b0ec5b8-7ef9-4dc0-8d36-4c3446bef2c8" providerId="ADAL" clId="{66725D04-7957-4E8B-8251-911A7F80CE25}" dt="2023-09-09T07:28:52.838" v="8" actId="478"/>
          <ac:spMkLst>
            <pc:docMk/>
            <pc:sldMk cId="2849089771" sldId="2147374914"/>
            <ac:spMk id="58" creationId="{52A24615-F384-4AEA-870A-84ED22F78320}"/>
          </ac:spMkLst>
        </pc:spChg>
        <pc:spChg chg="del">
          <ac:chgData name="Parth P Ved" userId="4b0ec5b8-7ef9-4dc0-8d36-4c3446bef2c8" providerId="ADAL" clId="{66725D04-7957-4E8B-8251-911A7F80CE25}" dt="2023-09-09T07:28:52.838" v="8" actId="478"/>
          <ac:spMkLst>
            <pc:docMk/>
            <pc:sldMk cId="2849089771" sldId="2147374914"/>
            <ac:spMk id="59" creationId="{DE06CF1B-7261-439B-A335-F1DAAA38B029}"/>
          </ac:spMkLst>
        </pc:spChg>
        <pc:spChg chg="del mod">
          <ac:chgData name="Parth P Ved" userId="4b0ec5b8-7ef9-4dc0-8d36-4c3446bef2c8" providerId="ADAL" clId="{66725D04-7957-4E8B-8251-911A7F80CE25}" dt="2023-09-09T07:29:24.373" v="62" actId="478"/>
          <ac:spMkLst>
            <pc:docMk/>
            <pc:sldMk cId="2849089771" sldId="2147374914"/>
            <ac:spMk id="60" creationId="{1EA1F619-48C7-4DB7-8941-CE0A3000CAD4}"/>
          </ac:spMkLst>
        </pc:spChg>
      </pc:sldChg>
      <pc:sldChg chg="modSp mod">
        <pc:chgData name="Parth P Ved" userId="4b0ec5b8-7ef9-4dc0-8d36-4c3446bef2c8" providerId="ADAL" clId="{66725D04-7957-4E8B-8251-911A7F80CE25}" dt="2023-09-09T08:44:06.845" v="2670" actId="20577"/>
        <pc:sldMkLst>
          <pc:docMk/>
          <pc:sldMk cId="4256479026" sldId="2147374915"/>
        </pc:sldMkLst>
        <pc:spChg chg="mod">
          <ac:chgData name="Parth P Ved" userId="4b0ec5b8-7ef9-4dc0-8d36-4c3446bef2c8" providerId="ADAL" clId="{66725D04-7957-4E8B-8251-911A7F80CE25}" dt="2023-09-09T08:44:06.845" v="2670" actId="20577"/>
          <ac:spMkLst>
            <pc:docMk/>
            <pc:sldMk cId="4256479026" sldId="2147374915"/>
            <ac:spMk id="9" creationId="{2E85A2FD-5F15-4809-BFED-8EAFBA954587}"/>
          </ac:spMkLst>
        </pc:spChg>
      </pc:sldChg>
      <pc:sldChg chg="modSp mod">
        <pc:chgData name="Parth P Ved" userId="4b0ec5b8-7ef9-4dc0-8d36-4c3446bef2c8" providerId="ADAL" clId="{66725D04-7957-4E8B-8251-911A7F80CE25}" dt="2023-09-09T08:44:14.905" v="2671" actId="113"/>
        <pc:sldMkLst>
          <pc:docMk/>
          <pc:sldMk cId="3998490993" sldId="2147374918"/>
        </pc:sldMkLst>
        <pc:spChg chg="mod">
          <ac:chgData name="Parth P Ved" userId="4b0ec5b8-7ef9-4dc0-8d36-4c3446bef2c8" providerId="ADAL" clId="{66725D04-7957-4E8B-8251-911A7F80CE25}" dt="2023-09-09T08:44:14.905" v="2671" actId="113"/>
          <ac:spMkLst>
            <pc:docMk/>
            <pc:sldMk cId="3998490993" sldId="2147374918"/>
            <ac:spMk id="13" creationId="{E0727D7A-C1AE-4114-9541-85CA7D2AFE0F}"/>
          </ac:spMkLst>
        </pc:spChg>
        <pc:spChg chg="mod">
          <ac:chgData name="Parth P Ved" userId="4b0ec5b8-7ef9-4dc0-8d36-4c3446bef2c8" providerId="ADAL" clId="{66725D04-7957-4E8B-8251-911A7F80CE25}" dt="2023-09-09T08:06:17.635" v="2262" actId="1076"/>
          <ac:spMkLst>
            <pc:docMk/>
            <pc:sldMk cId="3998490993" sldId="2147374918"/>
            <ac:spMk id="14" creationId="{4C55B967-15C0-411A-BA1F-DE53F916E9D5}"/>
          </ac:spMkLst>
        </pc:spChg>
        <pc:spChg chg="mod">
          <ac:chgData name="Parth P Ved" userId="4b0ec5b8-7ef9-4dc0-8d36-4c3446bef2c8" providerId="ADAL" clId="{66725D04-7957-4E8B-8251-911A7F80CE25}" dt="2023-09-09T08:06:04.192" v="2257" actId="1076"/>
          <ac:spMkLst>
            <pc:docMk/>
            <pc:sldMk cId="3998490993" sldId="2147374918"/>
            <ac:spMk id="15" creationId="{76D87692-132F-4E51-8693-88F7B6A2A0E3}"/>
          </ac:spMkLst>
        </pc:spChg>
      </pc:sldChg>
      <pc:sldChg chg="add del">
        <pc:chgData name="Parth P Ved" userId="4b0ec5b8-7ef9-4dc0-8d36-4c3446bef2c8" providerId="ADAL" clId="{66725D04-7957-4E8B-8251-911A7F80CE25}" dt="2023-09-09T08:25:33.544" v="2266"/>
        <pc:sldMkLst>
          <pc:docMk/>
          <pc:sldMk cId="1535943207" sldId="2147374919"/>
        </pc:sldMkLst>
      </pc:sldChg>
      <pc:sldChg chg="modSp add mod">
        <pc:chgData name="Parth P Ved" userId="4b0ec5b8-7ef9-4dc0-8d36-4c3446bef2c8" providerId="ADAL" clId="{66725D04-7957-4E8B-8251-911A7F80CE25}" dt="2023-09-09T08:25:44.454" v="2279" actId="20577"/>
        <pc:sldMkLst>
          <pc:docMk/>
          <pc:sldMk cId="3717621308" sldId="2147374919"/>
        </pc:sldMkLst>
        <pc:spChg chg="mod">
          <ac:chgData name="Parth P Ved" userId="4b0ec5b8-7ef9-4dc0-8d36-4c3446bef2c8" providerId="ADAL" clId="{66725D04-7957-4E8B-8251-911A7F80CE25}" dt="2023-09-09T08:25:44.454" v="2279" actId="20577"/>
          <ac:spMkLst>
            <pc:docMk/>
            <pc:sldMk cId="3717621308" sldId="2147374919"/>
            <ac:spMk id="2" creationId="{650ACC24-8488-43C0-9A0A-195C0E6ED0D1}"/>
          </ac:spMkLst>
        </pc:spChg>
        <pc:spChg chg="mod">
          <ac:chgData name="Parth P Ved" userId="4b0ec5b8-7ef9-4dc0-8d36-4c3446bef2c8" providerId="ADAL" clId="{66725D04-7957-4E8B-8251-911A7F80CE25}" dt="2023-09-09T08:25:36.591" v="2269" actId="20577"/>
          <ac:spMkLst>
            <pc:docMk/>
            <pc:sldMk cId="3717621308" sldId="2147374919"/>
            <ac:spMk id="3" creationId="{561E47C9-B240-494C-9E62-B493CF52B358}"/>
          </ac:spMkLst>
        </pc:spChg>
      </pc:sldChg>
      <pc:sldChg chg="addSp delSp modSp add mod">
        <pc:chgData name="Parth P Ved" userId="4b0ec5b8-7ef9-4dc0-8d36-4c3446bef2c8" providerId="ADAL" clId="{66725D04-7957-4E8B-8251-911A7F80CE25}" dt="2023-09-09T08:27:03.636" v="2297" actId="208"/>
        <pc:sldMkLst>
          <pc:docMk/>
          <pc:sldMk cId="2427902828" sldId="2147374920"/>
        </pc:sldMkLst>
        <pc:spChg chg="mod">
          <ac:chgData name="Parth P Ved" userId="4b0ec5b8-7ef9-4dc0-8d36-4c3446bef2c8" providerId="ADAL" clId="{66725D04-7957-4E8B-8251-911A7F80CE25}" dt="2023-09-09T08:26:01.841" v="2285"/>
          <ac:spMkLst>
            <pc:docMk/>
            <pc:sldMk cId="2427902828" sldId="2147374920"/>
            <ac:spMk id="2" creationId="{DEF09EF4-86D6-9E03-B2A5-F97B5B5F14FD}"/>
          </ac:spMkLst>
        </pc:spChg>
        <pc:spChg chg="mod">
          <ac:chgData name="Parth P Ved" userId="4b0ec5b8-7ef9-4dc0-8d36-4c3446bef2c8" providerId="ADAL" clId="{66725D04-7957-4E8B-8251-911A7F80CE25}" dt="2023-09-09T08:26:17.937" v="2287"/>
          <ac:spMkLst>
            <pc:docMk/>
            <pc:sldMk cId="2427902828" sldId="2147374920"/>
            <ac:spMk id="7" creationId="{E4D9BB7C-53A1-7A44-F2AF-6B565F1C9C0B}"/>
          </ac:spMkLst>
        </pc:spChg>
        <pc:spChg chg="mod">
          <ac:chgData name="Parth P Ved" userId="4b0ec5b8-7ef9-4dc0-8d36-4c3446bef2c8" providerId="ADAL" clId="{66725D04-7957-4E8B-8251-911A7F80CE25}" dt="2023-09-09T08:26:17.937" v="2287"/>
          <ac:spMkLst>
            <pc:docMk/>
            <pc:sldMk cId="2427902828" sldId="2147374920"/>
            <ac:spMk id="8" creationId="{1D1CBD7E-5175-CABB-739F-18E871D49640}"/>
          </ac:spMkLst>
        </pc:spChg>
        <pc:spChg chg="mod">
          <ac:chgData name="Parth P Ved" userId="4b0ec5b8-7ef9-4dc0-8d36-4c3446bef2c8" providerId="ADAL" clId="{66725D04-7957-4E8B-8251-911A7F80CE25}" dt="2023-09-09T08:26:17.937" v="2287"/>
          <ac:spMkLst>
            <pc:docMk/>
            <pc:sldMk cId="2427902828" sldId="2147374920"/>
            <ac:spMk id="9" creationId="{45205FAF-A1AE-3C6A-AD14-AF3C88F03A90}"/>
          </ac:spMkLst>
        </pc:spChg>
        <pc:spChg chg="mod">
          <ac:chgData name="Parth P Ved" userId="4b0ec5b8-7ef9-4dc0-8d36-4c3446bef2c8" providerId="ADAL" clId="{66725D04-7957-4E8B-8251-911A7F80CE25}" dt="2023-09-09T08:26:17.937" v="2287"/>
          <ac:spMkLst>
            <pc:docMk/>
            <pc:sldMk cId="2427902828" sldId="2147374920"/>
            <ac:spMk id="10" creationId="{69483EF0-5C28-63CC-0EB6-4825C8492332}"/>
          </ac:spMkLst>
        </pc:spChg>
        <pc:spChg chg="mod">
          <ac:chgData name="Parth P Ved" userId="4b0ec5b8-7ef9-4dc0-8d36-4c3446bef2c8" providerId="ADAL" clId="{66725D04-7957-4E8B-8251-911A7F80CE25}" dt="2023-09-09T08:26:17.937" v="2287"/>
          <ac:spMkLst>
            <pc:docMk/>
            <pc:sldMk cId="2427902828" sldId="2147374920"/>
            <ac:spMk id="12" creationId="{2CBED69A-450A-50AF-7C71-15D13966217A}"/>
          </ac:spMkLst>
        </pc:spChg>
        <pc:spChg chg="mod">
          <ac:chgData name="Parth P Ved" userId="4b0ec5b8-7ef9-4dc0-8d36-4c3446bef2c8" providerId="ADAL" clId="{66725D04-7957-4E8B-8251-911A7F80CE25}" dt="2023-09-09T08:26:17.937" v="2287"/>
          <ac:spMkLst>
            <pc:docMk/>
            <pc:sldMk cId="2427902828" sldId="2147374920"/>
            <ac:spMk id="13" creationId="{681E6AB2-2B70-2B8D-B941-2BCBEBB3C22D}"/>
          </ac:spMkLst>
        </pc:spChg>
        <pc:spChg chg="mod">
          <ac:chgData name="Parth P Ved" userId="4b0ec5b8-7ef9-4dc0-8d36-4c3446bef2c8" providerId="ADAL" clId="{66725D04-7957-4E8B-8251-911A7F80CE25}" dt="2023-09-09T08:26:17.937" v="2287"/>
          <ac:spMkLst>
            <pc:docMk/>
            <pc:sldMk cId="2427902828" sldId="2147374920"/>
            <ac:spMk id="14" creationId="{B2151066-9EEA-657A-7794-BF376A6E8919}"/>
          </ac:spMkLst>
        </pc:spChg>
        <pc:spChg chg="mod">
          <ac:chgData name="Parth P Ved" userId="4b0ec5b8-7ef9-4dc0-8d36-4c3446bef2c8" providerId="ADAL" clId="{66725D04-7957-4E8B-8251-911A7F80CE25}" dt="2023-09-09T08:26:17.937" v="2287"/>
          <ac:spMkLst>
            <pc:docMk/>
            <pc:sldMk cId="2427902828" sldId="2147374920"/>
            <ac:spMk id="15" creationId="{40D30F8D-025F-DB77-6B0A-5B3B76E04531}"/>
          </ac:spMkLst>
        </pc:spChg>
        <pc:spChg chg="mod">
          <ac:chgData name="Parth P Ved" userId="4b0ec5b8-7ef9-4dc0-8d36-4c3446bef2c8" providerId="ADAL" clId="{66725D04-7957-4E8B-8251-911A7F80CE25}" dt="2023-09-09T08:26:17.937" v="2287"/>
          <ac:spMkLst>
            <pc:docMk/>
            <pc:sldMk cId="2427902828" sldId="2147374920"/>
            <ac:spMk id="17" creationId="{56462070-BBC4-E91A-E2F1-C7413D388A9E}"/>
          </ac:spMkLst>
        </pc:spChg>
        <pc:spChg chg="mod">
          <ac:chgData name="Parth P Ved" userId="4b0ec5b8-7ef9-4dc0-8d36-4c3446bef2c8" providerId="ADAL" clId="{66725D04-7957-4E8B-8251-911A7F80CE25}" dt="2023-09-09T08:26:17.937" v="2287"/>
          <ac:spMkLst>
            <pc:docMk/>
            <pc:sldMk cId="2427902828" sldId="2147374920"/>
            <ac:spMk id="18" creationId="{BF224BCF-FF35-6CCF-3C0F-31ABC968A3D9}"/>
          </ac:spMkLst>
        </pc:spChg>
        <pc:spChg chg="mod">
          <ac:chgData name="Parth P Ved" userId="4b0ec5b8-7ef9-4dc0-8d36-4c3446bef2c8" providerId="ADAL" clId="{66725D04-7957-4E8B-8251-911A7F80CE25}" dt="2023-09-09T08:26:17.937" v="2287"/>
          <ac:spMkLst>
            <pc:docMk/>
            <pc:sldMk cId="2427902828" sldId="2147374920"/>
            <ac:spMk id="19" creationId="{CDA73BD9-D76D-233C-DBA5-EAD989CFB66E}"/>
          </ac:spMkLst>
        </pc:spChg>
        <pc:spChg chg="mod">
          <ac:chgData name="Parth P Ved" userId="4b0ec5b8-7ef9-4dc0-8d36-4c3446bef2c8" providerId="ADAL" clId="{66725D04-7957-4E8B-8251-911A7F80CE25}" dt="2023-09-09T08:26:17.937" v="2287"/>
          <ac:spMkLst>
            <pc:docMk/>
            <pc:sldMk cId="2427902828" sldId="2147374920"/>
            <ac:spMk id="20" creationId="{05941208-303E-50F0-05B3-04274917B2DF}"/>
          </ac:spMkLst>
        </pc:spChg>
        <pc:spChg chg="mod">
          <ac:chgData name="Parth P Ved" userId="4b0ec5b8-7ef9-4dc0-8d36-4c3446bef2c8" providerId="ADAL" clId="{66725D04-7957-4E8B-8251-911A7F80CE25}" dt="2023-09-09T08:26:17.937" v="2287"/>
          <ac:spMkLst>
            <pc:docMk/>
            <pc:sldMk cId="2427902828" sldId="2147374920"/>
            <ac:spMk id="21" creationId="{08CB5B10-DC82-DDC9-A40F-1C7BF9E51B7D}"/>
          </ac:spMkLst>
        </pc:spChg>
        <pc:spChg chg="mod">
          <ac:chgData name="Parth P Ved" userId="4b0ec5b8-7ef9-4dc0-8d36-4c3446bef2c8" providerId="ADAL" clId="{66725D04-7957-4E8B-8251-911A7F80CE25}" dt="2023-09-09T08:26:17.937" v="2287"/>
          <ac:spMkLst>
            <pc:docMk/>
            <pc:sldMk cId="2427902828" sldId="2147374920"/>
            <ac:spMk id="22" creationId="{17B36667-BA82-DD33-0D29-601BC0D6C1AC}"/>
          </ac:spMkLst>
        </pc:spChg>
        <pc:spChg chg="mod">
          <ac:chgData name="Parth P Ved" userId="4b0ec5b8-7ef9-4dc0-8d36-4c3446bef2c8" providerId="ADAL" clId="{66725D04-7957-4E8B-8251-911A7F80CE25}" dt="2023-09-09T08:26:17.937" v="2287"/>
          <ac:spMkLst>
            <pc:docMk/>
            <pc:sldMk cId="2427902828" sldId="2147374920"/>
            <ac:spMk id="23" creationId="{0882B7A9-328B-4710-4246-1BA467302056}"/>
          </ac:spMkLst>
        </pc:spChg>
        <pc:spChg chg="mod">
          <ac:chgData name="Parth P Ved" userId="4b0ec5b8-7ef9-4dc0-8d36-4c3446bef2c8" providerId="ADAL" clId="{66725D04-7957-4E8B-8251-911A7F80CE25}" dt="2023-09-09T08:26:17.937" v="2287"/>
          <ac:spMkLst>
            <pc:docMk/>
            <pc:sldMk cId="2427902828" sldId="2147374920"/>
            <ac:spMk id="24" creationId="{7538BF38-7C33-2664-E645-4F269B6A690D}"/>
          </ac:spMkLst>
        </pc:spChg>
        <pc:spChg chg="mod">
          <ac:chgData name="Parth P Ved" userId="4b0ec5b8-7ef9-4dc0-8d36-4c3446bef2c8" providerId="ADAL" clId="{66725D04-7957-4E8B-8251-911A7F80CE25}" dt="2023-09-09T08:26:17.937" v="2287"/>
          <ac:spMkLst>
            <pc:docMk/>
            <pc:sldMk cId="2427902828" sldId="2147374920"/>
            <ac:spMk id="26" creationId="{D0F8AFEC-9549-4076-732F-04B7BB5FABC6}"/>
          </ac:spMkLst>
        </pc:spChg>
        <pc:spChg chg="mod">
          <ac:chgData name="Parth P Ved" userId="4b0ec5b8-7ef9-4dc0-8d36-4c3446bef2c8" providerId="ADAL" clId="{66725D04-7957-4E8B-8251-911A7F80CE25}" dt="2023-09-09T08:26:17.937" v="2287"/>
          <ac:spMkLst>
            <pc:docMk/>
            <pc:sldMk cId="2427902828" sldId="2147374920"/>
            <ac:spMk id="27" creationId="{1BB07A4F-89EA-34EF-3555-A344ED2196CF}"/>
          </ac:spMkLst>
        </pc:spChg>
        <pc:spChg chg="mod">
          <ac:chgData name="Parth P Ved" userId="4b0ec5b8-7ef9-4dc0-8d36-4c3446bef2c8" providerId="ADAL" clId="{66725D04-7957-4E8B-8251-911A7F80CE25}" dt="2023-09-09T08:26:17.937" v="2287"/>
          <ac:spMkLst>
            <pc:docMk/>
            <pc:sldMk cId="2427902828" sldId="2147374920"/>
            <ac:spMk id="28" creationId="{E22B6142-9CA1-EF8E-06AA-20844DB32D7F}"/>
          </ac:spMkLst>
        </pc:spChg>
        <pc:spChg chg="del">
          <ac:chgData name="Parth P Ved" userId="4b0ec5b8-7ef9-4dc0-8d36-4c3446bef2c8" providerId="ADAL" clId="{66725D04-7957-4E8B-8251-911A7F80CE25}" dt="2023-09-09T08:26:04.930" v="2286" actId="478"/>
          <ac:spMkLst>
            <pc:docMk/>
            <pc:sldMk cId="2427902828" sldId="2147374920"/>
            <ac:spMk id="29" creationId="{E6F94D10-BDAB-0387-3944-EA279EBA0FE3}"/>
          </ac:spMkLst>
        </pc:spChg>
        <pc:spChg chg="del">
          <ac:chgData name="Parth P Ved" userId="4b0ec5b8-7ef9-4dc0-8d36-4c3446bef2c8" providerId="ADAL" clId="{66725D04-7957-4E8B-8251-911A7F80CE25}" dt="2023-09-09T08:26:04.930" v="2286" actId="478"/>
          <ac:spMkLst>
            <pc:docMk/>
            <pc:sldMk cId="2427902828" sldId="2147374920"/>
            <ac:spMk id="30" creationId="{FE327382-F278-4B14-ABB2-EEFF1F30C458}"/>
          </ac:spMkLst>
        </pc:spChg>
        <pc:spChg chg="del">
          <ac:chgData name="Parth P Ved" userId="4b0ec5b8-7ef9-4dc0-8d36-4c3446bef2c8" providerId="ADAL" clId="{66725D04-7957-4E8B-8251-911A7F80CE25}" dt="2023-09-09T08:26:04.930" v="2286" actId="478"/>
          <ac:spMkLst>
            <pc:docMk/>
            <pc:sldMk cId="2427902828" sldId="2147374920"/>
            <ac:spMk id="31" creationId="{300D8A34-5B8A-25BC-6AE7-A532CA8E3100}"/>
          </ac:spMkLst>
        </pc:spChg>
        <pc:spChg chg="del">
          <ac:chgData name="Parth P Ved" userId="4b0ec5b8-7ef9-4dc0-8d36-4c3446bef2c8" providerId="ADAL" clId="{66725D04-7957-4E8B-8251-911A7F80CE25}" dt="2023-09-09T08:26:04.930" v="2286" actId="478"/>
          <ac:spMkLst>
            <pc:docMk/>
            <pc:sldMk cId="2427902828" sldId="2147374920"/>
            <ac:spMk id="32" creationId="{67D6F05C-9B1C-9723-786A-1BE47D9CFC64}"/>
          </ac:spMkLst>
        </pc:spChg>
        <pc:spChg chg="del">
          <ac:chgData name="Parth P Ved" userId="4b0ec5b8-7ef9-4dc0-8d36-4c3446bef2c8" providerId="ADAL" clId="{66725D04-7957-4E8B-8251-911A7F80CE25}" dt="2023-09-09T08:26:04.930" v="2286" actId="478"/>
          <ac:spMkLst>
            <pc:docMk/>
            <pc:sldMk cId="2427902828" sldId="2147374920"/>
            <ac:spMk id="33" creationId="{83718EF3-D050-3951-1763-9037AD3E9D63}"/>
          </ac:spMkLst>
        </pc:spChg>
        <pc:spChg chg="del">
          <ac:chgData name="Parth P Ved" userId="4b0ec5b8-7ef9-4dc0-8d36-4c3446bef2c8" providerId="ADAL" clId="{66725D04-7957-4E8B-8251-911A7F80CE25}" dt="2023-09-09T08:26:04.930" v="2286" actId="478"/>
          <ac:spMkLst>
            <pc:docMk/>
            <pc:sldMk cId="2427902828" sldId="2147374920"/>
            <ac:spMk id="34" creationId="{01E17A40-BCA4-FC19-4EB7-F51B8DBE50D9}"/>
          </ac:spMkLst>
        </pc:spChg>
        <pc:spChg chg="del">
          <ac:chgData name="Parth P Ved" userId="4b0ec5b8-7ef9-4dc0-8d36-4c3446bef2c8" providerId="ADAL" clId="{66725D04-7957-4E8B-8251-911A7F80CE25}" dt="2023-09-09T08:26:04.930" v="2286" actId="478"/>
          <ac:spMkLst>
            <pc:docMk/>
            <pc:sldMk cId="2427902828" sldId="2147374920"/>
            <ac:spMk id="35" creationId="{9AF0578B-05DC-8F6F-6B20-C8B5C35BA702}"/>
          </ac:spMkLst>
        </pc:spChg>
        <pc:spChg chg="del">
          <ac:chgData name="Parth P Ved" userId="4b0ec5b8-7ef9-4dc0-8d36-4c3446bef2c8" providerId="ADAL" clId="{66725D04-7957-4E8B-8251-911A7F80CE25}" dt="2023-09-09T08:26:04.930" v="2286" actId="478"/>
          <ac:spMkLst>
            <pc:docMk/>
            <pc:sldMk cId="2427902828" sldId="2147374920"/>
            <ac:spMk id="36" creationId="{758701CA-DF5D-6ECD-2DDD-AFD686B3420B}"/>
          </ac:spMkLst>
        </pc:spChg>
        <pc:spChg chg="mod">
          <ac:chgData name="Parth P Ved" userId="4b0ec5b8-7ef9-4dc0-8d36-4c3446bef2c8" providerId="ADAL" clId="{66725D04-7957-4E8B-8251-911A7F80CE25}" dt="2023-09-09T08:26:17.937" v="2287"/>
          <ac:spMkLst>
            <pc:docMk/>
            <pc:sldMk cId="2427902828" sldId="2147374920"/>
            <ac:spMk id="37" creationId="{95BB9BD8-998B-9FF6-3BE5-896E98A33FAF}"/>
          </ac:spMkLst>
        </pc:spChg>
        <pc:spChg chg="del">
          <ac:chgData name="Parth P Ved" userId="4b0ec5b8-7ef9-4dc0-8d36-4c3446bef2c8" providerId="ADAL" clId="{66725D04-7957-4E8B-8251-911A7F80CE25}" dt="2023-09-09T08:26:04.930" v="2286" actId="478"/>
          <ac:spMkLst>
            <pc:docMk/>
            <pc:sldMk cId="2427902828" sldId="2147374920"/>
            <ac:spMk id="38" creationId="{4EB7AD03-199B-BE95-BC6B-1EFAB8F6A8B0}"/>
          </ac:spMkLst>
        </pc:spChg>
        <pc:spChg chg="mod">
          <ac:chgData name="Parth P Ved" userId="4b0ec5b8-7ef9-4dc0-8d36-4c3446bef2c8" providerId="ADAL" clId="{66725D04-7957-4E8B-8251-911A7F80CE25}" dt="2023-09-09T08:26:17.937" v="2287"/>
          <ac:spMkLst>
            <pc:docMk/>
            <pc:sldMk cId="2427902828" sldId="2147374920"/>
            <ac:spMk id="54" creationId="{E51474CF-EB8B-8CA1-312D-AA780BEADA44}"/>
          </ac:spMkLst>
        </pc:spChg>
        <pc:spChg chg="mod">
          <ac:chgData name="Parth P Ved" userId="4b0ec5b8-7ef9-4dc0-8d36-4c3446bef2c8" providerId="ADAL" clId="{66725D04-7957-4E8B-8251-911A7F80CE25}" dt="2023-09-09T08:26:17.937" v="2287"/>
          <ac:spMkLst>
            <pc:docMk/>
            <pc:sldMk cId="2427902828" sldId="2147374920"/>
            <ac:spMk id="55" creationId="{4FC48D0F-3027-7BD6-E3F1-C00C45288E21}"/>
          </ac:spMkLst>
        </pc:spChg>
        <pc:spChg chg="mod">
          <ac:chgData name="Parth P Ved" userId="4b0ec5b8-7ef9-4dc0-8d36-4c3446bef2c8" providerId="ADAL" clId="{66725D04-7957-4E8B-8251-911A7F80CE25}" dt="2023-09-09T08:26:17.937" v="2287"/>
          <ac:spMkLst>
            <pc:docMk/>
            <pc:sldMk cId="2427902828" sldId="2147374920"/>
            <ac:spMk id="56" creationId="{45F5547E-362D-F62C-7BB1-5BA5438908F3}"/>
          </ac:spMkLst>
        </pc:spChg>
        <pc:spChg chg="mod">
          <ac:chgData name="Parth P Ved" userId="4b0ec5b8-7ef9-4dc0-8d36-4c3446bef2c8" providerId="ADAL" clId="{66725D04-7957-4E8B-8251-911A7F80CE25}" dt="2023-09-09T08:26:17.937" v="2287"/>
          <ac:spMkLst>
            <pc:docMk/>
            <pc:sldMk cId="2427902828" sldId="2147374920"/>
            <ac:spMk id="57" creationId="{9D32110A-2C17-9FCF-2FFE-5B0012C4089B}"/>
          </ac:spMkLst>
        </pc:spChg>
        <pc:spChg chg="mod">
          <ac:chgData name="Parth P Ved" userId="4b0ec5b8-7ef9-4dc0-8d36-4c3446bef2c8" providerId="ADAL" clId="{66725D04-7957-4E8B-8251-911A7F80CE25}" dt="2023-09-09T08:26:17.937" v="2287"/>
          <ac:spMkLst>
            <pc:docMk/>
            <pc:sldMk cId="2427902828" sldId="2147374920"/>
            <ac:spMk id="58" creationId="{1452C20D-0651-B070-DAED-205A811747C5}"/>
          </ac:spMkLst>
        </pc:spChg>
        <pc:spChg chg="mod">
          <ac:chgData name="Parth P Ved" userId="4b0ec5b8-7ef9-4dc0-8d36-4c3446bef2c8" providerId="ADAL" clId="{66725D04-7957-4E8B-8251-911A7F80CE25}" dt="2023-09-09T08:26:17.937" v="2287"/>
          <ac:spMkLst>
            <pc:docMk/>
            <pc:sldMk cId="2427902828" sldId="2147374920"/>
            <ac:spMk id="59" creationId="{E56EAB5D-2BCD-1568-C87C-C6F548FE41F2}"/>
          </ac:spMkLst>
        </pc:spChg>
        <pc:spChg chg="mod">
          <ac:chgData name="Parth P Ved" userId="4b0ec5b8-7ef9-4dc0-8d36-4c3446bef2c8" providerId="ADAL" clId="{66725D04-7957-4E8B-8251-911A7F80CE25}" dt="2023-09-09T08:26:17.937" v="2287"/>
          <ac:spMkLst>
            <pc:docMk/>
            <pc:sldMk cId="2427902828" sldId="2147374920"/>
            <ac:spMk id="60" creationId="{8B2DED49-9172-919D-5C16-48FE03FA635C}"/>
          </ac:spMkLst>
        </pc:spChg>
        <pc:spChg chg="mod">
          <ac:chgData name="Parth P Ved" userId="4b0ec5b8-7ef9-4dc0-8d36-4c3446bef2c8" providerId="ADAL" clId="{66725D04-7957-4E8B-8251-911A7F80CE25}" dt="2023-09-09T08:26:17.937" v="2287"/>
          <ac:spMkLst>
            <pc:docMk/>
            <pc:sldMk cId="2427902828" sldId="2147374920"/>
            <ac:spMk id="61" creationId="{AE617DA7-7902-E387-7114-967A94A4E75F}"/>
          </ac:spMkLst>
        </pc:spChg>
        <pc:spChg chg="mod">
          <ac:chgData name="Parth P Ved" userId="4b0ec5b8-7ef9-4dc0-8d36-4c3446bef2c8" providerId="ADAL" clId="{66725D04-7957-4E8B-8251-911A7F80CE25}" dt="2023-09-09T08:26:17.937" v="2287"/>
          <ac:spMkLst>
            <pc:docMk/>
            <pc:sldMk cId="2427902828" sldId="2147374920"/>
            <ac:spMk id="62" creationId="{B73FB534-A482-91D1-FE38-054E0FDA2405}"/>
          </ac:spMkLst>
        </pc:spChg>
        <pc:spChg chg="mod">
          <ac:chgData name="Parth P Ved" userId="4b0ec5b8-7ef9-4dc0-8d36-4c3446bef2c8" providerId="ADAL" clId="{66725D04-7957-4E8B-8251-911A7F80CE25}" dt="2023-09-09T08:26:17.937" v="2287"/>
          <ac:spMkLst>
            <pc:docMk/>
            <pc:sldMk cId="2427902828" sldId="2147374920"/>
            <ac:spMk id="63" creationId="{9698A2F6-B36D-B5DC-2AEE-20D10AB6C3DC}"/>
          </ac:spMkLst>
        </pc:spChg>
        <pc:spChg chg="mod">
          <ac:chgData name="Parth P Ved" userId="4b0ec5b8-7ef9-4dc0-8d36-4c3446bef2c8" providerId="ADAL" clId="{66725D04-7957-4E8B-8251-911A7F80CE25}" dt="2023-09-09T08:26:17.937" v="2287"/>
          <ac:spMkLst>
            <pc:docMk/>
            <pc:sldMk cId="2427902828" sldId="2147374920"/>
            <ac:spMk id="2048" creationId="{3E4BDF50-7255-003D-A235-95CFC6800FA3}"/>
          </ac:spMkLst>
        </pc:spChg>
        <pc:spChg chg="mod">
          <ac:chgData name="Parth P Ved" userId="4b0ec5b8-7ef9-4dc0-8d36-4c3446bef2c8" providerId="ADAL" clId="{66725D04-7957-4E8B-8251-911A7F80CE25}" dt="2023-09-09T08:26:17.937" v="2287"/>
          <ac:spMkLst>
            <pc:docMk/>
            <pc:sldMk cId="2427902828" sldId="2147374920"/>
            <ac:spMk id="2049" creationId="{819C713B-7633-3403-65A1-33E379B2BFEB}"/>
          </ac:spMkLst>
        </pc:spChg>
        <pc:spChg chg="mod">
          <ac:chgData name="Parth P Ved" userId="4b0ec5b8-7ef9-4dc0-8d36-4c3446bef2c8" providerId="ADAL" clId="{66725D04-7957-4E8B-8251-911A7F80CE25}" dt="2023-09-09T08:26:17.937" v="2287"/>
          <ac:spMkLst>
            <pc:docMk/>
            <pc:sldMk cId="2427902828" sldId="2147374920"/>
            <ac:spMk id="2058" creationId="{DE4FC7F7-865E-9B3D-0895-75E3CA24C95D}"/>
          </ac:spMkLst>
        </pc:spChg>
        <pc:spChg chg="mod">
          <ac:chgData name="Parth P Ved" userId="4b0ec5b8-7ef9-4dc0-8d36-4c3446bef2c8" providerId="ADAL" clId="{66725D04-7957-4E8B-8251-911A7F80CE25}" dt="2023-09-09T08:26:17.937" v="2287"/>
          <ac:spMkLst>
            <pc:docMk/>
            <pc:sldMk cId="2427902828" sldId="2147374920"/>
            <ac:spMk id="2059" creationId="{CB4F4C10-CDAE-FD60-525C-A91DD0F872EF}"/>
          </ac:spMkLst>
        </pc:spChg>
        <pc:spChg chg="mod">
          <ac:chgData name="Parth P Ved" userId="4b0ec5b8-7ef9-4dc0-8d36-4c3446bef2c8" providerId="ADAL" clId="{66725D04-7957-4E8B-8251-911A7F80CE25}" dt="2023-09-09T08:26:17.937" v="2287"/>
          <ac:spMkLst>
            <pc:docMk/>
            <pc:sldMk cId="2427902828" sldId="2147374920"/>
            <ac:spMk id="2060" creationId="{CB1CE74D-241B-8B66-8B27-A9051D4BDB9E}"/>
          </ac:spMkLst>
        </pc:spChg>
        <pc:spChg chg="mod">
          <ac:chgData name="Parth P Ved" userId="4b0ec5b8-7ef9-4dc0-8d36-4c3446bef2c8" providerId="ADAL" clId="{66725D04-7957-4E8B-8251-911A7F80CE25}" dt="2023-09-09T08:26:17.937" v="2287"/>
          <ac:spMkLst>
            <pc:docMk/>
            <pc:sldMk cId="2427902828" sldId="2147374920"/>
            <ac:spMk id="2061" creationId="{AD3FC3EC-A487-F9C5-E2F3-0DBC48420689}"/>
          </ac:spMkLst>
        </pc:spChg>
        <pc:spChg chg="mod">
          <ac:chgData name="Parth P Ved" userId="4b0ec5b8-7ef9-4dc0-8d36-4c3446bef2c8" providerId="ADAL" clId="{66725D04-7957-4E8B-8251-911A7F80CE25}" dt="2023-09-09T08:26:17.937" v="2287"/>
          <ac:spMkLst>
            <pc:docMk/>
            <pc:sldMk cId="2427902828" sldId="2147374920"/>
            <ac:spMk id="2062" creationId="{86C40889-08CF-4E2F-32FB-38E891ADA6B8}"/>
          </ac:spMkLst>
        </pc:spChg>
        <pc:spChg chg="mod">
          <ac:chgData name="Parth P Ved" userId="4b0ec5b8-7ef9-4dc0-8d36-4c3446bef2c8" providerId="ADAL" clId="{66725D04-7957-4E8B-8251-911A7F80CE25}" dt="2023-09-09T08:26:17.937" v="2287"/>
          <ac:spMkLst>
            <pc:docMk/>
            <pc:sldMk cId="2427902828" sldId="2147374920"/>
            <ac:spMk id="2063" creationId="{B8D58C6E-AC00-2CD0-A15F-619C2D74782F}"/>
          </ac:spMkLst>
        </pc:spChg>
        <pc:spChg chg="mod">
          <ac:chgData name="Parth P Ved" userId="4b0ec5b8-7ef9-4dc0-8d36-4c3446bef2c8" providerId="ADAL" clId="{66725D04-7957-4E8B-8251-911A7F80CE25}" dt="2023-09-09T08:26:17.937" v="2287"/>
          <ac:spMkLst>
            <pc:docMk/>
            <pc:sldMk cId="2427902828" sldId="2147374920"/>
            <ac:spMk id="2064" creationId="{DEBE09DC-7C17-F348-30B4-06186A3586CB}"/>
          </ac:spMkLst>
        </pc:spChg>
        <pc:spChg chg="mod">
          <ac:chgData name="Parth P Ved" userId="4b0ec5b8-7ef9-4dc0-8d36-4c3446bef2c8" providerId="ADAL" clId="{66725D04-7957-4E8B-8251-911A7F80CE25}" dt="2023-09-09T08:26:17.937" v="2287"/>
          <ac:spMkLst>
            <pc:docMk/>
            <pc:sldMk cId="2427902828" sldId="2147374920"/>
            <ac:spMk id="2065" creationId="{5D2DC839-FF1C-81C8-768B-D0F0B6F23313}"/>
          </ac:spMkLst>
        </pc:spChg>
        <pc:spChg chg="mod">
          <ac:chgData name="Parth P Ved" userId="4b0ec5b8-7ef9-4dc0-8d36-4c3446bef2c8" providerId="ADAL" clId="{66725D04-7957-4E8B-8251-911A7F80CE25}" dt="2023-09-09T08:26:17.937" v="2287"/>
          <ac:spMkLst>
            <pc:docMk/>
            <pc:sldMk cId="2427902828" sldId="2147374920"/>
            <ac:spMk id="2066" creationId="{F6A888B0-1AE4-5156-95F2-049E5F2658A8}"/>
          </ac:spMkLst>
        </pc:spChg>
        <pc:spChg chg="mod">
          <ac:chgData name="Parth P Ved" userId="4b0ec5b8-7ef9-4dc0-8d36-4c3446bef2c8" providerId="ADAL" clId="{66725D04-7957-4E8B-8251-911A7F80CE25}" dt="2023-09-09T08:26:17.937" v="2287"/>
          <ac:spMkLst>
            <pc:docMk/>
            <pc:sldMk cId="2427902828" sldId="2147374920"/>
            <ac:spMk id="2067" creationId="{AB9A8497-2B6B-22F3-1B53-F51A51255F92}"/>
          </ac:spMkLst>
        </pc:spChg>
        <pc:spChg chg="mod">
          <ac:chgData name="Parth P Ved" userId="4b0ec5b8-7ef9-4dc0-8d36-4c3446bef2c8" providerId="ADAL" clId="{66725D04-7957-4E8B-8251-911A7F80CE25}" dt="2023-09-09T08:26:17.937" v="2287"/>
          <ac:spMkLst>
            <pc:docMk/>
            <pc:sldMk cId="2427902828" sldId="2147374920"/>
            <ac:spMk id="2068" creationId="{467AAE94-528E-FC06-A269-32209294B36B}"/>
          </ac:spMkLst>
        </pc:spChg>
        <pc:spChg chg="mod">
          <ac:chgData name="Parth P Ved" userId="4b0ec5b8-7ef9-4dc0-8d36-4c3446bef2c8" providerId="ADAL" clId="{66725D04-7957-4E8B-8251-911A7F80CE25}" dt="2023-09-09T08:26:17.937" v="2287"/>
          <ac:spMkLst>
            <pc:docMk/>
            <pc:sldMk cId="2427902828" sldId="2147374920"/>
            <ac:spMk id="2069" creationId="{8520858A-36CA-A049-D5F7-E2168E27B409}"/>
          </ac:spMkLst>
        </pc:spChg>
        <pc:spChg chg="mod">
          <ac:chgData name="Parth P Ved" userId="4b0ec5b8-7ef9-4dc0-8d36-4c3446bef2c8" providerId="ADAL" clId="{66725D04-7957-4E8B-8251-911A7F80CE25}" dt="2023-09-09T08:26:17.937" v="2287"/>
          <ac:spMkLst>
            <pc:docMk/>
            <pc:sldMk cId="2427902828" sldId="2147374920"/>
            <ac:spMk id="2070" creationId="{ABB2CD16-09A0-F1F0-6B18-1F1070C9ADF4}"/>
          </ac:spMkLst>
        </pc:spChg>
        <pc:spChg chg="mod">
          <ac:chgData name="Parth P Ved" userId="4b0ec5b8-7ef9-4dc0-8d36-4c3446bef2c8" providerId="ADAL" clId="{66725D04-7957-4E8B-8251-911A7F80CE25}" dt="2023-09-09T08:26:17.937" v="2287"/>
          <ac:spMkLst>
            <pc:docMk/>
            <pc:sldMk cId="2427902828" sldId="2147374920"/>
            <ac:spMk id="2071" creationId="{4312F098-4422-C7B3-BE5B-7529D9B416EF}"/>
          </ac:spMkLst>
        </pc:spChg>
        <pc:spChg chg="mod">
          <ac:chgData name="Parth P Ved" userId="4b0ec5b8-7ef9-4dc0-8d36-4c3446bef2c8" providerId="ADAL" clId="{66725D04-7957-4E8B-8251-911A7F80CE25}" dt="2023-09-09T08:26:17.937" v="2287"/>
          <ac:spMkLst>
            <pc:docMk/>
            <pc:sldMk cId="2427902828" sldId="2147374920"/>
            <ac:spMk id="2072" creationId="{640E83F1-D683-D4B3-5061-B4AAC1BC0BEC}"/>
          </ac:spMkLst>
        </pc:spChg>
        <pc:spChg chg="mod">
          <ac:chgData name="Parth P Ved" userId="4b0ec5b8-7ef9-4dc0-8d36-4c3446bef2c8" providerId="ADAL" clId="{66725D04-7957-4E8B-8251-911A7F80CE25}" dt="2023-09-09T08:26:17.937" v="2287"/>
          <ac:spMkLst>
            <pc:docMk/>
            <pc:sldMk cId="2427902828" sldId="2147374920"/>
            <ac:spMk id="2073" creationId="{6BAD900D-6E44-0E90-2557-70EC80FAC6AB}"/>
          </ac:spMkLst>
        </pc:spChg>
        <pc:spChg chg="mod">
          <ac:chgData name="Parth P Ved" userId="4b0ec5b8-7ef9-4dc0-8d36-4c3446bef2c8" providerId="ADAL" clId="{66725D04-7957-4E8B-8251-911A7F80CE25}" dt="2023-09-09T08:26:17.937" v="2287"/>
          <ac:spMkLst>
            <pc:docMk/>
            <pc:sldMk cId="2427902828" sldId="2147374920"/>
            <ac:spMk id="2074" creationId="{9973C66A-B977-B6EB-AA72-D484C6C6F36F}"/>
          </ac:spMkLst>
        </pc:spChg>
        <pc:spChg chg="mod">
          <ac:chgData name="Parth P Ved" userId="4b0ec5b8-7ef9-4dc0-8d36-4c3446bef2c8" providerId="ADAL" clId="{66725D04-7957-4E8B-8251-911A7F80CE25}" dt="2023-09-09T08:26:17.937" v="2287"/>
          <ac:spMkLst>
            <pc:docMk/>
            <pc:sldMk cId="2427902828" sldId="2147374920"/>
            <ac:spMk id="2075" creationId="{ECA22064-384B-0DBD-C831-8ADDAA80F99C}"/>
          </ac:spMkLst>
        </pc:spChg>
        <pc:spChg chg="mod">
          <ac:chgData name="Parth P Ved" userId="4b0ec5b8-7ef9-4dc0-8d36-4c3446bef2c8" providerId="ADAL" clId="{66725D04-7957-4E8B-8251-911A7F80CE25}" dt="2023-09-09T08:26:17.937" v="2287"/>
          <ac:spMkLst>
            <pc:docMk/>
            <pc:sldMk cId="2427902828" sldId="2147374920"/>
            <ac:spMk id="2076" creationId="{EFE183BF-7A03-8E60-CF20-401BE135898F}"/>
          </ac:spMkLst>
        </pc:spChg>
        <pc:spChg chg="mod">
          <ac:chgData name="Parth P Ved" userId="4b0ec5b8-7ef9-4dc0-8d36-4c3446bef2c8" providerId="ADAL" clId="{66725D04-7957-4E8B-8251-911A7F80CE25}" dt="2023-09-09T08:26:17.937" v="2287"/>
          <ac:spMkLst>
            <pc:docMk/>
            <pc:sldMk cId="2427902828" sldId="2147374920"/>
            <ac:spMk id="2077" creationId="{5B2B684C-D46D-F91B-09C3-C5DBAC372F6B}"/>
          </ac:spMkLst>
        </pc:spChg>
        <pc:spChg chg="mod">
          <ac:chgData name="Parth P Ved" userId="4b0ec5b8-7ef9-4dc0-8d36-4c3446bef2c8" providerId="ADAL" clId="{66725D04-7957-4E8B-8251-911A7F80CE25}" dt="2023-09-09T08:26:17.937" v="2287"/>
          <ac:spMkLst>
            <pc:docMk/>
            <pc:sldMk cId="2427902828" sldId="2147374920"/>
            <ac:spMk id="2078" creationId="{87A09873-5914-95CD-26B9-510B000408F2}"/>
          </ac:spMkLst>
        </pc:spChg>
        <pc:spChg chg="mod">
          <ac:chgData name="Parth P Ved" userId="4b0ec5b8-7ef9-4dc0-8d36-4c3446bef2c8" providerId="ADAL" clId="{66725D04-7957-4E8B-8251-911A7F80CE25}" dt="2023-09-09T08:26:17.937" v="2287"/>
          <ac:spMkLst>
            <pc:docMk/>
            <pc:sldMk cId="2427902828" sldId="2147374920"/>
            <ac:spMk id="2079" creationId="{C7BBD3DE-DC24-664F-2962-CC0C15EBB59E}"/>
          </ac:spMkLst>
        </pc:spChg>
        <pc:spChg chg="mod">
          <ac:chgData name="Parth P Ved" userId="4b0ec5b8-7ef9-4dc0-8d36-4c3446bef2c8" providerId="ADAL" clId="{66725D04-7957-4E8B-8251-911A7F80CE25}" dt="2023-09-09T08:26:17.937" v="2287"/>
          <ac:spMkLst>
            <pc:docMk/>
            <pc:sldMk cId="2427902828" sldId="2147374920"/>
            <ac:spMk id="2080" creationId="{392ED8CA-2B08-32C8-165A-837D611B18C7}"/>
          </ac:spMkLst>
        </pc:spChg>
        <pc:spChg chg="mod">
          <ac:chgData name="Parth P Ved" userId="4b0ec5b8-7ef9-4dc0-8d36-4c3446bef2c8" providerId="ADAL" clId="{66725D04-7957-4E8B-8251-911A7F80CE25}" dt="2023-09-09T08:26:17.937" v="2287"/>
          <ac:spMkLst>
            <pc:docMk/>
            <pc:sldMk cId="2427902828" sldId="2147374920"/>
            <ac:spMk id="2081" creationId="{FE7679C6-0EBD-27BB-92AC-2CA3742E5106}"/>
          </ac:spMkLst>
        </pc:spChg>
        <pc:spChg chg="mod">
          <ac:chgData name="Parth P Ved" userId="4b0ec5b8-7ef9-4dc0-8d36-4c3446bef2c8" providerId="ADAL" clId="{66725D04-7957-4E8B-8251-911A7F80CE25}" dt="2023-09-09T08:26:17.937" v="2287"/>
          <ac:spMkLst>
            <pc:docMk/>
            <pc:sldMk cId="2427902828" sldId="2147374920"/>
            <ac:spMk id="2082" creationId="{66D135BB-F360-0309-35B4-075D29504F85}"/>
          </ac:spMkLst>
        </pc:spChg>
        <pc:spChg chg="mod">
          <ac:chgData name="Parth P Ved" userId="4b0ec5b8-7ef9-4dc0-8d36-4c3446bef2c8" providerId="ADAL" clId="{66725D04-7957-4E8B-8251-911A7F80CE25}" dt="2023-09-09T08:26:17.937" v="2287"/>
          <ac:spMkLst>
            <pc:docMk/>
            <pc:sldMk cId="2427902828" sldId="2147374920"/>
            <ac:spMk id="2083" creationId="{50211CA0-B5ED-A0B6-CA79-09057FC5D1B9}"/>
          </ac:spMkLst>
        </pc:spChg>
        <pc:spChg chg="mod">
          <ac:chgData name="Parth P Ved" userId="4b0ec5b8-7ef9-4dc0-8d36-4c3446bef2c8" providerId="ADAL" clId="{66725D04-7957-4E8B-8251-911A7F80CE25}" dt="2023-09-09T08:26:17.937" v="2287"/>
          <ac:spMkLst>
            <pc:docMk/>
            <pc:sldMk cId="2427902828" sldId="2147374920"/>
            <ac:spMk id="2084" creationId="{204AAE59-A9D0-1B62-0A14-94C4E059A852}"/>
          </ac:spMkLst>
        </pc:spChg>
        <pc:spChg chg="mod">
          <ac:chgData name="Parth P Ved" userId="4b0ec5b8-7ef9-4dc0-8d36-4c3446bef2c8" providerId="ADAL" clId="{66725D04-7957-4E8B-8251-911A7F80CE25}" dt="2023-09-09T08:26:17.937" v="2287"/>
          <ac:spMkLst>
            <pc:docMk/>
            <pc:sldMk cId="2427902828" sldId="2147374920"/>
            <ac:spMk id="2085" creationId="{CA1BC30A-C252-E683-53AD-1843ED7E234B}"/>
          </ac:spMkLst>
        </pc:spChg>
        <pc:spChg chg="mod">
          <ac:chgData name="Parth P Ved" userId="4b0ec5b8-7ef9-4dc0-8d36-4c3446bef2c8" providerId="ADAL" clId="{66725D04-7957-4E8B-8251-911A7F80CE25}" dt="2023-09-09T08:26:17.937" v="2287"/>
          <ac:spMkLst>
            <pc:docMk/>
            <pc:sldMk cId="2427902828" sldId="2147374920"/>
            <ac:spMk id="2086" creationId="{D00512E4-D4DA-43A8-4C2D-A62EFB7DD153}"/>
          </ac:spMkLst>
        </pc:spChg>
        <pc:spChg chg="mod">
          <ac:chgData name="Parth P Ved" userId="4b0ec5b8-7ef9-4dc0-8d36-4c3446bef2c8" providerId="ADAL" clId="{66725D04-7957-4E8B-8251-911A7F80CE25}" dt="2023-09-09T08:26:17.937" v="2287"/>
          <ac:spMkLst>
            <pc:docMk/>
            <pc:sldMk cId="2427902828" sldId="2147374920"/>
            <ac:spMk id="2087" creationId="{EC7368F2-F4A9-CDEC-0579-8A536BF3D434}"/>
          </ac:spMkLst>
        </pc:spChg>
        <pc:spChg chg="mod">
          <ac:chgData name="Parth P Ved" userId="4b0ec5b8-7ef9-4dc0-8d36-4c3446bef2c8" providerId="ADAL" clId="{66725D04-7957-4E8B-8251-911A7F80CE25}" dt="2023-09-09T08:26:17.937" v="2287"/>
          <ac:spMkLst>
            <pc:docMk/>
            <pc:sldMk cId="2427902828" sldId="2147374920"/>
            <ac:spMk id="2088" creationId="{30DDC483-DFEA-853D-46DE-A07CC024AE95}"/>
          </ac:spMkLst>
        </pc:spChg>
        <pc:spChg chg="mod">
          <ac:chgData name="Parth P Ved" userId="4b0ec5b8-7ef9-4dc0-8d36-4c3446bef2c8" providerId="ADAL" clId="{66725D04-7957-4E8B-8251-911A7F80CE25}" dt="2023-09-09T08:26:17.937" v="2287"/>
          <ac:spMkLst>
            <pc:docMk/>
            <pc:sldMk cId="2427902828" sldId="2147374920"/>
            <ac:spMk id="2089" creationId="{7C06D8CB-06C2-ED8B-D59F-98F59411B2DA}"/>
          </ac:spMkLst>
        </pc:spChg>
        <pc:spChg chg="mod">
          <ac:chgData name="Parth P Ved" userId="4b0ec5b8-7ef9-4dc0-8d36-4c3446bef2c8" providerId="ADAL" clId="{66725D04-7957-4E8B-8251-911A7F80CE25}" dt="2023-09-09T08:26:17.937" v="2287"/>
          <ac:spMkLst>
            <pc:docMk/>
            <pc:sldMk cId="2427902828" sldId="2147374920"/>
            <ac:spMk id="2090" creationId="{D34F654F-6D3D-B797-A1DC-923A0804F1AD}"/>
          </ac:spMkLst>
        </pc:spChg>
        <pc:spChg chg="mod">
          <ac:chgData name="Parth P Ved" userId="4b0ec5b8-7ef9-4dc0-8d36-4c3446bef2c8" providerId="ADAL" clId="{66725D04-7957-4E8B-8251-911A7F80CE25}" dt="2023-09-09T08:26:17.937" v="2287"/>
          <ac:spMkLst>
            <pc:docMk/>
            <pc:sldMk cId="2427902828" sldId="2147374920"/>
            <ac:spMk id="2091" creationId="{56F30424-202D-8984-11B9-71EC7B98F4AA}"/>
          </ac:spMkLst>
        </pc:spChg>
        <pc:spChg chg="mod">
          <ac:chgData name="Parth P Ved" userId="4b0ec5b8-7ef9-4dc0-8d36-4c3446bef2c8" providerId="ADAL" clId="{66725D04-7957-4E8B-8251-911A7F80CE25}" dt="2023-09-09T08:26:17.937" v="2287"/>
          <ac:spMkLst>
            <pc:docMk/>
            <pc:sldMk cId="2427902828" sldId="2147374920"/>
            <ac:spMk id="2092" creationId="{F73F904D-7655-1B9E-CFE6-D78824B03B88}"/>
          </ac:spMkLst>
        </pc:spChg>
        <pc:spChg chg="mod">
          <ac:chgData name="Parth P Ved" userId="4b0ec5b8-7ef9-4dc0-8d36-4c3446bef2c8" providerId="ADAL" clId="{66725D04-7957-4E8B-8251-911A7F80CE25}" dt="2023-09-09T08:26:17.937" v="2287"/>
          <ac:spMkLst>
            <pc:docMk/>
            <pc:sldMk cId="2427902828" sldId="2147374920"/>
            <ac:spMk id="2093" creationId="{1A0F478F-8BE7-833B-987C-0051515397CC}"/>
          </ac:spMkLst>
        </pc:spChg>
        <pc:spChg chg="mod">
          <ac:chgData name="Parth P Ved" userId="4b0ec5b8-7ef9-4dc0-8d36-4c3446bef2c8" providerId="ADAL" clId="{66725D04-7957-4E8B-8251-911A7F80CE25}" dt="2023-09-09T08:26:17.937" v="2287"/>
          <ac:spMkLst>
            <pc:docMk/>
            <pc:sldMk cId="2427902828" sldId="2147374920"/>
            <ac:spMk id="2094" creationId="{DCA7C457-3B44-E0BE-16EC-7466D8FDCE13}"/>
          </ac:spMkLst>
        </pc:spChg>
        <pc:spChg chg="mod">
          <ac:chgData name="Parth P Ved" userId="4b0ec5b8-7ef9-4dc0-8d36-4c3446bef2c8" providerId="ADAL" clId="{66725D04-7957-4E8B-8251-911A7F80CE25}" dt="2023-09-09T08:26:17.937" v="2287"/>
          <ac:spMkLst>
            <pc:docMk/>
            <pc:sldMk cId="2427902828" sldId="2147374920"/>
            <ac:spMk id="2095" creationId="{98AD0846-3EE5-1ADE-4CDE-63E2F5A63DFA}"/>
          </ac:spMkLst>
        </pc:spChg>
        <pc:spChg chg="mod">
          <ac:chgData name="Parth P Ved" userId="4b0ec5b8-7ef9-4dc0-8d36-4c3446bef2c8" providerId="ADAL" clId="{66725D04-7957-4E8B-8251-911A7F80CE25}" dt="2023-09-09T08:26:17.937" v="2287"/>
          <ac:spMkLst>
            <pc:docMk/>
            <pc:sldMk cId="2427902828" sldId="2147374920"/>
            <ac:spMk id="2096" creationId="{79548F76-0C86-4834-35B9-388B8F6F00BE}"/>
          </ac:spMkLst>
        </pc:spChg>
        <pc:spChg chg="mod">
          <ac:chgData name="Parth P Ved" userId="4b0ec5b8-7ef9-4dc0-8d36-4c3446bef2c8" providerId="ADAL" clId="{66725D04-7957-4E8B-8251-911A7F80CE25}" dt="2023-09-09T08:26:17.937" v="2287"/>
          <ac:spMkLst>
            <pc:docMk/>
            <pc:sldMk cId="2427902828" sldId="2147374920"/>
            <ac:spMk id="2097" creationId="{51AE6EEC-3FA0-F45E-6818-0AAAD6B43993}"/>
          </ac:spMkLst>
        </pc:spChg>
        <pc:spChg chg="mod">
          <ac:chgData name="Parth P Ved" userId="4b0ec5b8-7ef9-4dc0-8d36-4c3446bef2c8" providerId="ADAL" clId="{66725D04-7957-4E8B-8251-911A7F80CE25}" dt="2023-09-09T08:26:17.937" v="2287"/>
          <ac:spMkLst>
            <pc:docMk/>
            <pc:sldMk cId="2427902828" sldId="2147374920"/>
            <ac:spMk id="2098" creationId="{72082A72-ECAD-4717-E8D0-2FBEDC241AF1}"/>
          </ac:spMkLst>
        </pc:spChg>
        <pc:spChg chg="mod">
          <ac:chgData name="Parth P Ved" userId="4b0ec5b8-7ef9-4dc0-8d36-4c3446bef2c8" providerId="ADAL" clId="{66725D04-7957-4E8B-8251-911A7F80CE25}" dt="2023-09-09T08:26:17.937" v="2287"/>
          <ac:spMkLst>
            <pc:docMk/>
            <pc:sldMk cId="2427902828" sldId="2147374920"/>
            <ac:spMk id="2099" creationId="{ED03E034-442C-3467-2525-1167FD409CBE}"/>
          </ac:spMkLst>
        </pc:spChg>
        <pc:spChg chg="mod">
          <ac:chgData name="Parth P Ved" userId="4b0ec5b8-7ef9-4dc0-8d36-4c3446bef2c8" providerId="ADAL" clId="{66725D04-7957-4E8B-8251-911A7F80CE25}" dt="2023-09-09T08:26:17.937" v="2287"/>
          <ac:spMkLst>
            <pc:docMk/>
            <pc:sldMk cId="2427902828" sldId="2147374920"/>
            <ac:spMk id="2100" creationId="{EF6FC7F7-AE05-6B55-BE20-D52EA9844E79}"/>
          </ac:spMkLst>
        </pc:spChg>
        <pc:spChg chg="mod">
          <ac:chgData name="Parth P Ved" userId="4b0ec5b8-7ef9-4dc0-8d36-4c3446bef2c8" providerId="ADAL" clId="{66725D04-7957-4E8B-8251-911A7F80CE25}" dt="2023-09-09T08:26:17.937" v="2287"/>
          <ac:spMkLst>
            <pc:docMk/>
            <pc:sldMk cId="2427902828" sldId="2147374920"/>
            <ac:spMk id="2101" creationId="{40EBA3B6-7102-CFB9-5F56-4A4F37060B8A}"/>
          </ac:spMkLst>
        </pc:spChg>
        <pc:spChg chg="mod">
          <ac:chgData name="Parth P Ved" userId="4b0ec5b8-7ef9-4dc0-8d36-4c3446bef2c8" providerId="ADAL" clId="{66725D04-7957-4E8B-8251-911A7F80CE25}" dt="2023-09-09T08:26:17.937" v="2287"/>
          <ac:spMkLst>
            <pc:docMk/>
            <pc:sldMk cId="2427902828" sldId="2147374920"/>
            <ac:spMk id="2102" creationId="{5662EEDC-5D20-41F8-FCA4-21D5F6525483}"/>
          </ac:spMkLst>
        </pc:spChg>
        <pc:spChg chg="mod">
          <ac:chgData name="Parth P Ved" userId="4b0ec5b8-7ef9-4dc0-8d36-4c3446bef2c8" providerId="ADAL" clId="{66725D04-7957-4E8B-8251-911A7F80CE25}" dt="2023-09-09T08:26:17.937" v="2287"/>
          <ac:spMkLst>
            <pc:docMk/>
            <pc:sldMk cId="2427902828" sldId="2147374920"/>
            <ac:spMk id="2103" creationId="{BFA9773C-BD39-EEBB-EF2E-C661E61BB639}"/>
          </ac:spMkLst>
        </pc:spChg>
        <pc:spChg chg="mod">
          <ac:chgData name="Parth P Ved" userId="4b0ec5b8-7ef9-4dc0-8d36-4c3446bef2c8" providerId="ADAL" clId="{66725D04-7957-4E8B-8251-911A7F80CE25}" dt="2023-09-09T08:26:17.937" v="2287"/>
          <ac:spMkLst>
            <pc:docMk/>
            <pc:sldMk cId="2427902828" sldId="2147374920"/>
            <ac:spMk id="2104" creationId="{319BD1EF-E1F0-BBBE-F90D-D8A2255F1243}"/>
          </ac:spMkLst>
        </pc:spChg>
        <pc:spChg chg="mod">
          <ac:chgData name="Parth P Ved" userId="4b0ec5b8-7ef9-4dc0-8d36-4c3446bef2c8" providerId="ADAL" clId="{66725D04-7957-4E8B-8251-911A7F80CE25}" dt="2023-09-09T08:26:17.937" v="2287"/>
          <ac:spMkLst>
            <pc:docMk/>
            <pc:sldMk cId="2427902828" sldId="2147374920"/>
            <ac:spMk id="2105" creationId="{55253F02-E785-D332-D8A3-49E240DABD72}"/>
          </ac:spMkLst>
        </pc:spChg>
        <pc:spChg chg="mod">
          <ac:chgData name="Parth P Ved" userId="4b0ec5b8-7ef9-4dc0-8d36-4c3446bef2c8" providerId="ADAL" clId="{66725D04-7957-4E8B-8251-911A7F80CE25}" dt="2023-09-09T08:26:17.937" v="2287"/>
          <ac:spMkLst>
            <pc:docMk/>
            <pc:sldMk cId="2427902828" sldId="2147374920"/>
            <ac:spMk id="2106" creationId="{AFA3622D-F9D0-42B7-1B73-7FDD5251AA5F}"/>
          </ac:spMkLst>
        </pc:spChg>
        <pc:spChg chg="mod">
          <ac:chgData name="Parth P Ved" userId="4b0ec5b8-7ef9-4dc0-8d36-4c3446bef2c8" providerId="ADAL" clId="{66725D04-7957-4E8B-8251-911A7F80CE25}" dt="2023-09-09T08:26:17.937" v="2287"/>
          <ac:spMkLst>
            <pc:docMk/>
            <pc:sldMk cId="2427902828" sldId="2147374920"/>
            <ac:spMk id="2107" creationId="{E1B9E5F9-CB83-D9E2-A506-3083B88CB22A}"/>
          </ac:spMkLst>
        </pc:spChg>
        <pc:spChg chg="mod">
          <ac:chgData name="Parth P Ved" userId="4b0ec5b8-7ef9-4dc0-8d36-4c3446bef2c8" providerId="ADAL" clId="{66725D04-7957-4E8B-8251-911A7F80CE25}" dt="2023-09-09T08:26:17.937" v="2287"/>
          <ac:spMkLst>
            <pc:docMk/>
            <pc:sldMk cId="2427902828" sldId="2147374920"/>
            <ac:spMk id="2108" creationId="{62DA8CAE-C257-EF7E-EFDD-5DD612CA8D83}"/>
          </ac:spMkLst>
        </pc:spChg>
        <pc:spChg chg="mod">
          <ac:chgData name="Parth P Ved" userId="4b0ec5b8-7ef9-4dc0-8d36-4c3446bef2c8" providerId="ADAL" clId="{66725D04-7957-4E8B-8251-911A7F80CE25}" dt="2023-09-09T08:26:17.937" v="2287"/>
          <ac:spMkLst>
            <pc:docMk/>
            <pc:sldMk cId="2427902828" sldId="2147374920"/>
            <ac:spMk id="2109" creationId="{A53E5DC8-4ADF-3F3D-29CA-1569A3A5AF18}"/>
          </ac:spMkLst>
        </pc:spChg>
        <pc:spChg chg="mod">
          <ac:chgData name="Parth P Ved" userId="4b0ec5b8-7ef9-4dc0-8d36-4c3446bef2c8" providerId="ADAL" clId="{66725D04-7957-4E8B-8251-911A7F80CE25}" dt="2023-09-09T08:26:17.937" v="2287"/>
          <ac:spMkLst>
            <pc:docMk/>
            <pc:sldMk cId="2427902828" sldId="2147374920"/>
            <ac:spMk id="2110" creationId="{4BCFEB16-4C3B-7C71-24BA-6FEE626F0BBF}"/>
          </ac:spMkLst>
        </pc:spChg>
        <pc:spChg chg="mod">
          <ac:chgData name="Parth P Ved" userId="4b0ec5b8-7ef9-4dc0-8d36-4c3446bef2c8" providerId="ADAL" clId="{66725D04-7957-4E8B-8251-911A7F80CE25}" dt="2023-09-09T08:26:17.937" v="2287"/>
          <ac:spMkLst>
            <pc:docMk/>
            <pc:sldMk cId="2427902828" sldId="2147374920"/>
            <ac:spMk id="2111" creationId="{C9E888A4-1838-FC74-C012-101531E469A8}"/>
          </ac:spMkLst>
        </pc:spChg>
        <pc:spChg chg="mod">
          <ac:chgData name="Parth P Ved" userId="4b0ec5b8-7ef9-4dc0-8d36-4c3446bef2c8" providerId="ADAL" clId="{66725D04-7957-4E8B-8251-911A7F80CE25}" dt="2023-09-09T08:26:17.937" v="2287"/>
          <ac:spMkLst>
            <pc:docMk/>
            <pc:sldMk cId="2427902828" sldId="2147374920"/>
            <ac:spMk id="2112" creationId="{1FB268C7-CE4F-9C12-8506-CFFEDA619B36}"/>
          </ac:spMkLst>
        </pc:spChg>
        <pc:spChg chg="mod">
          <ac:chgData name="Parth P Ved" userId="4b0ec5b8-7ef9-4dc0-8d36-4c3446bef2c8" providerId="ADAL" clId="{66725D04-7957-4E8B-8251-911A7F80CE25}" dt="2023-09-09T08:26:17.937" v="2287"/>
          <ac:spMkLst>
            <pc:docMk/>
            <pc:sldMk cId="2427902828" sldId="2147374920"/>
            <ac:spMk id="2113" creationId="{933A6BB5-7FA7-4D43-B7D7-AAE1909A171A}"/>
          </ac:spMkLst>
        </pc:spChg>
        <pc:spChg chg="mod">
          <ac:chgData name="Parth P Ved" userId="4b0ec5b8-7ef9-4dc0-8d36-4c3446bef2c8" providerId="ADAL" clId="{66725D04-7957-4E8B-8251-911A7F80CE25}" dt="2023-09-09T08:26:17.937" v="2287"/>
          <ac:spMkLst>
            <pc:docMk/>
            <pc:sldMk cId="2427902828" sldId="2147374920"/>
            <ac:spMk id="2114" creationId="{9AD7A0C6-E76B-5B93-8A52-56208F11C55B}"/>
          </ac:spMkLst>
        </pc:spChg>
        <pc:spChg chg="mod">
          <ac:chgData name="Parth P Ved" userId="4b0ec5b8-7ef9-4dc0-8d36-4c3446bef2c8" providerId="ADAL" clId="{66725D04-7957-4E8B-8251-911A7F80CE25}" dt="2023-09-09T08:26:17.937" v="2287"/>
          <ac:spMkLst>
            <pc:docMk/>
            <pc:sldMk cId="2427902828" sldId="2147374920"/>
            <ac:spMk id="2115" creationId="{316CE4DC-F185-A846-B772-C09DEF2D251C}"/>
          </ac:spMkLst>
        </pc:spChg>
        <pc:spChg chg="mod">
          <ac:chgData name="Parth P Ved" userId="4b0ec5b8-7ef9-4dc0-8d36-4c3446bef2c8" providerId="ADAL" clId="{66725D04-7957-4E8B-8251-911A7F80CE25}" dt="2023-09-09T08:26:17.937" v="2287"/>
          <ac:spMkLst>
            <pc:docMk/>
            <pc:sldMk cId="2427902828" sldId="2147374920"/>
            <ac:spMk id="2116" creationId="{DF2AF3D2-00E0-B391-A3EB-A67FF948038B}"/>
          </ac:spMkLst>
        </pc:spChg>
        <pc:spChg chg="mod">
          <ac:chgData name="Parth P Ved" userId="4b0ec5b8-7ef9-4dc0-8d36-4c3446bef2c8" providerId="ADAL" clId="{66725D04-7957-4E8B-8251-911A7F80CE25}" dt="2023-09-09T08:26:17.937" v="2287"/>
          <ac:spMkLst>
            <pc:docMk/>
            <pc:sldMk cId="2427902828" sldId="2147374920"/>
            <ac:spMk id="2117" creationId="{61267F13-A6C1-7FF4-BF49-6BB2C10279F1}"/>
          </ac:spMkLst>
        </pc:spChg>
        <pc:spChg chg="mod">
          <ac:chgData name="Parth P Ved" userId="4b0ec5b8-7ef9-4dc0-8d36-4c3446bef2c8" providerId="ADAL" clId="{66725D04-7957-4E8B-8251-911A7F80CE25}" dt="2023-09-09T08:26:17.937" v="2287"/>
          <ac:spMkLst>
            <pc:docMk/>
            <pc:sldMk cId="2427902828" sldId="2147374920"/>
            <ac:spMk id="2118" creationId="{A6D81E3A-D852-C60F-F75D-CF0A23A01C0A}"/>
          </ac:spMkLst>
        </pc:spChg>
        <pc:spChg chg="mod">
          <ac:chgData name="Parth P Ved" userId="4b0ec5b8-7ef9-4dc0-8d36-4c3446bef2c8" providerId="ADAL" clId="{66725D04-7957-4E8B-8251-911A7F80CE25}" dt="2023-09-09T08:26:17.937" v="2287"/>
          <ac:spMkLst>
            <pc:docMk/>
            <pc:sldMk cId="2427902828" sldId="2147374920"/>
            <ac:spMk id="2119" creationId="{1D7EFE13-C63B-080B-4A6F-3BC393BE1AC6}"/>
          </ac:spMkLst>
        </pc:spChg>
        <pc:spChg chg="mod">
          <ac:chgData name="Parth P Ved" userId="4b0ec5b8-7ef9-4dc0-8d36-4c3446bef2c8" providerId="ADAL" clId="{66725D04-7957-4E8B-8251-911A7F80CE25}" dt="2023-09-09T08:26:17.937" v="2287"/>
          <ac:spMkLst>
            <pc:docMk/>
            <pc:sldMk cId="2427902828" sldId="2147374920"/>
            <ac:spMk id="2120" creationId="{85D5464B-244E-E4B4-A78C-E63A01A1E789}"/>
          </ac:spMkLst>
        </pc:spChg>
        <pc:spChg chg="mod">
          <ac:chgData name="Parth P Ved" userId="4b0ec5b8-7ef9-4dc0-8d36-4c3446bef2c8" providerId="ADAL" clId="{66725D04-7957-4E8B-8251-911A7F80CE25}" dt="2023-09-09T08:26:17.937" v="2287"/>
          <ac:spMkLst>
            <pc:docMk/>
            <pc:sldMk cId="2427902828" sldId="2147374920"/>
            <ac:spMk id="2121" creationId="{82AAF8BD-5D77-67AF-764E-3896D5A4DCA1}"/>
          </ac:spMkLst>
        </pc:spChg>
        <pc:spChg chg="mod">
          <ac:chgData name="Parth P Ved" userId="4b0ec5b8-7ef9-4dc0-8d36-4c3446bef2c8" providerId="ADAL" clId="{66725D04-7957-4E8B-8251-911A7F80CE25}" dt="2023-09-09T08:26:17.937" v="2287"/>
          <ac:spMkLst>
            <pc:docMk/>
            <pc:sldMk cId="2427902828" sldId="2147374920"/>
            <ac:spMk id="2122" creationId="{CBD6E1EA-1538-ABBA-CF44-7B5CE6DD50E2}"/>
          </ac:spMkLst>
        </pc:spChg>
        <pc:spChg chg="mod">
          <ac:chgData name="Parth P Ved" userId="4b0ec5b8-7ef9-4dc0-8d36-4c3446bef2c8" providerId="ADAL" clId="{66725D04-7957-4E8B-8251-911A7F80CE25}" dt="2023-09-09T08:26:17.937" v="2287"/>
          <ac:spMkLst>
            <pc:docMk/>
            <pc:sldMk cId="2427902828" sldId="2147374920"/>
            <ac:spMk id="2123" creationId="{5D6999C9-DFD4-D136-A72C-E8DC0E004809}"/>
          </ac:spMkLst>
        </pc:spChg>
        <pc:spChg chg="mod">
          <ac:chgData name="Parth P Ved" userId="4b0ec5b8-7ef9-4dc0-8d36-4c3446bef2c8" providerId="ADAL" clId="{66725D04-7957-4E8B-8251-911A7F80CE25}" dt="2023-09-09T08:26:17.937" v="2287"/>
          <ac:spMkLst>
            <pc:docMk/>
            <pc:sldMk cId="2427902828" sldId="2147374920"/>
            <ac:spMk id="2124" creationId="{502C7FCE-4091-7836-588D-D2C7260F5564}"/>
          </ac:spMkLst>
        </pc:spChg>
        <pc:spChg chg="mod">
          <ac:chgData name="Parth P Ved" userId="4b0ec5b8-7ef9-4dc0-8d36-4c3446bef2c8" providerId="ADAL" clId="{66725D04-7957-4E8B-8251-911A7F80CE25}" dt="2023-09-09T08:26:17.937" v="2287"/>
          <ac:spMkLst>
            <pc:docMk/>
            <pc:sldMk cId="2427902828" sldId="2147374920"/>
            <ac:spMk id="2125" creationId="{3DA7DA3E-1ECD-2A21-3489-333448EAAC0B}"/>
          </ac:spMkLst>
        </pc:spChg>
        <pc:spChg chg="mod">
          <ac:chgData name="Parth P Ved" userId="4b0ec5b8-7ef9-4dc0-8d36-4c3446bef2c8" providerId="ADAL" clId="{66725D04-7957-4E8B-8251-911A7F80CE25}" dt="2023-09-09T08:26:17.937" v="2287"/>
          <ac:spMkLst>
            <pc:docMk/>
            <pc:sldMk cId="2427902828" sldId="2147374920"/>
            <ac:spMk id="2126" creationId="{0326103D-E601-9FEC-94C9-BE4E6B8DFC91}"/>
          </ac:spMkLst>
        </pc:spChg>
        <pc:spChg chg="mod">
          <ac:chgData name="Parth P Ved" userId="4b0ec5b8-7ef9-4dc0-8d36-4c3446bef2c8" providerId="ADAL" clId="{66725D04-7957-4E8B-8251-911A7F80CE25}" dt="2023-09-09T08:26:17.937" v="2287"/>
          <ac:spMkLst>
            <pc:docMk/>
            <pc:sldMk cId="2427902828" sldId="2147374920"/>
            <ac:spMk id="2127" creationId="{E29F9BE6-695C-7188-3681-A4AE5C9642A5}"/>
          </ac:spMkLst>
        </pc:spChg>
        <pc:spChg chg="mod">
          <ac:chgData name="Parth P Ved" userId="4b0ec5b8-7ef9-4dc0-8d36-4c3446bef2c8" providerId="ADAL" clId="{66725D04-7957-4E8B-8251-911A7F80CE25}" dt="2023-09-09T08:26:17.937" v="2287"/>
          <ac:spMkLst>
            <pc:docMk/>
            <pc:sldMk cId="2427902828" sldId="2147374920"/>
            <ac:spMk id="2128" creationId="{EC9AE660-7732-BA3F-D6B9-45DEBB3568EE}"/>
          </ac:spMkLst>
        </pc:spChg>
        <pc:spChg chg="mod">
          <ac:chgData name="Parth P Ved" userId="4b0ec5b8-7ef9-4dc0-8d36-4c3446bef2c8" providerId="ADAL" clId="{66725D04-7957-4E8B-8251-911A7F80CE25}" dt="2023-09-09T08:26:17.937" v="2287"/>
          <ac:spMkLst>
            <pc:docMk/>
            <pc:sldMk cId="2427902828" sldId="2147374920"/>
            <ac:spMk id="2129" creationId="{F6AEF66D-CB45-8F89-C48E-A8400E55C750}"/>
          </ac:spMkLst>
        </pc:spChg>
        <pc:spChg chg="mod">
          <ac:chgData name="Parth P Ved" userId="4b0ec5b8-7ef9-4dc0-8d36-4c3446bef2c8" providerId="ADAL" clId="{66725D04-7957-4E8B-8251-911A7F80CE25}" dt="2023-09-09T08:26:17.937" v="2287"/>
          <ac:spMkLst>
            <pc:docMk/>
            <pc:sldMk cId="2427902828" sldId="2147374920"/>
            <ac:spMk id="2130" creationId="{B1F344D3-059F-1187-15AA-A096BE7963CD}"/>
          </ac:spMkLst>
        </pc:spChg>
        <pc:spChg chg="mod">
          <ac:chgData name="Parth P Ved" userId="4b0ec5b8-7ef9-4dc0-8d36-4c3446bef2c8" providerId="ADAL" clId="{66725D04-7957-4E8B-8251-911A7F80CE25}" dt="2023-09-09T08:26:17.937" v="2287"/>
          <ac:spMkLst>
            <pc:docMk/>
            <pc:sldMk cId="2427902828" sldId="2147374920"/>
            <ac:spMk id="2131" creationId="{7DA13D2A-C5BC-0E71-5625-DBB48EC9AA7A}"/>
          </ac:spMkLst>
        </pc:spChg>
        <pc:spChg chg="mod">
          <ac:chgData name="Parth P Ved" userId="4b0ec5b8-7ef9-4dc0-8d36-4c3446bef2c8" providerId="ADAL" clId="{66725D04-7957-4E8B-8251-911A7F80CE25}" dt="2023-09-09T08:26:17.937" v="2287"/>
          <ac:spMkLst>
            <pc:docMk/>
            <pc:sldMk cId="2427902828" sldId="2147374920"/>
            <ac:spMk id="2132" creationId="{3C316706-9F94-1169-DD4A-1ECFD35201A6}"/>
          </ac:spMkLst>
        </pc:spChg>
        <pc:spChg chg="mod">
          <ac:chgData name="Parth P Ved" userId="4b0ec5b8-7ef9-4dc0-8d36-4c3446bef2c8" providerId="ADAL" clId="{66725D04-7957-4E8B-8251-911A7F80CE25}" dt="2023-09-09T08:26:17.937" v="2287"/>
          <ac:spMkLst>
            <pc:docMk/>
            <pc:sldMk cId="2427902828" sldId="2147374920"/>
            <ac:spMk id="2133" creationId="{E8578C60-C549-9484-253B-F6289F2BD404}"/>
          </ac:spMkLst>
        </pc:spChg>
        <pc:spChg chg="mod">
          <ac:chgData name="Parth P Ved" userId="4b0ec5b8-7ef9-4dc0-8d36-4c3446bef2c8" providerId="ADAL" clId="{66725D04-7957-4E8B-8251-911A7F80CE25}" dt="2023-09-09T08:26:17.937" v="2287"/>
          <ac:spMkLst>
            <pc:docMk/>
            <pc:sldMk cId="2427902828" sldId="2147374920"/>
            <ac:spMk id="2134" creationId="{C16AC994-3635-9EB4-D009-7C5AC8A5CE25}"/>
          </ac:spMkLst>
        </pc:spChg>
        <pc:spChg chg="mod">
          <ac:chgData name="Parth P Ved" userId="4b0ec5b8-7ef9-4dc0-8d36-4c3446bef2c8" providerId="ADAL" clId="{66725D04-7957-4E8B-8251-911A7F80CE25}" dt="2023-09-09T08:26:17.937" v="2287"/>
          <ac:spMkLst>
            <pc:docMk/>
            <pc:sldMk cId="2427902828" sldId="2147374920"/>
            <ac:spMk id="2135" creationId="{E18E3D54-E6CF-C11F-6977-2AE10B290F66}"/>
          </ac:spMkLst>
        </pc:spChg>
        <pc:spChg chg="mod">
          <ac:chgData name="Parth P Ved" userId="4b0ec5b8-7ef9-4dc0-8d36-4c3446bef2c8" providerId="ADAL" clId="{66725D04-7957-4E8B-8251-911A7F80CE25}" dt="2023-09-09T08:26:17.937" v="2287"/>
          <ac:spMkLst>
            <pc:docMk/>
            <pc:sldMk cId="2427902828" sldId="2147374920"/>
            <ac:spMk id="2136" creationId="{FA6FBD37-6E5E-4B9F-27CC-7AC696A53992}"/>
          </ac:spMkLst>
        </pc:spChg>
        <pc:spChg chg="mod">
          <ac:chgData name="Parth P Ved" userId="4b0ec5b8-7ef9-4dc0-8d36-4c3446bef2c8" providerId="ADAL" clId="{66725D04-7957-4E8B-8251-911A7F80CE25}" dt="2023-09-09T08:26:17.937" v="2287"/>
          <ac:spMkLst>
            <pc:docMk/>
            <pc:sldMk cId="2427902828" sldId="2147374920"/>
            <ac:spMk id="2137" creationId="{8FC9930A-EA64-C9F1-BFFA-56A6DEFBADC8}"/>
          </ac:spMkLst>
        </pc:spChg>
        <pc:spChg chg="mod topLvl">
          <ac:chgData name="Parth P Ved" userId="4b0ec5b8-7ef9-4dc0-8d36-4c3446bef2c8" providerId="ADAL" clId="{66725D04-7957-4E8B-8251-911A7F80CE25}" dt="2023-09-09T08:26:50.355" v="2296" actId="165"/>
          <ac:spMkLst>
            <pc:docMk/>
            <pc:sldMk cId="2427902828" sldId="2147374920"/>
            <ac:spMk id="2142" creationId="{5AC02B6D-7C82-8388-D149-1F7E11AB9C57}"/>
          </ac:spMkLst>
        </pc:spChg>
        <pc:spChg chg="mod topLvl">
          <ac:chgData name="Parth P Ved" userId="4b0ec5b8-7ef9-4dc0-8d36-4c3446bef2c8" providerId="ADAL" clId="{66725D04-7957-4E8B-8251-911A7F80CE25}" dt="2023-09-09T08:26:50.355" v="2296" actId="165"/>
          <ac:spMkLst>
            <pc:docMk/>
            <pc:sldMk cId="2427902828" sldId="2147374920"/>
            <ac:spMk id="2143" creationId="{23FCDE7B-98FA-7A2E-ECB9-765EF6A4CAFC}"/>
          </ac:spMkLst>
        </pc:spChg>
        <pc:spChg chg="mod topLvl">
          <ac:chgData name="Parth P Ved" userId="4b0ec5b8-7ef9-4dc0-8d36-4c3446bef2c8" providerId="ADAL" clId="{66725D04-7957-4E8B-8251-911A7F80CE25}" dt="2023-09-09T08:26:50.355" v="2296" actId="165"/>
          <ac:spMkLst>
            <pc:docMk/>
            <pc:sldMk cId="2427902828" sldId="2147374920"/>
            <ac:spMk id="2144" creationId="{5ACDF4A6-CFDC-CFB5-87E3-49CFCBB6165F}"/>
          </ac:spMkLst>
        </pc:spChg>
        <pc:spChg chg="mod topLvl">
          <ac:chgData name="Parth P Ved" userId="4b0ec5b8-7ef9-4dc0-8d36-4c3446bef2c8" providerId="ADAL" clId="{66725D04-7957-4E8B-8251-911A7F80CE25}" dt="2023-09-09T08:26:50.355" v="2296" actId="165"/>
          <ac:spMkLst>
            <pc:docMk/>
            <pc:sldMk cId="2427902828" sldId="2147374920"/>
            <ac:spMk id="2145" creationId="{BC08158B-FB51-9B45-6674-C61C691D312A}"/>
          </ac:spMkLst>
        </pc:spChg>
        <pc:spChg chg="mod topLvl">
          <ac:chgData name="Parth P Ved" userId="4b0ec5b8-7ef9-4dc0-8d36-4c3446bef2c8" providerId="ADAL" clId="{66725D04-7957-4E8B-8251-911A7F80CE25}" dt="2023-09-09T08:26:50.355" v="2296" actId="165"/>
          <ac:spMkLst>
            <pc:docMk/>
            <pc:sldMk cId="2427902828" sldId="2147374920"/>
            <ac:spMk id="2147" creationId="{88ECC0F0-7B22-D8ED-395E-DA3463608F95}"/>
          </ac:spMkLst>
        </pc:spChg>
        <pc:spChg chg="mod topLvl">
          <ac:chgData name="Parth P Ved" userId="4b0ec5b8-7ef9-4dc0-8d36-4c3446bef2c8" providerId="ADAL" clId="{66725D04-7957-4E8B-8251-911A7F80CE25}" dt="2023-09-09T08:26:50.355" v="2296" actId="165"/>
          <ac:spMkLst>
            <pc:docMk/>
            <pc:sldMk cId="2427902828" sldId="2147374920"/>
            <ac:spMk id="2148" creationId="{1CD08C73-C6B8-D503-4A6D-AEB2CB0F28B7}"/>
          </ac:spMkLst>
        </pc:spChg>
        <pc:spChg chg="mod topLvl">
          <ac:chgData name="Parth P Ved" userId="4b0ec5b8-7ef9-4dc0-8d36-4c3446bef2c8" providerId="ADAL" clId="{66725D04-7957-4E8B-8251-911A7F80CE25}" dt="2023-09-09T08:26:50.355" v="2296" actId="165"/>
          <ac:spMkLst>
            <pc:docMk/>
            <pc:sldMk cId="2427902828" sldId="2147374920"/>
            <ac:spMk id="2149" creationId="{FFD3A9EC-FB88-F4D8-2C5A-DFC8BA249B0F}"/>
          </ac:spMkLst>
        </pc:spChg>
        <pc:spChg chg="mod topLvl">
          <ac:chgData name="Parth P Ved" userId="4b0ec5b8-7ef9-4dc0-8d36-4c3446bef2c8" providerId="ADAL" clId="{66725D04-7957-4E8B-8251-911A7F80CE25}" dt="2023-09-09T08:26:50.355" v="2296" actId="165"/>
          <ac:spMkLst>
            <pc:docMk/>
            <pc:sldMk cId="2427902828" sldId="2147374920"/>
            <ac:spMk id="2150" creationId="{D2E21805-F6B8-AB16-0F92-1D73676D3427}"/>
          </ac:spMkLst>
        </pc:spChg>
        <pc:spChg chg="mod topLvl">
          <ac:chgData name="Parth P Ved" userId="4b0ec5b8-7ef9-4dc0-8d36-4c3446bef2c8" providerId="ADAL" clId="{66725D04-7957-4E8B-8251-911A7F80CE25}" dt="2023-09-09T08:26:50.355" v="2296" actId="165"/>
          <ac:spMkLst>
            <pc:docMk/>
            <pc:sldMk cId="2427902828" sldId="2147374920"/>
            <ac:spMk id="2152" creationId="{0902291F-8B2A-FA8A-CB4A-00E8F1307DF7}"/>
          </ac:spMkLst>
        </pc:spChg>
        <pc:spChg chg="mod topLvl">
          <ac:chgData name="Parth P Ved" userId="4b0ec5b8-7ef9-4dc0-8d36-4c3446bef2c8" providerId="ADAL" clId="{66725D04-7957-4E8B-8251-911A7F80CE25}" dt="2023-09-09T08:26:50.355" v="2296" actId="165"/>
          <ac:spMkLst>
            <pc:docMk/>
            <pc:sldMk cId="2427902828" sldId="2147374920"/>
            <ac:spMk id="2153" creationId="{915CF7BF-7E6A-53B4-A507-E1C5553E7BD7}"/>
          </ac:spMkLst>
        </pc:spChg>
        <pc:spChg chg="mod topLvl">
          <ac:chgData name="Parth P Ved" userId="4b0ec5b8-7ef9-4dc0-8d36-4c3446bef2c8" providerId="ADAL" clId="{66725D04-7957-4E8B-8251-911A7F80CE25}" dt="2023-09-09T08:26:50.355" v="2296" actId="165"/>
          <ac:spMkLst>
            <pc:docMk/>
            <pc:sldMk cId="2427902828" sldId="2147374920"/>
            <ac:spMk id="2154" creationId="{9DCACFF4-9A65-26F0-0208-88D5C6E7C256}"/>
          </ac:spMkLst>
        </pc:spChg>
        <pc:spChg chg="mod topLvl">
          <ac:chgData name="Parth P Ved" userId="4b0ec5b8-7ef9-4dc0-8d36-4c3446bef2c8" providerId="ADAL" clId="{66725D04-7957-4E8B-8251-911A7F80CE25}" dt="2023-09-09T08:26:50.355" v="2296" actId="165"/>
          <ac:spMkLst>
            <pc:docMk/>
            <pc:sldMk cId="2427902828" sldId="2147374920"/>
            <ac:spMk id="2155" creationId="{B78371CA-1884-3838-D344-4E6355BB493A}"/>
          </ac:spMkLst>
        </pc:spChg>
        <pc:spChg chg="mod topLvl">
          <ac:chgData name="Parth P Ved" userId="4b0ec5b8-7ef9-4dc0-8d36-4c3446bef2c8" providerId="ADAL" clId="{66725D04-7957-4E8B-8251-911A7F80CE25}" dt="2023-09-09T08:26:50.355" v="2296" actId="165"/>
          <ac:spMkLst>
            <pc:docMk/>
            <pc:sldMk cId="2427902828" sldId="2147374920"/>
            <ac:spMk id="2156" creationId="{964B3C60-08EC-219F-A052-B6266ED635C8}"/>
          </ac:spMkLst>
        </pc:spChg>
        <pc:spChg chg="mod topLvl">
          <ac:chgData name="Parth P Ved" userId="4b0ec5b8-7ef9-4dc0-8d36-4c3446bef2c8" providerId="ADAL" clId="{66725D04-7957-4E8B-8251-911A7F80CE25}" dt="2023-09-09T08:26:50.355" v="2296" actId="165"/>
          <ac:spMkLst>
            <pc:docMk/>
            <pc:sldMk cId="2427902828" sldId="2147374920"/>
            <ac:spMk id="2157" creationId="{D73C390D-3E30-1F75-6545-122078049FC2}"/>
          </ac:spMkLst>
        </pc:spChg>
        <pc:spChg chg="mod topLvl">
          <ac:chgData name="Parth P Ved" userId="4b0ec5b8-7ef9-4dc0-8d36-4c3446bef2c8" providerId="ADAL" clId="{66725D04-7957-4E8B-8251-911A7F80CE25}" dt="2023-09-09T08:26:50.355" v="2296" actId="165"/>
          <ac:spMkLst>
            <pc:docMk/>
            <pc:sldMk cId="2427902828" sldId="2147374920"/>
            <ac:spMk id="2158" creationId="{B771F6AC-BB77-A688-FB62-5456109868FE}"/>
          </ac:spMkLst>
        </pc:spChg>
        <pc:spChg chg="mod topLvl">
          <ac:chgData name="Parth P Ved" userId="4b0ec5b8-7ef9-4dc0-8d36-4c3446bef2c8" providerId="ADAL" clId="{66725D04-7957-4E8B-8251-911A7F80CE25}" dt="2023-09-09T08:26:50.355" v="2296" actId="165"/>
          <ac:spMkLst>
            <pc:docMk/>
            <pc:sldMk cId="2427902828" sldId="2147374920"/>
            <ac:spMk id="2159" creationId="{DE8D7EE4-FEE9-4615-3632-F1F702C92FF8}"/>
          </ac:spMkLst>
        </pc:spChg>
        <pc:spChg chg="mod topLvl">
          <ac:chgData name="Parth P Ved" userId="4b0ec5b8-7ef9-4dc0-8d36-4c3446bef2c8" providerId="ADAL" clId="{66725D04-7957-4E8B-8251-911A7F80CE25}" dt="2023-09-09T08:26:50.355" v="2296" actId="165"/>
          <ac:spMkLst>
            <pc:docMk/>
            <pc:sldMk cId="2427902828" sldId="2147374920"/>
            <ac:spMk id="2161" creationId="{C879F9C3-AAA1-47CD-E9DF-7051BF765F82}"/>
          </ac:spMkLst>
        </pc:spChg>
        <pc:spChg chg="mod topLvl">
          <ac:chgData name="Parth P Ved" userId="4b0ec5b8-7ef9-4dc0-8d36-4c3446bef2c8" providerId="ADAL" clId="{66725D04-7957-4E8B-8251-911A7F80CE25}" dt="2023-09-09T08:26:50.355" v="2296" actId="165"/>
          <ac:spMkLst>
            <pc:docMk/>
            <pc:sldMk cId="2427902828" sldId="2147374920"/>
            <ac:spMk id="2162" creationId="{01C09BF8-7444-8B7D-5124-0A96263B0DF4}"/>
          </ac:spMkLst>
        </pc:spChg>
        <pc:spChg chg="mod topLvl">
          <ac:chgData name="Parth P Ved" userId="4b0ec5b8-7ef9-4dc0-8d36-4c3446bef2c8" providerId="ADAL" clId="{66725D04-7957-4E8B-8251-911A7F80CE25}" dt="2023-09-09T08:26:50.355" v="2296" actId="165"/>
          <ac:spMkLst>
            <pc:docMk/>
            <pc:sldMk cId="2427902828" sldId="2147374920"/>
            <ac:spMk id="2163" creationId="{025A90E5-D292-4B07-2810-E6D8C476D5E2}"/>
          </ac:spMkLst>
        </pc:spChg>
        <pc:spChg chg="mod topLvl">
          <ac:chgData name="Parth P Ved" userId="4b0ec5b8-7ef9-4dc0-8d36-4c3446bef2c8" providerId="ADAL" clId="{66725D04-7957-4E8B-8251-911A7F80CE25}" dt="2023-09-09T08:26:50.355" v="2296" actId="165"/>
          <ac:spMkLst>
            <pc:docMk/>
            <pc:sldMk cId="2427902828" sldId="2147374920"/>
            <ac:spMk id="2164" creationId="{6BCECE40-2DF7-026F-8875-E29941D1984D}"/>
          </ac:spMkLst>
        </pc:spChg>
        <pc:spChg chg="mod topLvl">
          <ac:chgData name="Parth P Ved" userId="4b0ec5b8-7ef9-4dc0-8d36-4c3446bef2c8" providerId="ADAL" clId="{66725D04-7957-4E8B-8251-911A7F80CE25}" dt="2023-09-09T08:26:50.355" v="2296" actId="165"/>
          <ac:spMkLst>
            <pc:docMk/>
            <pc:sldMk cId="2427902828" sldId="2147374920"/>
            <ac:spMk id="2166" creationId="{3C6B1923-03C4-4A79-3DA2-499AE80E8C8C}"/>
          </ac:spMkLst>
        </pc:spChg>
        <pc:spChg chg="mod topLvl">
          <ac:chgData name="Parth P Ved" userId="4b0ec5b8-7ef9-4dc0-8d36-4c3446bef2c8" providerId="ADAL" clId="{66725D04-7957-4E8B-8251-911A7F80CE25}" dt="2023-09-09T08:26:50.355" v="2296" actId="165"/>
          <ac:spMkLst>
            <pc:docMk/>
            <pc:sldMk cId="2427902828" sldId="2147374920"/>
            <ac:spMk id="2167" creationId="{B04E0EC5-6C33-A624-5DB0-388627E9DBF0}"/>
          </ac:spMkLst>
        </pc:spChg>
        <pc:spChg chg="mod topLvl">
          <ac:chgData name="Parth P Ved" userId="4b0ec5b8-7ef9-4dc0-8d36-4c3446bef2c8" providerId="ADAL" clId="{66725D04-7957-4E8B-8251-911A7F80CE25}" dt="2023-09-09T08:26:50.355" v="2296" actId="165"/>
          <ac:spMkLst>
            <pc:docMk/>
            <pc:sldMk cId="2427902828" sldId="2147374920"/>
            <ac:spMk id="2168" creationId="{4BD82939-E2BE-C7C6-24FE-250EA9F61597}"/>
          </ac:spMkLst>
        </pc:spChg>
        <pc:spChg chg="mod topLvl">
          <ac:chgData name="Parth P Ved" userId="4b0ec5b8-7ef9-4dc0-8d36-4c3446bef2c8" providerId="ADAL" clId="{66725D04-7957-4E8B-8251-911A7F80CE25}" dt="2023-09-09T08:26:50.355" v="2296" actId="165"/>
          <ac:spMkLst>
            <pc:docMk/>
            <pc:sldMk cId="2427902828" sldId="2147374920"/>
            <ac:spMk id="2169" creationId="{53F75747-5FBD-5A0D-7983-6DD8127693E9}"/>
          </ac:spMkLst>
        </pc:spChg>
        <pc:spChg chg="mod topLvl">
          <ac:chgData name="Parth P Ved" userId="4b0ec5b8-7ef9-4dc0-8d36-4c3446bef2c8" providerId="ADAL" clId="{66725D04-7957-4E8B-8251-911A7F80CE25}" dt="2023-09-09T08:26:50.355" v="2296" actId="165"/>
          <ac:spMkLst>
            <pc:docMk/>
            <pc:sldMk cId="2427902828" sldId="2147374920"/>
            <ac:spMk id="2170" creationId="{74102B35-75A3-145F-F5DD-34101E5D9215}"/>
          </ac:spMkLst>
        </pc:spChg>
        <pc:spChg chg="mod topLvl">
          <ac:chgData name="Parth P Ved" userId="4b0ec5b8-7ef9-4dc0-8d36-4c3446bef2c8" providerId="ADAL" clId="{66725D04-7957-4E8B-8251-911A7F80CE25}" dt="2023-09-09T08:26:50.355" v="2296" actId="165"/>
          <ac:spMkLst>
            <pc:docMk/>
            <pc:sldMk cId="2427902828" sldId="2147374920"/>
            <ac:spMk id="2171" creationId="{A95500C8-D715-1C9C-0AC6-BFE7125511C1}"/>
          </ac:spMkLst>
        </pc:spChg>
        <pc:spChg chg="mod topLvl">
          <ac:chgData name="Parth P Ved" userId="4b0ec5b8-7ef9-4dc0-8d36-4c3446bef2c8" providerId="ADAL" clId="{66725D04-7957-4E8B-8251-911A7F80CE25}" dt="2023-09-09T08:26:50.355" v="2296" actId="165"/>
          <ac:spMkLst>
            <pc:docMk/>
            <pc:sldMk cId="2427902828" sldId="2147374920"/>
            <ac:spMk id="2172" creationId="{BD49A479-720D-C019-3A26-428B4219BAE2}"/>
          </ac:spMkLst>
        </pc:spChg>
        <pc:spChg chg="mod topLvl">
          <ac:chgData name="Parth P Ved" userId="4b0ec5b8-7ef9-4dc0-8d36-4c3446bef2c8" providerId="ADAL" clId="{66725D04-7957-4E8B-8251-911A7F80CE25}" dt="2023-09-09T08:26:50.355" v="2296" actId="165"/>
          <ac:spMkLst>
            <pc:docMk/>
            <pc:sldMk cId="2427902828" sldId="2147374920"/>
            <ac:spMk id="2173" creationId="{AAD6EA7B-7D77-9868-D201-88F0B2C15459}"/>
          </ac:spMkLst>
        </pc:spChg>
        <pc:spChg chg="mod topLvl">
          <ac:chgData name="Parth P Ved" userId="4b0ec5b8-7ef9-4dc0-8d36-4c3446bef2c8" providerId="ADAL" clId="{66725D04-7957-4E8B-8251-911A7F80CE25}" dt="2023-09-09T08:26:50.355" v="2296" actId="165"/>
          <ac:spMkLst>
            <pc:docMk/>
            <pc:sldMk cId="2427902828" sldId="2147374920"/>
            <ac:spMk id="2174" creationId="{C52EA5A0-E7C9-2D29-69F6-737516CA027B}"/>
          </ac:spMkLst>
        </pc:spChg>
        <pc:spChg chg="mod topLvl">
          <ac:chgData name="Parth P Ved" userId="4b0ec5b8-7ef9-4dc0-8d36-4c3446bef2c8" providerId="ADAL" clId="{66725D04-7957-4E8B-8251-911A7F80CE25}" dt="2023-09-09T08:26:50.355" v="2296" actId="165"/>
          <ac:spMkLst>
            <pc:docMk/>
            <pc:sldMk cId="2427902828" sldId="2147374920"/>
            <ac:spMk id="2175" creationId="{27A1D94E-4AA1-1DFC-815A-BE2548550959}"/>
          </ac:spMkLst>
        </pc:spChg>
        <pc:spChg chg="mod topLvl">
          <ac:chgData name="Parth P Ved" userId="4b0ec5b8-7ef9-4dc0-8d36-4c3446bef2c8" providerId="ADAL" clId="{66725D04-7957-4E8B-8251-911A7F80CE25}" dt="2023-09-09T08:26:50.355" v="2296" actId="165"/>
          <ac:spMkLst>
            <pc:docMk/>
            <pc:sldMk cId="2427902828" sldId="2147374920"/>
            <ac:spMk id="2176" creationId="{334C290C-E36B-27EB-6F17-D7C5C027675B}"/>
          </ac:spMkLst>
        </pc:spChg>
        <pc:spChg chg="mod topLvl">
          <ac:chgData name="Parth P Ved" userId="4b0ec5b8-7ef9-4dc0-8d36-4c3446bef2c8" providerId="ADAL" clId="{66725D04-7957-4E8B-8251-911A7F80CE25}" dt="2023-09-09T08:26:50.355" v="2296" actId="165"/>
          <ac:spMkLst>
            <pc:docMk/>
            <pc:sldMk cId="2427902828" sldId="2147374920"/>
            <ac:spMk id="2177" creationId="{7379B256-5629-4F60-B449-CC869BEE8588}"/>
          </ac:spMkLst>
        </pc:spChg>
        <pc:spChg chg="mod">
          <ac:chgData name="Parth P Ved" userId="4b0ec5b8-7ef9-4dc0-8d36-4c3446bef2c8" providerId="ADAL" clId="{66725D04-7957-4E8B-8251-911A7F80CE25}" dt="2023-09-09T08:26:50.355" v="2296" actId="165"/>
          <ac:spMkLst>
            <pc:docMk/>
            <pc:sldMk cId="2427902828" sldId="2147374920"/>
            <ac:spMk id="2183" creationId="{6436A084-D021-F655-7666-C100EB0BDA41}"/>
          </ac:spMkLst>
        </pc:spChg>
        <pc:spChg chg="mod">
          <ac:chgData name="Parth P Ved" userId="4b0ec5b8-7ef9-4dc0-8d36-4c3446bef2c8" providerId="ADAL" clId="{66725D04-7957-4E8B-8251-911A7F80CE25}" dt="2023-09-09T08:26:50.355" v="2296" actId="165"/>
          <ac:spMkLst>
            <pc:docMk/>
            <pc:sldMk cId="2427902828" sldId="2147374920"/>
            <ac:spMk id="2184" creationId="{0790D738-05FC-F44F-AA13-43EEF22E941B}"/>
          </ac:spMkLst>
        </pc:spChg>
        <pc:spChg chg="mod">
          <ac:chgData name="Parth P Ved" userId="4b0ec5b8-7ef9-4dc0-8d36-4c3446bef2c8" providerId="ADAL" clId="{66725D04-7957-4E8B-8251-911A7F80CE25}" dt="2023-09-09T08:26:50.355" v="2296" actId="165"/>
          <ac:spMkLst>
            <pc:docMk/>
            <pc:sldMk cId="2427902828" sldId="2147374920"/>
            <ac:spMk id="2185" creationId="{3E37C12D-91E8-1693-7F51-2588C3E4EAA0}"/>
          </ac:spMkLst>
        </pc:spChg>
        <pc:spChg chg="mod">
          <ac:chgData name="Parth P Ved" userId="4b0ec5b8-7ef9-4dc0-8d36-4c3446bef2c8" providerId="ADAL" clId="{66725D04-7957-4E8B-8251-911A7F80CE25}" dt="2023-09-09T08:26:50.355" v="2296" actId="165"/>
          <ac:spMkLst>
            <pc:docMk/>
            <pc:sldMk cId="2427902828" sldId="2147374920"/>
            <ac:spMk id="2186" creationId="{618DE9EC-7E41-E01B-3375-E0A8FF3D5C87}"/>
          </ac:spMkLst>
        </pc:spChg>
        <pc:spChg chg="mod">
          <ac:chgData name="Parth P Ved" userId="4b0ec5b8-7ef9-4dc0-8d36-4c3446bef2c8" providerId="ADAL" clId="{66725D04-7957-4E8B-8251-911A7F80CE25}" dt="2023-09-09T08:26:50.355" v="2296" actId="165"/>
          <ac:spMkLst>
            <pc:docMk/>
            <pc:sldMk cId="2427902828" sldId="2147374920"/>
            <ac:spMk id="2187" creationId="{CA7B1603-E06F-59C2-BA55-DCD44E30EE7E}"/>
          </ac:spMkLst>
        </pc:spChg>
        <pc:spChg chg="mod">
          <ac:chgData name="Parth P Ved" userId="4b0ec5b8-7ef9-4dc0-8d36-4c3446bef2c8" providerId="ADAL" clId="{66725D04-7957-4E8B-8251-911A7F80CE25}" dt="2023-09-09T08:26:50.355" v="2296" actId="165"/>
          <ac:spMkLst>
            <pc:docMk/>
            <pc:sldMk cId="2427902828" sldId="2147374920"/>
            <ac:spMk id="2188" creationId="{52181E9A-20C4-B246-95B5-94F95EFF97B3}"/>
          </ac:spMkLst>
        </pc:spChg>
        <pc:spChg chg="mod">
          <ac:chgData name="Parth P Ved" userId="4b0ec5b8-7ef9-4dc0-8d36-4c3446bef2c8" providerId="ADAL" clId="{66725D04-7957-4E8B-8251-911A7F80CE25}" dt="2023-09-09T08:26:50.355" v="2296" actId="165"/>
          <ac:spMkLst>
            <pc:docMk/>
            <pc:sldMk cId="2427902828" sldId="2147374920"/>
            <ac:spMk id="2189" creationId="{1F1AD5AF-BF4E-8123-D908-B8B714663E99}"/>
          </ac:spMkLst>
        </pc:spChg>
        <pc:spChg chg="mod">
          <ac:chgData name="Parth P Ved" userId="4b0ec5b8-7ef9-4dc0-8d36-4c3446bef2c8" providerId="ADAL" clId="{66725D04-7957-4E8B-8251-911A7F80CE25}" dt="2023-09-09T08:26:50.355" v="2296" actId="165"/>
          <ac:spMkLst>
            <pc:docMk/>
            <pc:sldMk cId="2427902828" sldId="2147374920"/>
            <ac:spMk id="2190" creationId="{E0E9BC82-CA2F-82B4-7055-9422EE78FDBA}"/>
          </ac:spMkLst>
        </pc:spChg>
        <pc:spChg chg="mod">
          <ac:chgData name="Parth P Ved" userId="4b0ec5b8-7ef9-4dc0-8d36-4c3446bef2c8" providerId="ADAL" clId="{66725D04-7957-4E8B-8251-911A7F80CE25}" dt="2023-09-09T08:26:50.355" v="2296" actId="165"/>
          <ac:spMkLst>
            <pc:docMk/>
            <pc:sldMk cId="2427902828" sldId="2147374920"/>
            <ac:spMk id="2191" creationId="{93E2E6A9-2493-13FA-39FA-26161AAB5CBD}"/>
          </ac:spMkLst>
        </pc:spChg>
        <pc:spChg chg="mod">
          <ac:chgData name="Parth P Ved" userId="4b0ec5b8-7ef9-4dc0-8d36-4c3446bef2c8" providerId="ADAL" clId="{66725D04-7957-4E8B-8251-911A7F80CE25}" dt="2023-09-09T08:26:50.355" v="2296" actId="165"/>
          <ac:spMkLst>
            <pc:docMk/>
            <pc:sldMk cId="2427902828" sldId="2147374920"/>
            <ac:spMk id="2192" creationId="{0F228F3C-C7D2-8973-F2EE-B16E21A3CBC0}"/>
          </ac:spMkLst>
        </pc:spChg>
        <pc:spChg chg="mod">
          <ac:chgData name="Parth P Ved" userId="4b0ec5b8-7ef9-4dc0-8d36-4c3446bef2c8" providerId="ADAL" clId="{66725D04-7957-4E8B-8251-911A7F80CE25}" dt="2023-09-09T08:26:50.355" v="2296" actId="165"/>
          <ac:spMkLst>
            <pc:docMk/>
            <pc:sldMk cId="2427902828" sldId="2147374920"/>
            <ac:spMk id="2193" creationId="{6CCF485F-774F-4CC5-C6B3-C222BF97E5A6}"/>
          </ac:spMkLst>
        </pc:spChg>
        <pc:spChg chg="mod">
          <ac:chgData name="Parth P Ved" userId="4b0ec5b8-7ef9-4dc0-8d36-4c3446bef2c8" providerId="ADAL" clId="{66725D04-7957-4E8B-8251-911A7F80CE25}" dt="2023-09-09T08:26:50.355" v="2296" actId="165"/>
          <ac:spMkLst>
            <pc:docMk/>
            <pc:sldMk cId="2427902828" sldId="2147374920"/>
            <ac:spMk id="2194" creationId="{86D4A774-7F8F-3F73-A870-44E013E9E41C}"/>
          </ac:spMkLst>
        </pc:spChg>
        <pc:spChg chg="mod">
          <ac:chgData name="Parth P Ved" userId="4b0ec5b8-7ef9-4dc0-8d36-4c3446bef2c8" providerId="ADAL" clId="{66725D04-7957-4E8B-8251-911A7F80CE25}" dt="2023-09-09T08:26:50.355" v="2296" actId="165"/>
          <ac:spMkLst>
            <pc:docMk/>
            <pc:sldMk cId="2427902828" sldId="2147374920"/>
            <ac:spMk id="2195" creationId="{54C8B020-C060-7D5E-7C20-844D19846F17}"/>
          </ac:spMkLst>
        </pc:spChg>
        <pc:spChg chg="mod">
          <ac:chgData name="Parth P Ved" userId="4b0ec5b8-7ef9-4dc0-8d36-4c3446bef2c8" providerId="ADAL" clId="{66725D04-7957-4E8B-8251-911A7F80CE25}" dt="2023-09-09T08:26:50.355" v="2296" actId="165"/>
          <ac:spMkLst>
            <pc:docMk/>
            <pc:sldMk cId="2427902828" sldId="2147374920"/>
            <ac:spMk id="2196" creationId="{07595695-99E1-053C-AD44-25754E9621C1}"/>
          </ac:spMkLst>
        </pc:spChg>
        <pc:spChg chg="mod">
          <ac:chgData name="Parth P Ved" userId="4b0ec5b8-7ef9-4dc0-8d36-4c3446bef2c8" providerId="ADAL" clId="{66725D04-7957-4E8B-8251-911A7F80CE25}" dt="2023-09-09T08:26:50.355" v="2296" actId="165"/>
          <ac:spMkLst>
            <pc:docMk/>
            <pc:sldMk cId="2427902828" sldId="2147374920"/>
            <ac:spMk id="2197" creationId="{64485D1E-E106-5970-399F-F80D3DE7C4BC}"/>
          </ac:spMkLst>
        </pc:spChg>
        <pc:spChg chg="mod">
          <ac:chgData name="Parth P Ved" userId="4b0ec5b8-7ef9-4dc0-8d36-4c3446bef2c8" providerId="ADAL" clId="{66725D04-7957-4E8B-8251-911A7F80CE25}" dt="2023-09-09T08:26:50.355" v="2296" actId="165"/>
          <ac:spMkLst>
            <pc:docMk/>
            <pc:sldMk cId="2427902828" sldId="2147374920"/>
            <ac:spMk id="2198" creationId="{6DB7F71A-C839-69E8-5A74-C11809F0293A}"/>
          </ac:spMkLst>
        </pc:spChg>
        <pc:spChg chg="mod">
          <ac:chgData name="Parth P Ved" userId="4b0ec5b8-7ef9-4dc0-8d36-4c3446bef2c8" providerId="ADAL" clId="{66725D04-7957-4E8B-8251-911A7F80CE25}" dt="2023-09-09T08:26:50.355" v="2296" actId="165"/>
          <ac:spMkLst>
            <pc:docMk/>
            <pc:sldMk cId="2427902828" sldId="2147374920"/>
            <ac:spMk id="2199" creationId="{E6CC446D-2C32-B9A5-5D6C-A1A78C3D974B}"/>
          </ac:spMkLst>
        </pc:spChg>
        <pc:spChg chg="mod">
          <ac:chgData name="Parth P Ved" userId="4b0ec5b8-7ef9-4dc0-8d36-4c3446bef2c8" providerId="ADAL" clId="{66725D04-7957-4E8B-8251-911A7F80CE25}" dt="2023-09-09T08:26:50.355" v="2296" actId="165"/>
          <ac:spMkLst>
            <pc:docMk/>
            <pc:sldMk cId="2427902828" sldId="2147374920"/>
            <ac:spMk id="2200" creationId="{38C095C9-A8BE-C06E-94D9-4257681EB386}"/>
          </ac:spMkLst>
        </pc:spChg>
        <pc:spChg chg="mod">
          <ac:chgData name="Parth P Ved" userId="4b0ec5b8-7ef9-4dc0-8d36-4c3446bef2c8" providerId="ADAL" clId="{66725D04-7957-4E8B-8251-911A7F80CE25}" dt="2023-09-09T08:26:50.355" v="2296" actId="165"/>
          <ac:spMkLst>
            <pc:docMk/>
            <pc:sldMk cId="2427902828" sldId="2147374920"/>
            <ac:spMk id="2201" creationId="{C4851872-8319-9E57-0B6C-80D775C11EDF}"/>
          </ac:spMkLst>
        </pc:spChg>
        <pc:spChg chg="mod">
          <ac:chgData name="Parth P Ved" userId="4b0ec5b8-7ef9-4dc0-8d36-4c3446bef2c8" providerId="ADAL" clId="{66725D04-7957-4E8B-8251-911A7F80CE25}" dt="2023-09-09T08:26:50.355" v="2296" actId="165"/>
          <ac:spMkLst>
            <pc:docMk/>
            <pc:sldMk cId="2427902828" sldId="2147374920"/>
            <ac:spMk id="2202" creationId="{5588125E-BE95-42CF-E21E-94BDA3A04BEB}"/>
          </ac:spMkLst>
        </pc:spChg>
        <pc:spChg chg="mod">
          <ac:chgData name="Parth P Ved" userId="4b0ec5b8-7ef9-4dc0-8d36-4c3446bef2c8" providerId="ADAL" clId="{66725D04-7957-4E8B-8251-911A7F80CE25}" dt="2023-09-09T08:26:50.355" v="2296" actId="165"/>
          <ac:spMkLst>
            <pc:docMk/>
            <pc:sldMk cId="2427902828" sldId="2147374920"/>
            <ac:spMk id="2203" creationId="{45FEF575-89A6-4E0E-CFBB-F2A9F34776C8}"/>
          </ac:spMkLst>
        </pc:spChg>
        <pc:spChg chg="mod">
          <ac:chgData name="Parth P Ved" userId="4b0ec5b8-7ef9-4dc0-8d36-4c3446bef2c8" providerId="ADAL" clId="{66725D04-7957-4E8B-8251-911A7F80CE25}" dt="2023-09-09T08:26:50.355" v="2296" actId="165"/>
          <ac:spMkLst>
            <pc:docMk/>
            <pc:sldMk cId="2427902828" sldId="2147374920"/>
            <ac:spMk id="2204" creationId="{8F12AE1F-5907-D2B5-3806-E708FE7A2000}"/>
          </ac:spMkLst>
        </pc:spChg>
        <pc:spChg chg="mod">
          <ac:chgData name="Parth P Ved" userId="4b0ec5b8-7ef9-4dc0-8d36-4c3446bef2c8" providerId="ADAL" clId="{66725D04-7957-4E8B-8251-911A7F80CE25}" dt="2023-09-09T08:26:50.355" v="2296" actId="165"/>
          <ac:spMkLst>
            <pc:docMk/>
            <pc:sldMk cId="2427902828" sldId="2147374920"/>
            <ac:spMk id="2205" creationId="{25F80FAA-523F-8B44-551B-95AF749AD3D2}"/>
          </ac:spMkLst>
        </pc:spChg>
        <pc:spChg chg="mod">
          <ac:chgData name="Parth P Ved" userId="4b0ec5b8-7ef9-4dc0-8d36-4c3446bef2c8" providerId="ADAL" clId="{66725D04-7957-4E8B-8251-911A7F80CE25}" dt="2023-09-09T08:26:50.355" v="2296" actId="165"/>
          <ac:spMkLst>
            <pc:docMk/>
            <pc:sldMk cId="2427902828" sldId="2147374920"/>
            <ac:spMk id="2206" creationId="{04EE83ED-E226-E10E-48DA-D96A0D7AC8D2}"/>
          </ac:spMkLst>
        </pc:spChg>
        <pc:spChg chg="mod">
          <ac:chgData name="Parth P Ved" userId="4b0ec5b8-7ef9-4dc0-8d36-4c3446bef2c8" providerId="ADAL" clId="{66725D04-7957-4E8B-8251-911A7F80CE25}" dt="2023-09-09T08:26:50.355" v="2296" actId="165"/>
          <ac:spMkLst>
            <pc:docMk/>
            <pc:sldMk cId="2427902828" sldId="2147374920"/>
            <ac:spMk id="2207" creationId="{424F850A-6933-4F30-468C-5EC960CA8C69}"/>
          </ac:spMkLst>
        </pc:spChg>
        <pc:spChg chg="mod">
          <ac:chgData name="Parth P Ved" userId="4b0ec5b8-7ef9-4dc0-8d36-4c3446bef2c8" providerId="ADAL" clId="{66725D04-7957-4E8B-8251-911A7F80CE25}" dt="2023-09-09T08:26:50.355" v="2296" actId="165"/>
          <ac:spMkLst>
            <pc:docMk/>
            <pc:sldMk cId="2427902828" sldId="2147374920"/>
            <ac:spMk id="2208" creationId="{40E77043-7A9D-88AD-C8BD-1521D56A03A3}"/>
          </ac:spMkLst>
        </pc:spChg>
        <pc:spChg chg="mod">
          <ac:chgData name="Parth P Ved" userId="4b0ec5b8-7ef9-4dc0-8d36-4c3446bef2c8" providerId="ADAL" clId="{66725D04-7957-4E8B-8251-911A7F80CE25}" dt="2023-09-09T08:26:50.355" v="2296" actId="165"/>
          <ac:spMkLst>
            <pc:docMk/>
            <pc:sldMk cId="2427902828" sldId="2147374920"/>
            <ac:spMk id="2209" creationId="{C0E6CB0E-AF9D-AE48-8DAB-7D21EA617280}"/>
          </ac:spMkLst>
        </pc:spChg>
        <pc:spChg chg="mod">
          <ac:chgData name="Parth P Ved" userId="4b0ec5b8-7ef9-4dc0-8d36-4c3446bef2c8" providerId="ADAL" clId="{66725D04-7957-4E8B-8251-911A7F80CE25}" dt="2023-09-09T08:26:50.355" v="2296" actId="165"/>
          <ac:spMkLst>
            <pc:docMk/>
            <pc:sldMk cId="2427902828" sldId="2147374920"/>
            <ac:spMk id="2210" creationId="{4F5D6F09-F8CB-7304-D854-23943DAFE034}"/>
          </ac:spMkLst>
        </pc:spChg>
        <pc:spChg chg="mod">
          <ac:chgData name="Parth P Ved" userId="4b0ec5b8-7ef9-4dc0-8d36-4c3446bef2c8" providerId="ADAL" clId="{66725D04-7957-4E8B-8251-911A7F80CE25}" dt="2023-09-09T08:26:50.355" v="2296" actId="165"/>
          <ac:spMkLst>
            <pc:docMk/>
            <pc:sldMk cId="2427902828" sldId="2147374920"/>
            <ac:spMk id="2211" creationId="{AC80991B-34DE-16CE-FD5D-E37D3395CC1D}"/>
          </ac:spMkLst>
        </pc:spChg>
        <pc:spChg chg="mod">
          <ac:chgData name="Parth P Ved" userId="4b0ec5b8-7ef9-4dc0-8d36-4c3446bef2c8" providerId="ADAL" clId="{66725D04-7957-4E8B-8251-911A7F80CE25}" dt="2023-09-09T08:26:50.355" v="2296" actId="165"/>
          <ac:spMkLst>
            <pc:docMk/>
            <pc:sldMk cId="2427902828" sldId="2147374920"/>
            <ac:spMk id="2212" creationId="{E99CF887-2DBB-F9FC-ADC7-DAE54931D983}"/>
          </ac:spMkLst>
        </pc:spChg>
        <pc:spChg chg="mod">
          <ac:chgData name="Parth P Ved" userId="4b0ec5b8-7ef9-4dc0-8d36-4c3446bef2c8" providerId="ADAL" clId="{66725D04-7957-4E8B-8251-911A7F80CE25}" dt="2023-09-09T08:26:50.355" v="2296" actId="165"/>
          <ac:spMkLst>
            <pc:docMk/>
            <pc:sldMk cId="2427902828" sldId="2147374920"/>
            <ac:spMk id="2213" creationId="{CFEBB900-CFF9-C6A3-B984-EF79867677FE}"/>
          </ac:spMkLst>
        </pc:spChg>
        <pc:spChg chg="mod">
          <ac:chgData name="Parth P Ved" userId="4b0ec5b8-7ef9-4dc0-8d36-4c3446bef2c8" providerId="ADAL" clId="{66725D04-7957-4E8B-8251-911A7F80CE25}" dt="2023-09-09T08:26:50.355" v="2296" actId="165"/>
          <ac:spMkLst>
            <pc:docMk/>
            <pc:sldMk cId="2427902828" sldId="2147374920"/>
            <ac:spMk id="2214" creationId="{7D218B4D-C617-8A9C-197F-4EA303B3415A}"/>
          </ac:spMkLst>
        </pc:spChg>
        <pc:spChg chg="mod">
          <ac:chgData name="Parth P Ved" userId="4b0ec5b8-7ef9-4dc0-8d36-4c3446bef2c8" providerId="ADAL" clId="{66725D04-7957-4E8B-8251-911A7F80CE25}" dt="2023-09-09T08:26:50.355" v="2296" actId="165"/>
          <ac:spMkLst>
            <pc:docMk/>
            <pc:sldMk cId="2427902828" sldId="2147374920"/>
            <ac:spMk id="2215" creationId="{CEFFD5B2-3D4C-FFCE-AB7C-900C51A39420}"/>
          </ac:spMkLst>
        </pc:spChg>
        <pc:spChg chg="mod">
          <ac:chgData name="Parth P Ved" userId="4b0ec5b8-7ef9-4dc0-8d36-4c3446bef2c8" providerId="ADAL" clId="{66725D04-7957-4E8B-8251-911A7F80CE25}" dt="2023-09-09T08:26:50.355" v="2296" actId="165"/>
          <ac:spMkLst>
            <pc:docMk/>
            <pc:sldMk cId="2427902828" sldId="2147374920"/>
            <ac:spMk id="2216" creationId="{E890BA44-6677-537D-C510-A0B1C1D1CC78}"/>
          </ac:spMkLst>
        </pc:spChg>
        <pc:spChg chg="mod">
          <ac:chgData name="Parth P Ved" userId="4b0ec5b8-7ef9-4dc0-8d36-4c3446bef2c8" providerId="ADAL" clId="{66725D04-7957-4E8B-8251-911A7F80CE25}" dt="2023-09-09T08:26:50.355" v="2296" actId="165"/>
          <ac:spMkLst>
            <pc:docMk/>
            <pc:sldMk cId="2427902828" sldId="2147374920"/>
            <ac:spMk id="2217" creationId="{A9266C81-ABDC-9796-95A6-B18222D133FD}"/>
          </ac:spMkLst>
        </pc:spChg>
        <pc:spChg chg="mod">
          <ac:chgData name="Parth P Ved" userId="4b0ec5b8-7ef9-4dc0-8d36-4c3446bef2c8" providerId="ADAL" clId="{66725D04-7957-4E8B-8251-911A7F80CE25}" dt="2023-09-09T08:26:50.355" v="2296" actId="165"/>
          <ac:spMkLst>
            <pc:docMk/>
            <pc:sldMk cId="2427902828" sldId="2147374920"/>
            <ac:spMk id="2218" creationId="{24B0D1BA-3FA8-E17A-4162-6C4B4FF2E63D}"/>
          </ac:spMkLst>
        </pc:spChg>
        <pc:spChg chg="mod">
          <ac:chgData name="Parth P Ved" userId="4b0ec5b8-7ef9-4dc0-8d36-4c3446bef2c8" providerId="ADAL" clId="{66725D04-7957-4E8B-8251-911A7F80CE25}" dt="2023-09-09T08:26:50.355" v="2296" actId="165"/>
          <ac:spMkLst>
            <pc:docMk/>
            <pc:sldMk cId="2427902828" sldId="2147374920"/>
            <ac:spMk id="2219" creationId="{BDA914A6-CCF6-FFB7-7BC7-6B6B51498328}"/>
          </ac:spMkLst>
        </pc:spChg>
        <pc:spChg chg="mod">
          <ac:chgData name="Parth P Ved" userId="4b0ec5b8-7ef9-4dc0-8d36-4c3446bef2c8" providerId="ADAL" clId="{66725D04-7957-4E8B-8251-911A7F80CE25}" dt="2023-09-09T08:26:50.355" v="2296" actId="165"/>
          <ac:spMkLst>
            <pc:docMk/>
            <pc:sldMk cId="2427902828" sldId="2147374920"/>
            <ac:spMk id="2220" creationId="{7FBB84EB-9E5F-DD8D-50D9-6BAB7690834F}"/>
          </ac:spMkLst>
        </pc:spChg>
        <pc:spChg chg="mod">
          <ac:chgData name="Parth P Ved" userId="4b0ec5b8-7ef9-4dc0-8d36-4c3446bef2c8" providerId="ADAL" clId="{66725D04-7957-4E8B-8251-911A7F80CE25}" dt="2023-09-09T08:26:50.355" v="2296" actId="165"/>
          <ac:spMkLst>
            <pc:docMk/>
            <pc:sldMk cId="2427902828" sldId="2147374920"/>
            <ac:spMk id="2221" creationId="{C6E1CBC1-BD9A-3F1C-723C-6B1F949288D1}"/>
          </ac:spMkLst>
        </pc:spChg>
        <pc:spChg chg="mod">
          <ac:chgData name="Parth P Ved" userId="4b0ec5b8-7ef9-4dc0-8d36-4c3446bef2c8" providerId="ADAL" clId="{66725D04-7957-4E8B-8251-911A7F80CE25}" dt="2023-09-09T08:26:50.355" v="2296" actId="165"/>
          <ac:spMkLst>
            <pc:docMk/>
            <pc:sldMk cId="2427902828" sldId="2147374920"/>
            <ac:spMk id="2222" creationId="{AA1210F2-EE28-4A91-EB96-30E32A5425B8}"/>
          </ac:spMkLst>
        </pc:spChg>
        <pc:spChg chg="mod">
          <ac:chgData name="Parth P Ved" userId="4b0ec5b8-7ef9-4dc0-8d36-4c3446bef2c8" providerId="ADAL" clId="{66725D04-7957-4E8B-8251-911A7F80CE25}" dt="2023-09-09T08:26:50.355" v="2296" actId="165"/>
          <ac:spMkLst>
            <pc:docMk/>
            <pc:sldMk cId="2427902828" sldId="2147374920"/>
            <ac:spMk id="2223" creationId="{95BC7DBA-B7DC-5992-1DD6-408C9F0C0D2F}"/>
          </ac:spMkLst>
        </pc:spChg>
        <pc:spChg chg="mod">
          <ac:chgData name="Parth P Ved" userId="4b0ec5b8-7ef9-4dc0-8d36-4c3446bef2c8" providerId="ADAL" clId="{66725D04-7957-4E8B-8251-911A7F80CE25}" dt="2023-09-09T08:26:50.355" v="2296" actId="165"/>
          <ac:spMkLst>
            <pc:docMk/>
            <pc:sldMk cId="2427902828" sldId="2147374920"/>
            <ac:spMk id="2224" creationId="{8CB2D72D-EBEC-6952-3430-01D08FC471A6}"/>
          </ac:spMkLst>
        </pc:spChg>
        <pc:spChg chg="mod">
          <ac:chgData name="Parth P Ved" userId="4b0ec5b8-7ef9-4dc0-8d36-4c3446bef2c8" providerId="ADAL" clId="{66725D04-7957-4E8B-8251-911A7F80CE25}" dt="2023-09-09T08:26:50.355" v="2296" actId="165"/>
          <ac:spMkLst>
            <pc:docMk/>
            <pc:sldMk cId="2427902828" sldId="2147374920"/>
            <ac:spMk id="2225" creationId="{DA0E5D99-93B4-5CDF-CC48-52997AC527DE}"/>
          </ac:spMkLst>
        </pc:spChg>
        <pc:spChg chg="mod">
          <ac:chgData name="Parth P Ved" userId="4b0ec5b8-7ef9-4dc0-8d36-4c3446bef2c8" providerId="ADAL" clId="{66725D04-7957-4E8B-8251-911A7F80CE25}" dt="2023-09-09T08:26:50.355" v="2296" actId="165"/>
          <ac:spMkLst>
            <pc:docMk/>
            <pc:sldMk cId="2427902828" sldId="2147374920"/>
            <ac:spMk id="2226" creationId="{9DA6FEB7-F7FC-8078-0015-3F980275DD34}"/>
          </ac:spMkLst>
        </pc:spChg>
        <pc:spChg chg="mod">
          <ac:chgData name="Parth P Ved" userId="4b0ec5b8-7ef9-4dc0-8d36-4c3446bef2c8" providerId="ADAL" clId="{66725D04-7957-4E8B-8251-911A7F80CE25}" dt="2023-09-09T08:26:50.355" v="2296" actId="165"/>
          <ac:spMkLst>
            <pc:docMk/>
            <pc:sldMk cId="2427902828" sldId="2147374920"/>
            <ac:spMk id="2227" creationId="{AEFD475A-936E-6EE6-C842-9EE9DB9EBC09}"/>
          </ac:spMkLst>
        </pc:spChg>
        <pc:spChg chg="mod">
          <ac:chgData name="Parth P Ved" userId="4b0ec5b8-7ef9-4dc0-8d36-4c3446bef2c8" providerId="ADAL" clId="{66725D04-7957-4E8B-8251-911A7F80CE25}" dt="2023-09-09T08:26:50.355" v="2296" actId="165"/>
          <ac:spMkLst>
            <pc:docMk/>
            <pc:sldMk cId="2427902828" sldId="2147374920"/>
            <ac:spMk id="2228" creationId="{581917E5-49DF-76ED-3C67-E48C2F2EA42C}"/>
          </ac:spMkLst>
        </pc:spChg>
        <pc:spChg chg="mod">
          <ac:chgData name="Parth P Ved" userId="4b0ec5b8-7ef9-4dc0-8d36-4c3446bef2c8" providerId="ADAL" clId="{66725D04-7957-4E8B-8251-911A7F80CE25}" dt="2023-09-09T08:26:50.355" v="2296" actId="165"/>
          <ac:spMkLst>
            <pc:docMk/>
            <pc:sldMk cId="2427902828" sldId="2147374920"/>
            <ac:spMk id="2229" creationId="{49C35839-E668-7933-1150-76E8FC8E4BD0}"/>
          </ac:spMkLst>
        </pc:spChg>
        <pc:spChg chg="mod">
          <ac:chgData name="Parth P Ved" userId="4b0ec5b8-7ef9-4dc0-8d36-4c3446bef2c8" providerId="ADAL" clId="{66725D04-7957-4E8B-8251-911A7F80CE25}" dt="2023-09-09T08:26:50.355" v="2296" actId="165"/>
          <ac:spMkLst>
            <pc:docMk/>
            <pc:sldMk cId="2427902828" sldId="2147374920"/>
            <ac:spMk id="2230" creationId="{54CBB808-A628-9D8A-49BD-A4B41E21D89B}"/>
          </ac:spMkLst>
        </pc:spChg>
        <pc:spChg chg="mod">
          <ac:chgData name="Parth P Ved" userId="4b0ec5b8-7ef9-4dc0-8d36-4c3446bef2c8" providerId="ADAL" clId="{66725D04-7957-4E8B-8251-911A7F80CE25}" dt="2023-09-09T08:26:50.355" v="2296" actId="165"/>
          <ac:spMkLst>
            <pc:docMk/>
            <pc:sldMk cId="2427902828" sldId="2147374920"/>
            <ac:spMk id="2231" creationId="{A1CF5ABF-270D-6CEE-9843-2EFFE4EF62D1}"/>
          </ac:spMkLst>
        </pc:spChg>
        <pc:spChg chg="mod">
          <ac:chgData name="Parth P Ved" userId="4b0ec5b8-7ef9-4dc0-8d36-4c3446bef2c8" providerId="ADAL" clId="{66725D04-7957-4E8B-8251-911A7F80CE25}" dt="2023-09-09T08:26:50.355" v="2296" actId="165"/>
          <ac:spMkLst>
            <pc:docMk/>
            <pc:sldMk cId="2427902828" sldId="2147374920"/>
            <ac:spMk id="2232" creationId="{78C48716-543F-A7EA-00E3-E93D391A9F9C}"/>
          </ac:spMkLst>
        </pc:spChg>
        <pc:spChg chg="mod">
          <ac:chgData name="Parth P Ved" userId="4b0ec5b8-7ef9-4dc0-8d36-4c3446bef2c8" providerId="ADAL" clId="{66725D04-7957-4E8B-8251-911A7F80CE25}" dt="2023-09-09T08:26:50.355" v="2296" actId="165"/>
          <ac:spMkLst>
            <pc:docMk/>
            <pc:sldMk cId="2427902828" sldId="2147374920"/>
            <ac:spMk id="2233" creationId="{258DB86E-426A-949C-EA63-5014A07CC4C8}"/>
          </ac:spMkLst>
        </pc:spChg>
        <pc:spChg chg="mod">
          <ac:chgData name="Parth P Ved" userId="4b0ec5b8-7ef9-4dc0-8d36-4c3446bef2c8" providerId="ADAL" clId="{66725D04-7957-4E8B-8251-911A7F80CE25}" dt="2023-09-09T08:26:50.355" v="2296" actId="165"/>
          <ac:spMkLst>
            <pc:docMk/>
            <pc:sldMk cId="2427902828" sldId="2147374920"/>
            <ac:spMk id="2234" creationId="{9D5BA1F7-3610-A90F-2A2E-7B2D3CE517CD}"/>
          </ac:spMkLst>
        </pc:spChg>
        <pc:spChg chg="mod">
          <ac:chgData name="Parth P Ved" userId="4b0ec5b8-7ef9-4dc0-8d36-4c3446bef2c8" providerId="ADAL" clId="{66725D04-7957-4E8B-8251-911A7F80CE25}" dt="2023-09-09T08:26:50.355" v="2296" actId="165"/>
          <ac:spMkLst>
            <pc:docMk/>
            <pc:sldMk cId="2427902828" sldId="2147374920"/>
            <ac:spMk id="2235" creationId="{9A266C5A-8F1A-98B3-110F-54C2158640E2}"/>
          </ac:spMkLst>
        </pc:spChg>
        <pc:spChg chg="mod">
          <ac:chgData name="Parth P Ved" userId="4b0ec5b8-7ef9-4dc0-8d36-4c3446bef2c8" providerId="ADAL" clId="{66725D04-7957-4E8B-8251-911A7F80CE25}" dt="2023-09-09T08:26:50.355" v="2296" actId="165"/>
          <ac:spMkLst>
            <pc:docMk/>
            <pc:sldMk cId="2427902828" sldId="2147374920"/>
            <ac:spMk id="2236" creationId="{90BD9108-AC97-55C6-F2A1-7ED72DAC2710}"/>
          </ac:spMkLst>
        </pc:spChg>
        <pc:spChg chg="mod">
          <ac:chgData name="Parth P Ved" userId="4b0ec5b8-7ef9-4dc0-8d36-4c3446bef2c8" providerId="ADAL" clId="{66725D04-7957-4E8B-8251-911A7F80CE25}" dt="2023-09-09T08:26:50.355" v="2296" actId="165"/>
          <ac:spMkLst>
            <pc:docMk/>
            <pc:sldMk cId="2427902828" sldId="2147374920"/>
            <ac:spMk id="2237" creationId="{6016423A-7732-5591-46E4-55CF5E163516}"/>
          </ac:spMkLst>
        </pc:spChg>
        <pc:spChg chg="mod">
          <ac:chgData name="Parth P Ved" userId="4b0ec5b8-7ef9-4dc0-8d36-4c3446bef2c8" providerId="ADAL" clId="{66725D04-7957-4E8B-8251-911A7F80CE25}" dt="2023-09-09T08:26:50.355" v="2296" actId="165"/>
          <ac:spMkLst>
            <pc:docMk/>
            <pc:sldMk cId="2427902828" sldId="2147374920"/>
            <ac:spMk id="2238" creationId="{150EF6AB-037E-E961-052C-FD50809B5B0F}"/>
          </ac:spMkLst>
        </pc:spChg>
        <pc:spChg chg="mod">
          <ac:chgData name="Parth P Ved" userId="4b0ec5b8-7ef9-4dc0-8d36-4c3446bef2c8" providerId="ADAL" clId="{66725D04-7957-4E8B-8251-911A7F80CE25}" dt="2023-09-09T08:26:50.355" v="2296" actId="165"/>
          <ac:spMkLst>
            <pc:docMk/>
            <pc:sldMk cId="2427902828" sldId="2147374920"/>
            <ac:spMk id="2239" creationId="{9F0BD10D-91B1-6928-DC3D-002E35A02C7C}"/>
          </ac:spMkLst>
        </pc:spChg>
        <pc:spChg chg="mod">
          <ac:chgData name="Parth P Ved" userId="4b0ec5b8-7ef9-4dc0-8d36-4c3446bef2c8" providerId="ADAL" clId="{66725D04-7957-4E8B-8251-911A7F80CE25}" dt="2023-09-09T08:26:50.355" v="2296" actId="165"/>
          <ac:spMkLst>
            <pc:docMk/>
            <pc:sldMk cId="2427902828" sldId="2147374920"/>
            <ac:spMk id="2240" creationId="{99A9DAE3-E9C5-2798-C5FA-5F33390A2E4F}"/>
          </ac:spMkLst>
        </pc:spChg>
        <pc:spChg chg="mod">
          <ac:chgData name="Parth P Ved" userId="4b0ec5b8-7ef9-4dc0-8d36-4c3446bef2c8" providerId="ADAL" clId="{66725D04-7957-4E8B-8251-911A7F80CE25}" dt="2023-09-09T08:26:50.355" v="2296" actId="165"/>
          <ac:spMkLst>
            <pc:docMk/>
            <pc:sldMk cId="2427902828" sldId="2147374920"/>
            <ac:spMk id="2241" creationId="{36B26E9E-55AF-BD16-D667-2A2CF6F47071}"/>
          </ac:spMkLst>
        </pc:spChg>
        <pc:spChg chg="mod">
          <ac:chgData name="Parth P Ved" userId="4b0ec5b8-7ef9-4dc0-8d36-4c3446bef2c8" providerId="ADAL" clId="{66725D04-7957-4E8B-8251-911A7F80CE25}" dt="2023-09-09T08:26:50.355" v="2296" actId="165"/>
          <ac:spMkLst>
            <pc:docMk/>
            <pc:sldMk cId="2427902828" sldId="2147374920"/>
            <ac:spMk id="2242" creationId="{6DE0CB12-0BAA-7074-5E84-DEB74F6932A0}"/>
          </ac:spMkLst>
        </pc:spChg>
        <pc:spChg chg="mod">
          <ac:chgData name="Parth P Ved" userId="4b0ec5b8-7ef9-4dc0-8d36-4c3446bef2c8" providerId="ADAL" clId="{66725D04-7957-4E8B-8251-911A7F80CE25}" dt="2023-09-09T08:26:50.355" v="2296" actId="165"/>
          <ac:spMkLst>
            <pc:docMk/>
            <pc:sldMk cId="2427902828" sldId="2147374920"/>
            <ac:spMk id="2243" creationId="{ADCC62A4-54B8-2CBA-41C7-D3A517E367C1}"/>
          </ac:spMkLst>
        </pc:spChg>
        <pc:spChg chg="mod">
          <ac:chgData name="Parth P Ved" userId="4b0ec5b8-7ef9-4dc0-8d36-4c3446bef2c8" providerId="ADAL" clId="{66725D04-7957-4E8B-8251-911A7F80CE25}" dt="2023-09-09T08:26:50.355" v="2296" actId="165"/>
          <ac:spMkLst>
            <pc:docMk/>
            <pc:sldMk cId="2427902828" sldId="2147374920"/>
            <ac:spMk id="2244" creationId="{EB99C8D1-A719-4FAE-9449-D9474719594B}"/>
          </ac:spMkLst>
        </pc:spChg>
        <pc:spChg chg="mod">
          <ac:chgData name="Parth P Ved" userId="4b0ec5b8-7ef9-4dc0-8d36-4c3446bef2c8" providerId="ADAL" clId="{66725D04-7957-4E8B-8251-911A7F80CE25}" dt="2023-09-09T08:26:50.355" v="2296" actId="165"/>
          <ac:spMkLst>
            <pc:docMk/>
            <pc:sldMk cId="2427902828" sldId="2147374920"/>
            <ac:spMk id="2245" creationId="{0749C56B-D09B-ED5E-44EE-491A5861217D}"/>
          </ac:spMkLst>
        </pc:spChg>
        <pc:spChg chg="mod">
          <ac:chgData name="Parth P Ved" userId="4b0ec5b8-7ef9-4dc0-8d36-4c3446bef2c8" providerId="ADAL" clId="{66725D04-7957-4E8B-8251-911A7F80CE25}" dt="2023-09-09T08:26:50.355" v="2296" actId="165"/>
          <ac:spMkLst>
            <pc:docMk/>
            <pc:sldMk cId="2427902828" sldId="2147374920"/>
            <ac:spMk id="2246" creationId="{567CC626-F8D5-5405-720F-1E25CA1EB137}"/>
          </ac:spMkLst>
        </pc:spChg>
        <pc:spChg chg="mod">
          <ac:chgData name="Parth P Ved" userId="4b0ec5b8-7ef9-4dc0-8d36-4c3446bef2c8" providerId="ADAL" clId="{66725D04-7957-4E8B-8251-911A7F80CE25}" dt="2023-09-09T08:26:50.355" v="2296" actId="165"/>
          <ac:spMkLst>
            <pc:docMk/>
            <pc:sldMk cId="2427902828" sldId="2147374920"/>
            <ac:spMk id="2247" creationId="{7F61B382-9144-E16F-AAAA-3BF10C98483B}"/>
          </ac:spMkLst>
        </pc:spChg>
        <pc:spChg chg="mod">
          <ac:chgData name="Parth P Ved" userId="4b0ec5b8-7ef9-4dc0-8d36-4c3446bef2c8" providerId="ADAL" clId="{66725D04-7957-4E8B-8251-911A7F80CE25}" dt="2023-09-09T08:26:50.355" v="2296" actId="165"/>
          <ac:spMkLst>
            <pc:docMk/>
            <pc:sldMk cId="2427902828" sldId="2147374920"/>
            <ac:spMk id="2248" creationId="{E01E4B7C-68EA-68D5-B99C-165F108FC76E}"/>
          </ac:spMkLst>
        </pc:spChg>
        <pc:spChg chg="mod">
          <ac:chgData name="Parth P Ved" userId="4b0ec5b8-7ef9-4dc0-8d36-4c3446bef2c8" providerId="ADAL" clId="{66725D04-7957-4E8B-8251-911A7F80CE25}" dt="2023-09-09T08:26:50.355" v="2296" actId="165"/>
          <ac:spMkLst>
            <pc:docMk/>
            <pc:sldMk cId="2427902828" sldId="2147374920"/>
            <ac:spMk id="2249" creationId="{452E237D-2A89-8AED-AF86-7A0E15317E07}"/>
          </ac:spMkLst>
        </pc:spChg>
        <pc:spChg chg="mod">
          <ac:chgData name="Parth P Ved" userId="4b0ec5b8-7ef9-4dc0-8d36-4c3446bef2c8" providerId="ADAL" clId="{66725D04-7957-4E8B-8251-911A7F80CE25}" dt="2023-09-09T08:26:50.355" v="2296" actId="165"/>
          <ac:spMkLst>
            <pc:docMk/>
            <pc:sldMk cId="2427902828" sldId="2147374920"/>
            <ac:spMk id="2250" creationId="{91746025-016D-EC66-E7A3-4F462F10DAD3}"/>
          </ac:spMkLst>
        </pc:spChg>
        <pc:spChg chg="mod">
          <ac:chgData name="Parth P Ved" userId="4b0ec5b8-7ef9-4dc0-8d36-4c3446bef2c8" providerId="ADAL" clId="{66725D04-7957-4E8B-8251-911A7F80CE25}" dt="2023-09-09T08:26:50.355" v="2296" actId="165"/>
          <ac:spMkLst>
            <pc:docMk/>
            <pc:sldMk cId="2427902828" sldId="2147374920"/>
            <ac:spMk id="2251" creationId="{F7E0161C-00B4-F0A1-DB8C-3D8A9E389FE7}"/>
          </ac:spMkLst>
        </pc:spChg>
        <pc:spChg chg="mod">
          <ac:chgData name="Parth P Ved" userId="4b0ec5b8-7ef9-4dc0-8d36-4c3446bef2c8" providerId="ADAL" clId="{66725D04-7957-4E8B-8251-911A7F80CE25}" dt="2023-09-09T08:26:50.355" v="2296" actId="165"/>
          <ac:spMkLst>
            <pc:docMk/>
            <pc:sldMk cId="2427902828" sldId="2147374920"/>
            <ac:spMk id="2252" creationId="{A508A881-2162-0B52-BC6A-7C5CA01A9F53}"/>
          </ac:spMkLst>
        </pc:spChg>
        <pc:spChg chg="mod">
          <ac:chgData name="Parth P Ved" userId="4b0ec5b8-7ef9-4dc0-8d36-4c3446bef2c8" providerId="ADAL" clId="{66725D04-7957-4E8B-8251-911A7F80CE25}" dt="2023-09-09T08:26:50.355" v="2296" actId="165"/>
          <ac:spMkLst>
            <pc:docMk/>
            <pc:sldMk cId="2427902828" sldId="2147374920"/>
            <ac:spMk id="2253" creationId="{72AFEA5B-A1BD-5CD0-D8A1-1269660937E5}"/>
          </ac:spMkLst>
        </pc:spChg>
        <pc:spChg chg="mod">
          <ac:chgData name="Parth P Ved" userId="4b0ec5b8-7ef9-4dc0-8d36-4c3446bef2c8" providerId="ADAL" clId="{66725D04-7957-4E8B-8251-911A7F80CE25}" dt="2023-09-09T08:26:50.355" v="2296" actId="165"/>
          <ac:spMkLst>
            <pc:docMk/>
            <pc:sldMk cId="2427902828" sldId="2147374920"/>
            <ac:spMk id="2254" creationId="{5E72431A-5B19-7AA1-77C3-45CE316960DD}"/>
          </ac:spMkLst>
        </pc:spChg>
        <pc:spChg chg="mod">
          <ac:chgData name="Parth P Ved" userId="4b0ec5b8-7ef9-4dc0-8d36-4c3446bef2c8" providerId="ADAL" clId="{66725D04-7957-4E8B-8251-911A7F80CE25}" dt="2023-09-09T08:26:50.355" v="2296" actId="165"/>
          <ac:spMkLst>
            <pc:docMk/>
            <pc:sldMk cId="2427902828" sldId="2147374920"/>
            <ac:spMk id="2255" creationId="{F8923833-9C00-ADE1-DF10-B25DED244E5D}"/>
          </ac:spMkLst>
        </pc:spChg>
        <pc:spChg chg="mod">
          <ac:chgData name="Parth P Ved" userId="4b0ec5b8-7ef9-4dc0-8d36-4c3446bef2c8" providerId="ADAL" clId="{66725D04-7957-4E8B-8251-911A7F80CE25}" dt="2023-09-09T08:26:50.355" v="2296" actId="165"/>
          <ac:spMkLst>
            <pc:docMk/>
            <pc:sldMk cId="2427902828" sldId="2147374920"/>
            <ac:spMk id="2256" creationId="{C80CB657-950C-4EFB-52DB-512BCA144463}"/>
          </ac:spMkLst>
        </pc:spChg>
        <pc:spChg chg="mod">
          <ac:chgData name="Parth P Ved" userId="4b0ec5b8-7ef9-4dc0-8d36-4c3446bef2c8" providerId="ADAL" clId="{66725D04-7957-4E8B-8251-911A7F80CE25}" dt="2023-09-09T08:26:50.355" v="2296" actId="165"/>
          <ac:spMkLst>
            <pc:docMk/>
            <pc:sldMk cId="2427902828" sldId="2147374920"/>
            <ac:spMk id="2257" creationId="{D34B498C-252B-8719-212A-98AC9DC549B6}"/>
          </ac:spMkLst>
        </pc:spChg>
        <pc:spChg chg="mod">
          <ac:chgData name="Parth P Ved" userId="4b0ec5b8-7ef9-4dc0-8d36-4c3446bef2c8" providerId="ADAL" clId="{66725D04-7957-4E8B-8251-911A7F80CE25}" dt="2023-09-09T08:26:50.355" v="2296" actId="165"/>
          <ac:spMkLst>
            <pc:docMk/>
            <pc:sldMk cId="2427902828" sldId="2147374920"/>
            <ac:spMk id="2258" creationId="{0E229265-2D78-350F-774F-B8C5B6031643}"/>
          </ac:spMkLst>
        </pc:spChg>
        <pc:spChg chg="mod">
          <ac:chgData name="Parth P Ved" userId="4b0ec5b8-7ef9-4dc0-8d36-4c3446bef2c8" providerId="ADAL" clId="{66725D04-7957-4E8B-8251-911A7F80CE25}" dt="2023-09-09T08:26:50.355" v="2296" actId="165"/>
          <ac:spMkLst>
            <pc:docMk/>
            <pc:sldMk cId="2427902828" sldId="2147374920"/>
            <ac:spMk id="2259" creationId="{BF61AFF0-898B-E025-204F-56B6B26C392E}"/>
          </ac:spMkLst>
        </pc:spChg>
        <pc:spChg chg="mod">
          <ac:chgData name="Parth P Ved" userId="4b0ec5b8-7ef9-4dc0-8d36-4c3446bef2c8" providerId="ADAL" clId="{66725D04-7957-4E8B-8251-911A7F80CE25}" dt="2023-09-09T08:26:50.355" v="2296" actId="165"/>
          <ac:spMkLst>
            <pc:docMk/>
            <pc:sldMk cId="2427902828" sldId="2147374920"/>
            <ac:spMk id="2260" creationId="{5CE9D145-450E-3A47-17EC-6AF2EA99C77A}"/>
          </ac:spMkLst>
        </pc:spChg>
        <pc:spChg chg="mod">
          <ac:chgData name="Parth P Ved" userId="4b0ec5b8-7ef9-4dc0-8d36-4c3446bef2c8" providerId="ADAL" clId="{66725D04-7957-4E8B-8251-911A7F80CE25}" dt="2023-09-09T08:26:50.355" v="2296" actId="165"/>
          <ac:spMkLst>
            <pc:docMk/>
            <pc:sldMk cId="2427902828" sldId="2147374920"/>
            <ac:spMk id="2261" creationId="{AB6547EE-06FA-6AC5-A0D4-3F759081CDF7}"/>
          </ac:spMkLst>
        </pc:spChg>
        <pc:spChg chg="mod">
          <ac:chgData name="Parth P Ved" userId="4b0ec5b8-7ef9-4dc0-8d36-4c3446bef2c8" providerId="ADAL" clId="{66725D04-7957-4E8B-8251-911A7F80CE25}" dt="2023-09-09T08:26:50.355" v="2296" actId="165"/>
          <ac:spMkLst>
            <pc:docMk/>
            <pc:sldMk cId="2427902828" sldId="2147374920"/>
            <ac:spMk id="2262" creationId="{820E3CB2-F896-D04B-6422-D923869B7920}"/>
          </ac:spMkLst>
        </pc:spChg>
        <pc:grpChg chg="add del mod">
          <ac:chgData name="Parth P Ved" userId="4b0ec5b8-7ef9-4dc0-8d36-4c3446bef2c8" providerId="ADAL" clId="{66725D04-7957-4E8B-8251-911A7F80CE25}" dt="2023-09-09T08:26:19.952" v="2288"/>
          <ac:grpSpMkLst>
            <pc:docMk/>
            <pc:sldMk cId="2427902828" sldId="2147374920"/>
            <ac:grpSpMk id="3" creationId="{DDE18016-ABA4-6E32-BCA0-0B2851D75BBC}"/>
          </ac:grpSpMkLst>
        </pc:grpChg>
        <pc:grpChg chg="del">
          <ac:chgData name="Parth P Ved" userId="4b0ec5b8-7ef9-4dc0-8d36-4c3446bef2c8" providerId="ADAL" clId="{66725D04-7957-4E8B-8251-911A7F80CE25}" dt="2023-09-09T08:26:04.930" v="2286" actId="478"/>
          <ac:grpSpMkLst>
            <pc:docMk/>
            <pc:sldMk cId="2427902828" sldId="2147374920"/>
            <ac:grpSpMk id="40" creationId="{A7501264-5A36-A99D-EBEA-AB8AA28CA1A7}"/>
          </ac:grpSpMkLst>
        </pc:grpChg>
        <pc:grpChg chg="mod">
          <ac:chgData name="Parth P Ved" userId="4b0ec5b8-7ef9-4dc0-8d36-4c3446bef2c8" providerId="ADAL" clId="{66725D04-7957-4E8B-8251-911A7F80CE25}" dt="2023-09-09T08:26:17.937" v="2287"/>
          <ac:grpSpMkLst>
            <pc:docMk/>
            <pc:sldMk cId="2427902828" sldId="2147374920"/>
            <ac:grpSpMk id="2051" creationId="{18D8315E-B490-F757-E636-612EB0462791}"/>
          </ac:grpSpMkLst>
        </pc:grpChg>
        <pc:grpChg chg="mod">
          <ac:chgData name="Parth P Ved" userId="4b0ec5b8-7ef9-4dc0-8d36-4c3446bef2c8" providerId="ADAL" clId="{66725D04-7957-4E8B-8251-911A7F80CE25}" dt="2023-09-09T08:26:17.937" v="2287"/>
          <ac:grpSpMkLst>
            <pc:docMk/>
            <pc:sldMk cId="2427902828" sldId="2147374920"/>
            <ac:grpSpMk id="2053" creationId="{5B4F33CE-6B00-8AB9-DBAF-2472D0A08F2D}"/>
          </ac:grpSpMkLst>
        </pc:grpChg>
        <pc:grpChg chg="mod">
          <ac:chgData name="Parth P Ved" userId="4b0ec5b8-7ef9-4dc0-8d36-4c3446bef2c8" providerId="ADAL" clId="{66725D04-7957-4E8B-8251-911A7F80CE25}" dt="2023-09-09T08:26:17.937" v="2287"/>
          <ac:grpSpMkLst>
            <pc:docMk/>
            <pc:sldMk cId="2427902828" sldId="2147374920"/>
            <ac:grpSpMk id="2055" creationId="{6F4DC76B-968F-9D13-0EE2-48B2875987A3}"/>
          </ac:grpSpMkLst>
        </pc:grpChg>
        <pc:grpChg chg="mod">
          <ac:chgData name="Parth P Ved" userId="4b0ec5b8-7ef9-4dc0-8d36-4c3446bef2c8" providerId="ADAL" clId="{66725D04-7957-4E8B-8251-911A7F80CE25}" dt="2023-09-09T08:26:17.937" v="2287"/>
          <ac:grpSpMkLst>
            <pc:docMk/>
            <pc:sldMk cId="2427902828" sldId="2147374920"/>
            <ac:grpSpMk id="2056" creationId="{F4AE67BE-D588-9C5C-B19B-CC1F8599092F}"/>
          </ac:grpSpMkLst>
        </pc:grpChg>
        <pc:grpChg chg="mod">
          <ac:chgData name="Parth P Ved" userId="4b0ec5b8-7ef9-4dc0-8d36-4c3446bef2c8" providerId="ADAL" clId="{66725D04-7957-4E8B-8251-911A7F80CE25}" dt="2023-09-09T08:26:17.937" v="2287"/>
          <ac:grpSpMkLst>
            <pc:docMk/>
            <pc:sldMk cId="2427902828" sldId="2147374920"/>
            <ac:grpSpMk id="2057" creationId="{FE5999F4-BFE6-9F4E-F7D7-BF8FB64252BD}"/>
          </ac:grpSpMkLst>
        </pc:grpChg>
        <pc:grpChg chg="add del mod">
          <ac:chgData name="Parth P Ved" userId="4b0ec5b8-7ef9-4dc0-8d36-4c3446bef2c8" providerId="ADAL" clId="{66725D04-7957-4E8B-8251-911A7F80CE25}" dt="2023-09-09T08:26:50.355" v="2296" actId="165"/>
          <ac:grpSpMkLst>
            <pc:docMk/>
            <pc:sldMk cId="2427902828" sldId="2147374920"/>
            <ac:grpSpMk id="2138" creationId="{C0CCD550-D46D-FED8-D332-F78D74BF4FAC}"/>
          </ac:grpSpMkLst>
        </pc:grpChg>
        <pc:grpChg chg="mod topLvl">
          <ac:chgData name="Parth P Ved" userId="4b0ec5b8-7ef9-4dc0-8d36-4c3446bef2c8" providerId="ADAL" clId="{66725D04-7957-4E8B-8251-911A7F80CE25}" dt="2023-09-09T08:26:50.355" v="2296" actId="165"/>
          <ac:grpSpMkLst>
            <pc:docMk/>
            <pc:sldMk cId="2427902828" sldId="2147374920"/>
            <ac:grpSpMk id="2178" creationId="{7FCDFF26-9A24-84B2-A7A6-68B1283BA35A}"/>
          </ac:grpSpMkLst>
        </pc:grpChg>
        <pc:grpChg chg="mod topLvl">
          <ac:chgData name="Parth P Ved" userId="4b0ec5b8-7ef9-4dc0-8d36-4c3446bef2c8" providerId="ADAL" clId="{66725D04-7957-4E8B-8251-911A7F80CE25}" dt="2023-09-09T08:26:50.355" v="2296" actId="165"/>
          <ac:grpSpMkLst>
            <pc:docMk/>
            <pc:sldMk cId="2427902828" sldId="2147374920"/>
            <ac:grpSpMk id="2179" creationId="{D1CB951A-B79B-03A8-6627-CD2820769E74}"/>
          </ac:grpSpMkLst>
        </pc:grpChg>
        <pc:grpChg chg="mod topLvl">
          <ac:chgData name="Parth P Ved" userId="4b0ec5b8-7ef9-4dc0-8d36-4c3446bef2c8" providerId="ADAL" clId="{66725D04-7957-4E8B-8251-911A7F80CE25}" dt="2023-09-09T08:26:50.355" v="2296" actId="165"/>
          <ac:grpSpMkLst>
            <pc:docMk/>
            <pc:sldMk cId="2427902828" sldId="2147374920"/>
            <ac:grpSpMk id="2180" creationId="{9FA9675F-44E5-E136-675B-E98AB8B132CB}"/>
          </ac:grpSpMkLst>
        </pc:grpChg>
        <pc:grpChg chg="mod topLvl">
          <ac:chgData name="Parth P Ved" userId="4b0ec5b8-7ef9-4dc0-8d36-4c3446bef2c8" providerId="ADAL" clId="{66725D04-7957-4E8B-8251-911A7F80CE25}" dt="2023-09-09T08:26:50.355" v="2296" actId="165"/>
          <ac:grpSpMkLst>
            <pc:docMk/>
            <pc:sldMk cId="2427902828" sldId="2147374920"/>
            <ac:grpSpMk id="2181" creationId="{1758D5AC-0556-03C0-C3BC-8F641EF09FAD}"/>
          </ac:grpSpMkLst>
        </pc:grpChg>
        <pc:grpChg chg="mod topLvl">
          <ac:chgData name="Parth P Ved" userId="4b0ec5b8-7ef9-4dc0-8d36-4c3446bef2c8" providerId="ADAL" clId="{66725D04-7957-4E8B-8251-911A7F80CE25}" dt="2023-09-09T08:26:50.355" v="2296" actId="165"/>
          <ac:grpSpMkLst>
            <pc:docMk/>
            <pc:sldMk cId="2427902828" sldId="2147374920"/>
            <ac:grpSpMk id="2182" creationId="{4388B4F5-4EFD-5D37-281E-66EC18DD642F}"/>
          </ac:grpSpMkLst>
        </pc:grpChg>
        <pc:picChg chg="del">
          <ac:chgData name="Parth P Ved" userId="4b0ec5b8-7ef9-4dc0-8d36-4c3446bef2c8" providerId="ADAL" clId="{66725D04-7957-4E8B-8251-911A7F80CE25}" dt="2023-09-09T08:26:04.930" v="2286" actId="478"/>
          <ac:picMkLst>
            <pc:docMk/>
            <pc:sldMk cId="2427902828" sldId="2147374920"/>
            <ac:picMk id="2050" creationId="{AE2598F9-457A-5048-84DE-729CF9DC932B}"/>
          </ac:picMkLst>
        </pc:picChg>
        <pc:picChg chg="del">
          <ac:chgData name="Parth P Ved" userId="4b0ec5b8-7ef9-4dc0-8d36-4c3446bef2c8" providerId="ADAL" clId="{66725D04-7957-4E8B-8251-911A7F80CE25}" dt="2023-09-09T08:26:04.930" v="2286" actId="478"/>
          <ac:picMkLst>
            <pc:docMk/>
            <pc:sldMk cId="2427902828" sldId="2147374920"/>
            <ac:picMk id="2052" creationId="{6914628E-0537-BCFA-D844-9E07A6E4366B}"/>
          </ac:picMkLst>
        </pc:picChg>
        <pc:picChg chg="del">
          <ac:chgData name="Parth P Ved" userId="4b0ec5b8-7ef9-4dc0-8d36-4c3446bef2c8" providerId="ADAL" clId="{66725D04-7957-4E8B-8251-911A7F80CE25}" dt="2023-09-09T08:26:04.930" v="2286" actId="478"/>
          <ac:picMkLst>
            <pc:docMk/>
            <pc:sldMk cId="2427902828" sldId="2147374920"/>
            <ac:picMk id="2054" creationId="{972DC3CE-3700-D150-5009-A945BF4FF548}"/>
          </ac:picMkLst>
        </pc:picChg>
        <pc:cxnChg chg="mod">
          <ac:chgData name="Parth P Ved" userId="4b0ec5b8-7ef9-4dc0-8d36-4c3446bef2c8" providerId="ADAL" clId="{66725D04-7957-4E8B-8251-911A7F80CE25}" dt="2023-09-09T08:26:17.937" v="2287"/>
          <ac:cxnSpMkLst>
            <pc:docMk/>
            <pc:sldMk cId="2427902828" sldId="2147374920"/>
            <ac:cxnSpMk id="4" creationId="{9E0BA897-0FB2-BC73-5ADF-0D99E7E56729}"/>
          </ac:cxnSpMkLst>
        </pc:cxnChg>
        <pc:cxnChg chg="mod">
          <ac:chgData name="Parth P Ved" userId="4b0ec5b8-7ef9-4dc0-8d36-4c3446bef2c8" providerId="ADAL" clId="{66725D04-7957-4E8B-8251-911A7F80CE25}" dt="2023-09-09T08:26:17.937" v="2287"/>
          <ac:cxnSpMkLst>
            <pc:docMk/>
            <pc:sldMk cId="2427902828" sldId="2147374920"/>
            <ac:cxnSpMk id="5" creationId="{1B706268-3FE5-40D7-1B55-49152B906DC8}"/>
          </ac:cxnSpMkLst>
        </pc:cxnChg>
        <pc:cxnChg chg="mod">
          <ac:chgData name="Parth P Ved" userId="4b0ec5b8-7ef9-4dc0-8d36-4c3446bef2c8" providerId="ADAL" clId="{66725D04-7957-4E8B-8251-911A7F80CE25}" dt="2023-09-09T08:26:17.937" v="2287"/>
          <ac:cxnSpMkLst>
            <pc:docMk/>
            <pc:sldMk cId="2427902828" sldId="2147374920"/>
            <ac:cxnSpMk id="6" creationId="{E6AF7866-8704-ADF3-6870-34C278B240D4}"/>
          </ac:cxnSpMkLst>
        </pc:cxnChg>
        <pc:cxnChg chg="mod">
          <ac:chgData name="Parth P Ved" userId="4b0ec5b8-7ef9-4dc0-8d36-4c3446bef2c8" providerId="ADAL" clId="{66725D04-7957-4E8B-8251-911A7F80CE25}" dt="2023-09-09T08:26:17.937" v="2287"/>
          <ac:cxnSpMkLst>
            <pc:docMk/>
            <pc:sldMk cId="2427902828" sldId="2147374920"/>
            <ac:cxnSpMk id="11" creationId="{951EAAA6-6507-44C0-F4F4-FD3A83C39B98}"/>
          </ac:cxnSpMkLst>
        </pc:cxnChg>
        <pc:cxnChg chg="mod">
          <ac:chgData name="Parth P Ved" userId="4b0ec5b8-7ef9-4dc0-8d36-4c3446bef2c8" providerId="ADAL" clId="{66725D04-7957-4E8B-8251-911A7F80CE25}" dt="2023-09-09T08:26:17.937" v="2287"/>
          <ac:cxnSpMkLst>
            <pc:docMk/>
            <pc:sldMk cId="2427902828" sldId="2147374920"/>
            <ac:cxnSpMk id="16" creationId="{9F7C1E32-2972-EAC1-A56E-8B4F50AC06D7}"/>
          </ac:cxnSpMkLst>
        </pc:cxnChg>
        <pc:cxnChg chg="mod">
          <ac:chgData name="Parth P Ved" userId="4b0ec5b8-7ef9-4dc0-8d36-4c3446bef2c8" providerId="ADAL" clId="{66725D04-7957-4E8B-8251-911A7F80CE25}" dt="2023-09-09T08:26:17.937" v="2287"/>
          <ac:cxnSpMkLst>
            <pc:docMk/>
            <pc:sldMk cId="2427902828" sldId="2147374920"/>
            <ac:cxnSpMk id="25" creationId="{5BBB99E0-D320-71E2-54EE-1C7934BE48B5}"/>
          </ac:cxnSpMkLst>
        </pc:cxnChg>
        <pc:cxnChg chg="mod">
          <ac:chgData name="Parth P Ved" userId="4b0ec5b8-7ef9-4dc0-8d36-4c3446bef2c8" providerId="ADAL" clId="{66725D04-7957-4E8B-8251-911A7F80CE25}" dt="2023-09-09T08:26:17.937" v="2287"/>
          <ac:cxnSpMkLst>
            <pc:docMk/>
            <pc:sldMk cId="2427902828" sldId="2147374920"/>
            <ac:cxnSpMk id="39" creationId="{807C6699-204A-6AC1-E9E0-6861FA722B7B}"/>
          </ac:cxnSpMkLst>
        </pc:cxnChg>
        <pc:cxnChg chg="mod topLvl">
          <ac:chgData name="Parth P Ved" userId="4b0ec5b8-7ef9-4dc0-8d36-4c3446bef2c8" providerId="ADAL" clId="{66725D04-7957-4E8B-8251-911A7F80CE25}" dt="2023-09-09T08:27:03.636" v="2297" actId="208"/>
          <ac:cxnSpMkLst>
            <pc:docMk/>
            <pc:sldMk cId="2427902828" sldId="2147374920"/>
            <ac:cxnSpMk id="2139" creationId="{D53F0759-B041-C81F-AC42-8A4A8810EE55}"/>
          </ac:cxnSpMkLst>
        </pc:cxnChg>
        <pc:cxnChg chg="mod topLvl">
          <ac:chgData name="Parth P Ved" userId="4b0ec5b8-7ef9-4dc0-8d36-4c3446bef2c8" providerId="ADAL" clId="{66725D04-7957-4E8B-8251-911A7F80CE25}" dt="2023-09-09T08:26:50.355" v="2296" actId="165"/>
          <ac:cxnSpMkLst>
            <pc:docMk/>
            <pc:sldMk cId="2427902828" sldId="2147374920"/>
            <ac:cxnSpMk id="2140" creationId="{E8C282D1-12EC-7CC0-733A-8009DFACC3FB}"/>
          </ac:cxnSpMkLst>
        </pc:cxnChg>
        <pc:cxnChg chg="mod topLvl">
          <ac:chgData name="Parth P Ved" userId="4b0ec5b8-7ef9-4dc0-8d36-4c3446bef2c8" providerId="ADAL" clId="{66725D04-7957-4E8B-8251-911A7F80CE25}" dt="2023-09-09T08:27:03.636" v="2297" actId="208"/>
          <ac:cxnSpMkLst>
            <pc:docMk/>
            <pc:sldMk cId="2427902828" sldId="2147374920"/>
            <ac:cxnSpMk id="2141" creationId="{0562FCBC-A5E2-6052-D9E9-D27CF4774DAB}"/>
          </ac:cxnSpMkLst>
        </pc:cxnChg>
        <pc:cxnChg chg="mod topLvl">
          <ac:chgData name="Parth P Ved" userId="4b0ec5b8-7ef9-4dc0-8d36-4c3446bef2c8" providerId="ADAL" clId="{66725D04-7957-4E8B-8251-911A7F80CE25}" dt="2023-09-09T08:27:03.636" v="2297" actId="208"/>
          <ac:cxnSpMkLst>
            <pc:docMk/>
            <pc:sldMk cId="2427902828" sldId="2147374920"/>
            <ac:cxnSpMk id="2146" creationId="{BA9DF68E-0D09-6AD6-67BA-1E762142D653}"/>
          </ac:cxnSpMkLst>
        </pc:cxnChg>
        <pc:cxnChg chg="mod topLvl">
          <ac:chgData name="Parth P Ved" userId="4b0ec5b8-7ef9-4dc0-8d36-4c3446bef2c8" providerId="ADAL" clId="{66725D04-7957-4E8B-8251-911A7F80CE25}" dt="2023-09-09T08:27:03.636" v="2297" actId="208"/>
          <ac:cxnSpMkLst>
            <pc:docMk/>
            <pc:sldMk cId="2427902828" sldId="2147374920"/>
            <ac:cxnSpMk id="2151" creationId="{6B56AC5E-8E32-25E0-6168-7DA3E96AA082}"/>
          </ac:cxnSpMkLst>
        </pc:cxnChg>
        <pc:cxnChg chg="mod topLvl">
          <ac:chgData name="Parth P Ved" userId="4b0ec5b8-7ef9-4dc0-8d36-4c3446bef2c8" providerId="ADAL" clId="{66725D04-7957-4E8B-8251-911A7F80CE25}" dt="2023-09-09T08:27:03.636" v="2297" actId="208"/>
          <ac:cxnSpMkLst>
            <pc:docMk/>
            <pc:sldMk cId="2427902828" sldId="2147374920"/>
            <ac:cxnSpMk id="2160" creationId="{0FA0BB9F-5B23-CC78-83B8-62C02CCF372E}"/>
          </ac:cxnSpMkLst>
        </pc:cxnChg>
        <pc:cxnChg chg="mod topLvl">
          <ac:chgData name="Parth P Ved" userId="4b0ec5b8-7ef9-4dc0-8d36-4c3446bef2c8" providerId="ADAL" clId="{66725D04-7957-4E8B-8251-911A7F80CE25}" dt="2023-09-09T08:27:03.636" v="2297" actId="208"/>
          <ac:cxnSpMkLst>
            <pc:docMk/>
            <pc:sldMk cId="2427902828" sldId="2147374920"/>
            <ac:cxnSpMk id="2165" creationId="{1CDC63A7-0283-8848-52D8-9F0E5E485FF5}"/>
          </ac:cxnSpMkLst>
        </pc:cxnChg>
      </pc:sldChg>
      <pc:sldChg chg="add del">
        <pc:chgData name="Parth P Ved" userId="4b0ec5b8-7ef9-4dc0-8d36-4c3446bef2c8" providerId="ADAL" clId="{66725D04-7957-4E8B-8251-911A7F80CE25}" dt="2023-09-09T08:25:52.892" v="2281"/>
        <pc:sldMkLst>
          <pc:docMk/>
          <pc:sldMk cId="3061716309" sldId="2147374920"/>
        </pc:sldMkLst>
      </pc:sldChg>
      <pc:sldChg chg="addSp delSp modSp add mod">
        <pc:chgData name="Parth P Ved" userId="4b0ec5b8-7ef9-4dc0-8d36-4c3446bef2c8" providerId="ADAL" clId="{66725D04-7957-4E8B-8251-911A7F80CE25}" dt="2023-09-09T08:29:16.570" v="2335" actId="20577"/>
        <pc:sldMkLst>
          <pc:docMk/>
          <pc:sldMk cId="714134963" sldId="2147374921"/>
        </pc:sldMkLst>
        <pc:spChg chg="mod">
          <ac:chgData name="Parth P Ved" userId="4b0ec5b8-7ef9-4dc0-8d36-4c3446bef2c8" providerId="ADAL" clId="{66725D04-7957-4E8B-8251-911A7F80CE25}" dt="2023-09-09T08:29:16.570" v="2335" actId="20577"/>
          <ac:spMkLst>
            <pc:docMk/>
            <pc:sldMk cId="714134963" sldId="2147374921"/>
            <ac:spMk id="3" creationId="{C994091E-296F-FE4D-766C-89802AE41C39}"/>
          </ac:spMkLst>
        </pc:spChg>
        <pc:spChg chg="mod topLvl">
          <ac:chgData name="Parth P Ved" userId="4b0ec5b8-7ef9-4dc0-8d36-4c3446bef2c8" providerId="ADAL" clId="{66725D04-7957-4E8B-8251-911A7F80CE25}" dt="2023-09-09T08:28:14.568" v="2307" actId="165"/>
          <ac:spMkLst>
            <pc:docMk/>
            <pc:sldMk cId="714134963" sldId="2147374921"/>
            <ac:spMk id="4" creationId="{B0C1871F-D2B5-C876-39A3-B628F8E052CC}"/>
          </ac:spMkLst>
        </pc:spChg>
        <pc:spChg chg="mod topLvl">
          <ac:chgData name="Parth P Ved" userId="4b0ec5b8-7ef9-4dc0-8d36-4c3446bef2c8" providerId="ADAL" clId="{66725D04-7957-4E8B-8251-911A7F80CE25}" dt="2023-09-09T08:28:14.568" v="2307" actId="165"/>
          <ac:spMkLst>
            <pc:docMk/>
            <pc:sldMk cId="714134963" sldId="2147374921"/>
            <ac:spMk id="6" creationId="{62361F20-1A66-405D-D12E-9D2FFD52790A}"/>
          </ac:spMkLst>
        </pc:spChg>
        <pc:spChg chg="mod topLvl">
          <ac:chgData name="Parth P Ved" userId="4b0ec5b8-7ef9-4dc0-8d36-4c3446bef2c8" providerId="ADAL" clId="{66725D04-7957-4E8B-8251-911A7F80CE25}" dt="2023-09-09T08:28:14.568" v="2307" actId="165"/>
          <ac:spMkLst>
            <pc:docMk/>
            <pc:sldMk cId="714134963" sldId="2147374921"/>
            <ac:spMk id="7" creationId="{89084D44-4262-ABFB-8E4D-B364EABA1187}"/>
          </ac:spMkLst>
        </pc:spChg>
        <pc:spChg chg="mod topLvl">
          <ac:chgData name="Parth P Ved" userId="4b0ec5b8-7ef9-4dc0-8d36-4c3446bef2c8" providerId="ADAL" clId="{66725D04-7957-4E8B-8251-911A7F80CE25}" dt="2023-09-09T08:28:14.568" v="2307" actId="165"/>
          <ac:spMkLst>
            <pc:docMk/>
            <pc:sldMk cId="714134963" sldId="2147374921"/>
            <ac:spMk id="8" creationId="{5D807D74-3062-E10E-A795-FE70D01723C2}"/>
          </ac:spMkLst>
        </pc:spChg>
        <pc:spChg chg="mod topLvl">
          <ac:chgData name="Parth P Ved" userId="4b0ec5b8-7ef9-4dc0-8d36-4c3446bef2c8" providerId="ADAL" clId="{66725D04-7957-4E8B-8251-911A7F80CE25}" dt="2023-09-09T08:28:30.084" v="2311" actId="403"/>
          <ac:spMkLst>
            <pc:docMk/>
            <pc:sldMk cId="714134963" sldId="2147374921"/>
            <ac:spMk id="9" creationId="{B63EA141-6703-A5C4-7F59-1ED0B5A58268}"/>
          </ac:spMkLst>
        </pc:spChg>
        <pc:spChg chg="mod topLvl">
          <ac:chgData name="Parth P Ved" userId="4b0ec5b8-7ef9-4dc0-8d36-4c3446bef2c8" providerId="ADAL" clId="{66725D04-7957-4E8B-8251-911A7F80CE25}" dt="2023-09-09T08:28:14.568" v="2307" actId="165"/>
          <ac:spMkLst>
            <pc:docMk/>
            <pc:sldMk cId="714134963" sldId="2147374921"/>
            <ac:spMk id="10" creationId="{A202ACA0-1E45-84C0-1C12-07B6CAF7EE3A}"/>
          </ac:spMkLst>
        </pc:spChg>
        <pc:spChg chg="mod topLvl">
          <ac:chgData name="Parth P Ved" userId="4b0ec5b8-7ef9-4dc0-8d36-4c3446bef2c8" providerId="ADAL" clId="{66725D04-7957-4E8B-8251-911A7F80CE25}" dt="2023-09-09T08:28:14.568" v="2307" actId="165"/>
          <ac:spMkLst>
            <pc:docMk/>
            <pc:sldMk cId="714134963" sldId="2147374921"/>
            <ac:spMk id="11" creationId="{CF6F89F3-9B40-CAAC-D6E5-F02BA121455D}"/>
          </ac:spMkLst>
        </pc:spChg>
        <pc:spChg chg="mod topLvl">
          <ac:chgData name="Parth P Ved" userId="4b0ec5b8-7ef9-4dc0-8d36-4c3446bef2c8" providerId="ADAL" clId="{66725D04-7957-4E8B-8251-911A7F80CE25}" dt="2023-09-09T08:28:30.084" v="2311" actId="403"/>
          <ac:spMkLst>
            <pc:docMk/>
            <pc:sldMk cId="714134963" sldId="2147374921"/>
            <ac:spMk id="12" creationId="{6EF6E4F3-12C2-AA67-A23B-48BC501E864D}"/>
          </ac:spMkLst>
        </pc:spChg>
        <pc:spChg chg="mod topLvl">
          <ac:chgData name="Parth P Ved" userId="4b0ec5b8-7ef9-4dc0-8d36-4c3446bef2c8" providerId="ADAL" clId="{66725D04-7957-4E8B-8251-911A7F80CE25}" dt="2023-09-09T08:28:56.121" v="2319" actId="403"/>
          <ac:spMkLst>
            <pc:docMk/>
            <pc:sldMk cId="714134963" sldId="2147374921"/>
            <ac:spMk id="13" creationId="{C1F168C0-0554-087C-0F49-8D13CB314CD6}"/>
          </ac:spMkLst>
        </pc:spChg>
        <pc:spChg chg="mod topLvl">
          <ac:chgData name="Parth P Ved" userId="4b0ec5b8-7ef9-4dc0-8d36-4c3446bef2c8" providerId="ADAL" clId="{66725D04-7957-4E8B-8251-911A7F80CE25}" dt="2023-09-09T08:28:14.568" v="2307" actId="165"/>
          <ac:spMkLst>
            <pc:docMk/>
            <pc:sldMk cId="714134963" sldId="2147374921"/>
            <ac:spMk id="14" creationId="{20D9061C-4568-8D6A-2518-D00B7954E208}"/>
          </ac:spMkLst>
        </pc:spChg>
        <pc:spChg chg="mod topLvl">
          <ac:chgData name="Parth P Ved" userId="4b0ec5b8-7ef9-4dc0-8d36-4c3446bef2c8" providerId="ADAL" clId="{66725D04-7957-4E8B-8251-911A7F80CE25}" dt="2023-09-09T08:28:22.394" v="2308" actId="255"/>
          <ac:spMkLst>
            <pc:docMk/>
            <pc:sldMk cId="714134963" sldId="2147374921"/>
            <ac:spMk id="15" creationId="{C58BA468-8FD7-2FDD-B6D5-A5120B3D78F6}"/>
          </ac:spMkLst>
        </pc:spChg>
        <pc:spChg chg="mod topLvl">
          <ac:chgData name="Parth P Ved" userId="4b0ec5b8-7ef9-4dc0-8d36-4c3446bef2c8" providerId="ADAL" clId="{66725D04-7957-4E8B-8251-911A7F80CE25}" dt="2023-09-09T08:28:22.394" v="2308" actId="255"/>
          <ac:spMkLst>
            <pc:docMk/>
            <pc:sldMk cId="714134963" sldId="2147374921"/>
            <ac:spMk id="16" creationId="{8B9396D6-5914-3E72-074D-E07F35B60275}"/>
          </ac:spMkLst>
        </pc:spChg>
        <pc:spChg chg="mod topLvl">
          <ac:chgData name="Parth P Ved" userId="4b0ec5b8-7ef9-4dc0-8d36-4c3446bef2c8" providerId="ADAL" clId="{66725D04-7957-4E8B-8251-911A7F80CE25}" dt="2023-09-09T08:28:22.394" v="2308" actId="255"/>
          <ac:spMkLst>
            <pc:docMk/>
            <pc:sldMk cId="714134963" sldId="2147374921"/>
            <ac:spMk id="17" creationId="{27765CFC-02CD-ABDF-1C3D-926716DB9104}"/>
          </ac:spMkLst>
        </pc:spChg>
        <pc:spChg chg="mod">
          <ac:chgData name="Parth P Ved" userId="4b0ec5b8-7ef9-4dc0-8d36-4c3446bef2c8" providerId="ADAL" clId="{66725D04-7957-4E8B-8251-911A7F80CE25}" dt="2023-09-09T08:28:14.568" v="2307" actId="165"/>
          <ac:spMkLst>
            <pc:docMk/>
            <pc:sldMk cId="714134963" sldId="2147374921"/>
            <ac:spMk id="18" creationId="{D1108709-3A9D-7F3B-8A8E-3C3CD72B95AB}"/>
          </ac:spMkLst>
        </pc:spChg>
        <pc:spChg chg="mod">
          <ac:chgData name="Parth P Ved" userId="4b0ec5b8-7ef9-4dc0-8d36-4c3446bef2c8" providerId="ADAL" clId="{66725D04-7957-4E8B-8251-911A7F80CE25}" dt="2023-09-09T08:28:14.568" v="2307" actId="165"/>
          <ac:spMkLst>
            <pc:docMk/>
            <pc:sldMk cId="714134963" sldId="2147374921"/>
            <ac:spMk id="19" creationId="{5763B4D8-3C6F-3ABD-CCC6-81F2A28F2C8F}"/>
          </ac:spMkLst>
        </pc:spChg>
        <pc:spChg chg="mod">
          <ac:chgData name="Parth P Ved" userId="4b0ec5b8-7ef9-4dc0-8d36-4c3446bef2c8" providerId="ADAL" clId="{66725D04-7957-4E8B-8251-911A7F80CE25}" dt="2023-09-09T08:28:14.568" v="2307" actId="165"/>
          <ac:spMkLst>
            <pc:docMk/>
            <pc:sldMk cId="714134963" sldId="2147374921"/>
            <ac:spMk id="20" creationId="{D53221A0-C5DE-8F9A-77F0-5FA5B177ABFF}"/>
          </ac:spMkLst>
        </pc:spChg>
        <pc:spChg chg="mod">
          <ac:chgData name="Parth P Ved" userId="4b0ec5b8-7ef9-4dc0-8d36-4c3446bef2c8" providerId="ADAL" clId="{66725D04-7957-4E8B-8251-911A7F80CE25}" dt="2023-09-09T08:28:14.568" v="2307" actId="165"/>
          <ac:spMkLst>
            <pc:docMk/>
            <pc:sldMk cId="714134963" sldId="2147374921"/>
            <ac:spMk id="21" creationId="{C0789914-75C6-EE38-A0B3-4F0FB4CB84DF}"/>
          </ac:spMkLst>
        </pc:spChg>
        <pc:spChg chg="mod">
          <ac:chgData name="Parth P Ved" userId="4b0ec5b8-7ef9-4dc0-8d36-4c3446bef2c8" providerId="ADAL" clId="{66725D04-7957-4E8B-8251-911A7F80CE25}" dt="2023-09-09T08:28:14.568" v="2307" actId="165"/>
          <ac:spMkLst>
            <pc:docMk/>
            <pc:sldMk cId="714134963" sldId="2147374921"/>
            <ac:spMk id="22" creationId="{7867E68C-A8D4-93BE-8661-5A7EA369D36F}"/>
          </ac:spMkLst>
        </pc:spChg>
        <pc:spChg chg="mod">
          <ac:chgData name="Parth P Ved" userId="4b0ec5b8-7ef9-4dc0-8d36-4c3446bef2c8" providerId="ADAL" clId="{66725D04-7957-4E8B-8251-911A7F80CE25}" dt="2023-09-09T08:28:14.568" v="2307" actId="165"/>
          <ac:spMkLst>
            <pc:docMk/>
            <pc:sldMk cId="714134963" sldId="2147374921"/>
            <ac:spMk id="23" creationId="{05FF35EB-6714-B344-57A0-F908AB7A3A78}"/>
          </ac:spMkLst>
        </pc:spChg>
        <pc:spChg chg="mod">
          <ac:chgData name="Parth P Ved" userId="4b0ec5b8-7ef9-4dc0-8d36-4c3446bef2c8" providerId="ADAL" clId="{66725D04-7957-4E8B-8251-911A7F80CE25}" dt="2023-09-09T08:28:14.568" v="2307" actId="165"/>
          <ac:spMkLst>
            <pc:docMk/>
            <pc:sldMk cId="714134963" sldId="2147374921"/>
            <ac:spMk id="24" creationId="{6F78B52C-6949-6EFA-8BEF-F1F8A6B27A9B}"/>
          </ac:spMkLst>
        </pc:spChg>
        <pc:spChg chg="add del mod">
          <ac:chgData name="Parth P Ved" userId="4b0ec5b8-7ef9-4dc0-8d36-4c3446bef2c8" providerId="ADAL" clId="{66725D04-7957-4E8B-8251-911A7F80CE25}" dt="2023-09-09T08:28:41.677" v="2315"/>
          <ac:spMkLst>
            <pc:docMk/>
            <pc:sldMk cId="714134963" sldId="2147374921"/>
            <ac:spMk id="25" creationId="{8E8F48A6-34CE-34AD-D304-B99E930986CB}"/>
          </ac:spMkLst>
        </pc:spChg>
        <pc:spChg chg="add del mod">
          <ac:chgData name="Parth P Ved" userId="4b0ec5b8-7ef9-4dc0-8d36-4c3446bef2c8" providerId="ADAL" clId="{66725D04-7957-4E8B-8251-911A7F80CE25}" dt="2023-09-09T08:28:49.757" v="2317"/>
          <ac:spMkLst>
            <pc:docMk/>
            <pc:sldMk cId="714134963" sldId="2147374921"/>
            <ac:spMk id="26" creationId="{D63EB6CA-48B2-11EA-66F2-FB878E639F82}"/>
          </ac:spMkLst>
        </pc:spChg>
        <pc:spChg chg="add del mod">
          <ac:chgData name="Parth P Ved" userId="4b0ec5b8-7ef9-4dc0-8d36-4c3446bef2c8" providerId="ADAL" clId="{66725D04-7957-4E8B-8251-911A7F80CE25}" dt="2023-09-09T08:28:49.757" v="2317"/>
          <ac:spMkLst>
            <pc:docMk/>
            <pc:sldMk cId="714134963" sldId="2147374921"/>
            <ac:spMk id="27" creationId="{BAF78936-5900-18EC-6CE3-484221EE3192}"/>
          </ac:spMkLst>
        </pc:spChg>
        <pc:spChg chg="del">
          <ac:chgData name="Parth P Ved" userId="4b0ec5b8-7ef9-4dc0-8d36-4c3446bef2c8" providerId="ADAL" clId="{66725D04-7957-4E8B-8251-911A7F80CE25}" dt="2023-09-09T08:27:56.064" v="2302" actId="478"/>
          <ac:spMkLst>
            <pc:docMk/>
            <pc:sldMk cId="714134963" sldId="2147374921"/>
            <ac:spMk id="37" creationId="{E20B82FE-3B60-4E2B-9E0A-CDA76F62DBEA}"/>
          </ac:spMkLst>
        </pc:spChg>
        <pc:spChg chg="del">
          <ac:chgData name="Parth P Ved" userId="4b0ec5b8-7ef9-4dc0-8d36-4c3446bef2c8" providerId="ADAL" clId="{66725D04-7957-4E8B-8251-911A7F80CE25}" dt="2023-09-09T08:27:56.064" v="2302" actId="478"/>
          <ac:spMkLst>
            <pc:docMk/>
            <pc:sldMk cId="714134963" sldId="2147374921"/>
            <ac:spMk id="127" creationId="{57EBF6E5-7EAF-4D9A-9530-42480636CDC4}"/>
          </ac:spMkLst>
        </pc:spChg>
        <pc:spChg chg="del">
          <ac:chgData name="Parth P Ved" userId="4b0ec5b8-7ef9-4dc0-8d36-4c3446bef2c8" providerId="ADAL" clId="{66725D04-7957-4E8B-8251-911A7F80CE25}" dt="2023-09-09T08:27:56.064" v="2302" actId="478"/>
          <ac:spMkLst>
            <pc:docMk/>
            <pc:sldMk cId="714134963" sldId="2147374921"/>
            <ac:spMk id="128" creationId="{BF37D9E6-5E03-4C6B-AB82-385728C5E8B2}"/>
          </ac:spMkLst>
        </pc:spChg>
        <pc:spChg chg="del">
          <ac:chgData name="Parth P Ved" userId="4b0ec5b8-7ef9-4dc0-8d36-4c3446bef2c8" providerId="ADAL" clId="{66725D04-7957-4E8B-8251-911A7F80CE25}" dt="2023-09-09T08:27:56.064" v="2302" actId="478"/>
          <ac:spMkLst>
            <pc:docMk/>
            <pc:sldMk cId="714134963" sldId="2147374921"/>
            <ac:spMk id="130" creationId="{85E74DEE-D9B5-4DA0-9840-4E372F314EDF}"/>
          </ac:spMkLst>
        </pc:spChg>
        <pc:spChg chg="del">
          <ac:chgData name="Parth P Ved" userId="4b0ec5b8-7ef9-4dc0-8d36-4c3446bef2c8" providerId="ADAL" clId="{66725D04-7957-4E8B-8251-911A7F80CE25}" dt="2023-09-09T08:27:56.064" v="2302" actId="478"/>
          <ac:spMkLst>
            <pc:docMk/>
            <pc:sldMk cId="714134963" sldId="2147374921"/>
            <ac:spMk id="131" creationId="{EBFAAE1E-B78C-46A3-9199-4B19CCB0644A}"/>
          </ac:spMkLst>
        </pc:spChg>
        <pc:spChg chg="del">
          <ac:chgData name="Parth P Ved" userId="4b0ec5b8-7ef9-4dc0-8d36-4c3446bef2c8" providerId="ADAL" clId="{66725D04-7957-4E8B-8251-911A7F80CE25}" dt="2023-09-09T08:27:56.064" v="2302" actId="478"/>
          <ac:spMkLst>
            <pc:docMk/>
            <pc:sldMk cId="714134963" sldId="2147374921"/>
            <ac:spMk id="135" creationId="{D4CDDFF3-7566-4EE1-A34C-235B0B660D11}"/>
          </ac:spMkLst>
        </pc:spChg>
        <pc:spChg chg="del">
          <ac:chgData name="Parth P Ved" userId="4b0ec5b8-7ef9-4dc0-8d36-4c3446bef2c8" providerId="ADAL" clId="{66725D04-7957-4E8B-8251-911A7F80CE25}" dt="2023-09-09T08:27:56.064" v="2302" actId="478"/>
          <ac:spMkLst>
            <pc:docMk/>
            <pc:sldMk cId="714134963" sldId="2147374921"/>
            <ac:spMk id="140" creationId="{BBFAB623-52D9-4B9A-B047-35C298226A34}"/>
          </ac:spMkLst>
        </pc:spChg>
        <pc:spChg chg="del">
          <ac:chgData name="Parth P Ved" userId="4b0ec5b8-7ef9-4dc0-8d36-4c3446bef2c8" providerId="ADAL" clId="{66725D04-7957-4E8B-8251-911A7F80CE25}" dt="2023-09-09T08:27:56.064" v="2302" actId="478"/>
          <ac:spMkLst>
            <pc:docMk/>
            <pc:sldMk cId="714134963" sldId="2147374921"/>
            <ac:spMk id="155" creationId="{38865177-4945-42C3-B73F-12B73E3753C7}"/>
          </ac:spMkLst>
        </pc:spChg>
        <pc:spChg chg="del">
          <ac:chgData name="Parth P Ved" userId="4b0ec5b8-7ef9-4dc0-8d36-4c3446bef2c8" providerId="ADAL" clId="{66725D04-7957-4E8B-8251-911A7F80CE25}" dt="2023-09-09T08:27:56.064" v="2302" actId="478"/>
          <ac:spMkLst>
            <pc:docMk/>
            <pc:sldMk cId="714134963" sldId="2147374921"/>
            <ac:spMk id="156" creationId="{2DB75323-CEBE-4B9C-A16F-20C10BC06041}"/>
          </ac:spMkLst>
        </pc:spChg>
        <pc:spChg chg="del">
          <ac:chgData name="Parth P Ved" userId="4b0ec5b8-7ef9-4dc0-8d36-4c3446bef2c8" providerId="ADAL" clId="{66725D04-7957-4E8B-8251-911A7F80CE25}" dt="2023-09-09T08:27:56.064" v="2302" actId="478"/>
          <ac:spMkLst>
            <pc:docMk/>
            <pc:sldMk cId="714134963" sldId="2147374921"/>
            <ac:spMk id="158" creationId="{BAD1B051-4981-45DC-8BB4-1FDAC3A333C8}"/>
          </ac:spMkLst>
        </pc:spChg>
        <pc:spChg chg="del">
          <ac:chgData name="Parth P Ved" userId="4b0ec5b8-7ef9-4dc0-8d36-4c3446bef2c8" providerId="ADAL" clId="{66725D04-7957-4E8B-8251-911A7F80CE25}" dt="2023-09-09T08:27:56.064" v="2302" actId="478"/>
          <ac:spMkLst>
            <pc:docMk/>
            <pc:sldMk cId="714134963" sldId="2147374921"/>
            <ac:spMk id="159" creationId="{91CAAB54-D8C6-4E15-90D5-40591163F3C1}"/>
          </ac:spMkLst>
        </pc:spChg>
        <pc:spChg chg="del">
          <ac:chgData name="Parth P Ved" userId="4b0ec5b8-7ef9-4dc0-8d36-4c3446bef2c8" providerId="ADAL" clId="{66725D04-7957-4E8B-8251-911A7F80CE25}" dt="2023-09-09T08:27:56.064" v="2302" actId="478"/>
          <ac:spMkLst>
            <pc:docMk/>
            <pc:sldMk cId="714134963" sldId="2147374921"/>
            <ac:spMk id="160" creationId="{3923CFB3-6608-46AD-98C1-116F39ABD682}"/>
          </ac:spMkLst>
        </pc:spChg>
        <pc:spChg chg="del">
          <ac:chgData name="Parth P Ved" userId="4b0ec5b8-7ef9-4dc0-8d36-4c3446bef2c8" providerId="ADAL" clId="{66725D04-7957-4E8B-8251-911A7F80CE25}" dt="2023-09-09T08:27:56.064" v="2302" actId="478"/>
          <ac:spMkLst>
            <pc:docMk/>
            <pc:sldMk cId="714134963" sldId="2147374921"/>
            <ac:spMk id="161" creationId="{E1EAB0B0-30B7-4005-87CB-069DFE2E5373}"/>
          </ac:spMkLst>
        </pc:spChg>
        <pc:spChg chg="del">
          <ac:chgData name="Parth P Ved" userId="4b0ec5b8-7ef9-4dc0-8d36-4c3446bef2c8" providerId="ADAL" clId="{66725D04-7957-4E8B-8251-911A7F80CE25}" dt="2023-09-09T08:27:56.064" v="2302" actId="478"/>
          <ac:spMkLst>
            <pc:docMk/>
            <pc:sldMk cId="714134963" sldId="2147374921"/>
            <ac:spMk id="163" creationId="{FAE6C425-96F7-47A8-8215-589DE3B05FDC}"/>
          </ac:spMkLst>
        </pc:spChg>
        <pc:spChg chg="del">
          <ac:chgData name="Parth P Ved" userId="4b0ec5b8-7ef9-4dc0-8d36-4c3446bef2c8" providerId="ADAL" clId="{66725D04-7957-4E8B-8251-911A7F80CE25}" dt="2023-09-09T08:27:56.064" v="2302" actId="478"/>
          <ac:spMkLst>
            <pc:docMk/>
            <pc:sldMk cId="714134963" sldId="2147374921"/>
            <ac:spMk id="164" creationId="{55573729-BD91-4CB9-9102-CE77CB7D6136}"/>
          </ac:spMkLst>
        </pc:spChg>
        <pc:spChg chg="del">
          <ac:chgData name="Parth P Ved" userId="4b0ec5b8-7ef9-4dc0-8d36-4c3446bef2c8" providerId="ADAL" clId="{66725D04-7957-4E8B-8251-911A7F80CE25}" dt="2023-09-09T08:27:56.064" v="2302" actId="478"/>
          <ac:spMkLst>
            <pc:docMk/>
            <pc:sldMk cId="714134963" sldId="2147374921"/>
            <ac:spMk id="165" creationId="{E850C5C2-F826-46B4-90EF-1D018AF43EAD}"/>
          </ac:spMkLst>
        </pc:spChg>
        <pc:spChg chg="del">
          <ac:chgData name="Parth P Ved" userId="4b0ec5b8-7ef9-4dc0-8d36-4c3446bef2c8" providerId="ADAL" clId="{66725D04-7957-4E8B-8251-911A7F80CE25}" dt="2023-09-09T08:27:56.064" v="2302" actId="478"/>
          <ac:spMkLst>
            <pc:docMk/>
            <pc:sldMk cId="714134963" sldId="2147374921"/>
            <ac:spMk id="166" creationId="{F81502B0-1DDE-4E1F-9A57-C312DF3F7A3B}"/>
          </ac:spMkLst>
        </pc:spChg>
        <pc:spChg chg="del">
          <ac:chgData name="Parth P Ved" userId="4b0ec5b8-7ef9-4dc0-8d36-4c3446bef2c8" providerId="ADAL" clId="{66725D04-7957-4E8B-8251-911A7F80CE25}" dt="2023-09-09T08:27:56.064" v="2302" actId="478"/>
          <ac:spMkLst>
            <pc:docMk/>
            <pc:sldMk cId="714134963" sldId="2147374921"/>
            <ac:spMk id="168" creationId="{B6660645-CA5F-47E3-9F81-ECD6A9387304}"/>
          </ac:spMkLst>
        </pc:spChg>
        <pc:spChg chg="del">
          <ac:chgData name="Parth P Ved" userId="4b0ec5b8-7ef9-4dc0-8d36-4c3446bef2c8" providerId="ADAL" clId="{66725D04-7957-4E8B-8251-911A7F80CE25}" dt="2023-09-09T08:27:56.064" v="2302" actId="478"/>
          <ac:spMkLst>
            <pc:docMk/>
            <pc:sldMk cId="714134963" sldId="2147374921"/>
            <ac:spMk id="169" creationId="{26E60354-A748-45C2-B536-6ED48D323D57}"/>
          </ac:spMkLst>
        </pc:spChg>
        <pc:spChg chg="del">
          <ac:chgData name="Parth P Ved" userId="4b0ec5b8-7ef9-4dc0-8d36-4c3446bef2c8" providerId="ADAL" clId="{66725D04-7957-4E8B-8251-911A7F80CE25}" dt="2023-09-09T08:27:56.064" v="2302" actId="478"/>
          <ac:spMkLst>
            <pc:docMk/>
            <pc:sldMk cId="714134963" sldId="2147374921"/>
            <ac:spMk id="170" creationId="{07ACFDB4-4E77-49B3-8E88-D2B399673A30}"/>
          </ac:spMkLst>
        </pc:spChg>
        <pc:spChg chg="del">
          <ac:chgData name="Parth P Ved" userId="4b0ec5b8-7ef9-4dc0-8d36-4c3446bef2c8" providerId="ADAL" clId="{66725D04-7957-4E8B-8251-911A7F80CE25}" dt="2023-09-09T08:27:56.064" v="2302" actId="478"/>
          <ac:spMkLst>
            <pc:docMk/>
            <pc:sldMk cId="714134963" sldId="2147374921"/>
            <ac:spMk id="171" creationId="{C88E21BC-590D-4907-A642-9A0FF869DAA5}"/>
          </ac:spMkLst>
        </pc:spChg>
        <pc:spChg chg="del">
          <ac:chgData name="Parth P Ved" userId="4b0ec5b8-7ef9-4dc0-8d36-4c3446bef2c8" providerId="ADAL" clId="{66725D04-7957-4E8B-8251-911A7F80CE25}" dt="2023-09-09T08:27:56.064" v="2302" actId="478"/>
          <ac:spMkLst>
            <pc:docMk/>
            <pc:sldMk cId="714134963" sldId="2147374921"/>
            <ac:spMk id="172" creationId="{4D1C3E16-2D95-47C8-9D16-3F75B10755FA}"/>
          </ac:spMkLst>
        </pc:spChg>
        <pc:spChg chg="del">
          <ac:chgData name="Parth P Ved" userId="4b0ec5b8-7ef9-4dc0-8d36-4c3446bef2c8" providerId="ADAL" clId="{66725D04-7957-4E8B-8251-911A7F80CE25}" dt="2023-09-09T08:27:56.064" v="2302" actId="478"/>
          <ac:spMkLst>
            <pc:docMk/>
            <pc:sldMk cId="714134963" sldId="2147374921"/>
            <ac:spMk id="173" creationId="{1CA0C9F9-2C77-431E-A263-DE29692692A9}"/>
          </ac:spMkLst>
        </pc:spChg>
        <pc:spChg chg="del">
          <ac:chgData name="Parth P Ved" userId="4b0ec5b8-7ef9-4dc0-8d36-4c3446bef2c8" providerId="ADAL" clId="{66725D04-7957-4E8B-8251-911A7F80CE25}" dt="2023-09-09T08:27:56.064" v="2302" actId="478"/>
          <ac:spMkLst>
            <pc:docMk/>
            <pc:sldMk cId="714134963" sldId="2147374921"/>
            <ac:spMk id="174" creationId="{4A43767E-D2A1-4FF0-A36E-5917968F4B3D}"/>
          </ac:spMkLst>
        </pc:spChg>
        <pc:spChg chg="del">
          <ac:chgData name="Parth P Ved" userId="4b0ec5b8-7ef9-4dc0-8d36-4c3446bef2c8" providerId="ADAL" clId="{66725D04-7957-4E8B-8251-911A7F80CE25}" dt="2023-09-09T08:27:56.064" v="2302" actId="478"/>
          <ac:spMkLst>
            <pc:docMk/>
            <pc:sldMk cId="714134963" sldId="2147374921"/>
            <ac:spMk id="175" creationId="{FC85EA84-EF9C-4AF5-B551-A11B690AC9A1}"/>
          </ac:spMkLst>
        </pc:spChg>
        <pc:grpChg chg="add del mod">
          <ac:chgData name="Parth P Ved" userId="4b0ec5b8-7ef9-4dc0-8d36-4c3446bef2c8" providerId="ADAL" clId="{66725D04-7957-4E8B-8251-911A7F80CE25}" dt="2023-09-09T08:28:14.568" v="2307" actId="165"/>
          <ac:grpSpMkLst>
            <pc:docMk/>
            <pc:sldMk cId="714134963" sldId="2147374921"/>
            <ac:grpSpMk id="2" creationId="{6F0894E5-B4D4-40AA-DF98-EEC027D64502}"/>
          </ac:grpSpMkLst>
        </pc:grpChg>
        <pc:grpChg chg="mod topLvl">
          <ac:chgData name="Parth P Ved" userId="4b0ec5b8-7ef9-4dc0-8d36-4c3446bef2c8" providerId="ADAL" clId="{66725D04-7957-4E8B-8251-911A7F80CE25}" dt="2023-09-09T08:28:14.568" v="2307" actId="165"/>
          <ac:grpSpMkLst>
            <pc:docMk/>
            <pc:sldMk cId="714134963" sldId="2147374921"/>
            <ac:grpSpMk id="5" creationId="{B8AA5E8D-1C06-9511-975B-5AD92CAAFF7D}"/>
          </ac:grpSpMkLst>
        </pc:grpChg>
        <pc:cxnChg chg="del">
          <ac:chgData name="Parth P Ved" userId="4b0ec5b8-7ef9-4dc0-8d36-4c3446bef2c8" providerId="ADAL" clId="{66725D04-7957-4E8B-8251-911A7F80CE25}" dt="2023-09-09T08:27:56.064" v="2302" actId="478"/>
          <ac:cxnSpMkLst>
            <pc:docMk/>
            <pc:sldMk cId="714134963" sldId="2147374921"/>
            <ac:cxnSpMk id="129" creationId="{860E2D61-0EA3-4E55-A9EB-49FE787C2474}"/>
          </ac:cxnSpMkLst>
        </pc:cxnChg>
        <pc:cxnChg chg="del">
          <ac:chgData name="Parth P Ved" userId="4b0ec5b8-7ef9-4dc0-8d36-4c3446bef2c8" providerId="ADAL" clId="{66725D04-7957-4E8B-8251-911A7F80CE25}" dt="2023-09-09T08:27:56.064" v="2302" actId="478"/>
          <ac:cxnSpMkLst>
            <pc:docMk/>
            <pc:sldMk cId="714134963" sldId="2147374921"/>
            <ac:cxnSpMk id="157" creationId="{AF3D0583-A55D-4F38-A0A9-C54BC9ABB416}"/>
          </ac:cxnSpMkLst>
        </pc:cxnChg>
        <pc:cxnChg chg="del">
          <ac:chgData name="Parth P Ved" userId="4b0ec5b8-7ef9-4dc0-8d36-4c3446bef2c8" providerId="ADAL" clId="{66725D04-7957-4E8B-8251-911A7F80CE25}" dt="2023-09-09T08:27:56.064" v="2302" actId="478"/>
          <ac:cxnSpMkLst>
            <pc:docMk/>
            <pc:sldMk cId="714134963" sldId="2147374921"/>
            <ac:cxnSpMk id="162" creationId="{B6C0F5E8-FEB9-43FF-8505-8B3A0E9F85A4}"/>
          </ac:cxnSpMkLst>
        </pc:cxnChg>
        <pc:cxnChg chg="del">
          <ac:chgData name="Parth P Ved" userId="4b0ec5b8-7ef9-4dc0-8d36-4c3446bef2c8" providerId="ADAL" clId="{66725D04-7957-4E8B-8251-911A7F80CE25}" dt="2023-09-09T08:27:56.064" v="2302" actId="478"/>
          <ac:cxnSpMkLst>
            <pc:docMk/>
            <pc:sldMk cId="714134963" sldId="2147374921"/>
            <ac:cxnSpMk id="167" creationId="{D450A104-1F32-443B-86F9-A38BF062C56C}"/>
          </ac:cxnSpMkLst>
        </pc:cxnChg>
      </pc:sldChg>
      <pc:sldChg chg="addSp delSp modSp add mod">
        <pc:chgData name="Parth P Ved" userId="4b0ec5b8-7ef9-4dc0-8d36-4c3446bef2c8" providerId="ADAL" clId="{66725D04-7957-4E8B-8251-911A7F80CE25}" dt="2023-09-09T08:30:36.865" v="2354" actId="208"/>
        <pc:sldMkLst>
          <pc:docMk/>
          <pc:sldMk cId="3472941978" sldId="2147374922"/>
        </pc:sldMkLst>
        <pc:spChg chg="add del mod">
          <ac:chgData name="Parth P Ved" userId="4b0ec5b8-7ef9-4dc0-8d36-4c3446bef2c8" providerId="ADAL" clId="{66725D04-7957-4E8B-8251-911A7F80CE25}" dt="2023-09-09T08:29:49.321" v="2342"/>
          <ac:spMkLst>
            <pc:docMk/>
            <pc:sldMk cId="3472941978" sldId="2147374922"/>
            <ac:spMk id="2" creationId="{BA188817-CB19-CD1D-F282-7B4C6ECBDEF3}"/>
          </ac:spMkLst>
        </pc:spChg>
        <pc:spChg chg="mod">
          <ac:chgData name="Parth P Ved" userId="4b0ec5b8-7ef9-4dc0-8d36-4c3446bef2c8" providerId="ADAL" clId="{66725D04-7957-4E8B-8251-911A7F80CE25}" dt="2023-09-09T08:29:37.983" v="2339"/>
          <ac:spMkLst>
            <pc:docMk/>
            <pc:sldMk cId="3472941978" sldId="2147374922"/>
            <ac:spMk id="3" creationId="{C994091E-296F-FE4D-766C-89802AE41C39}"/>
          </ac:spMkLst>
        </pc:spChg>
        <pc:spChg chg="del">
          <ac:chgData name="Parth P Ved" userId="4b0ec5b8-7ef9-4dc0-8d36-4c3446bef2c8" providerId="ADAL" clId="{66725D04-7957-4E8B-8251-911A7F80CE25}" dt="2023-09-09T08:29:46.154" v="2340" actId="478"/>
          <ac:spMkLst>
            <pc:docMk/>
            <pc:sldMk cId="3472941978" sldId="2147374922"/>
            <ac:spMk id="4" creationId="{B0C1871F-D2B5-C876-39A3-B628F8E052CC}"/>
          </ac:spMkLst>
        </pc:spChg>
        <pc:spChg chg="del">
          <ac:chgData name="Parth P Ved" userId="4b0ec5b8-7ef9-4dc0-8d36-4c3446bef2c8" providerId="ADAL" clId="{66725D04-7957-4E8B-8251-911A7F80CE25}" dt="2023-09-09T08:29:46.154" v="2340" actId="478"/>
          <ac:spMkLst>
            <pc:docMk/>
            <pc:sldMk cId="3472941978" sldId="2147374922"/>
            <ac:spMk id="6" creationId="{62361F20-1A66-405D-D12E-9D2FFD52790A}"/>
          </ac:spMkLst>
        </pc:spChg>
        <pc:spChg chg="del">
          <ac:chgData name="Parth P Ved" userId="4b0ec5b8-7ef9-4dc0-8d36-4c3446bef2c8" providerId="ADAL" clId="{66725D04-7957-4E8B-8251-911A7F80CE25}" dt="2023-09-09T08:29:46.154" v="2340" actId="478"/>
          <ac:spMkLst>
            <pc:docMk/>
            <pc:sldMk cId="3472941978" sldId="2147374922"/>
            <ac:spMk id="7" creationId="{89084D44-4262-ABFB-8E4D-B364EABA1187}"/>
          </ac:spMkLst>
        </pc:spChg>
        <pc:spChg chg="del">
          <ac:chgData name="Parth P Ved" userId="4b0ec5b8-7ef9-4dc0-8d36-4c3446bef2c8" providerId="ADAL" clId="{66725D04-7957-4E8B-8251-911A7F80CE25}" dt="2023-09-09T08:29:46.154" v="2340" actId="478"/>
          <ac:spMkLst>
            <pc:docMk/>
            <pc:sldMk cId="3472941978" sldId="2147374922"/>
            <ac:spMk id="8" creationId="{5D807D74-3062-E10E-A795-FE70D01723C2}"/>
          </ac:spMkLst>
        </pc:spChg>
        <pc:spChg chg="del">
          <ac:chgData name="Parth P Ved" userId="4b0ec5b8-7ef9-4dc0-8d36-4c3446bef2c8" providerId="ADAL" clId="{66725D04-7957-4E8B-8251-911A7F80CE25}" dt="2023-09-09T08:29:46.154" v="2340" actId="478"/>
          <ac:spMkLst>
            <pc:docMk/>
            <pc:sldMk cId="3472941978" sldId="2147374922"/>
            <ac:spMk id="9" creationId="{B63EA141-6703-A5C4-7F59-1ED0B5A58268}"/>
          </ac:spMkLst>
        </pc:spChg>
        <pc:spChg chg="del">
          <ac:chgData name="Parth P Ved" userId="4b0ec5b8-7ef9-4dc0-8d36-4c3446bef2c8" providerId="ADAL" clId="{66725D04-7957-4E8B-8251-911A7F80CE25}" dt="2023-09-09T08:29:46.154" v="2340" actId="478"/>
          <ac:spMkLst>
            <pc:docMk/>
            <pc:sldMk cId="3472941978" sldId="2147374922"/>
            <ac:spMk id="10" creationId="{A202ACA0-1E45-84C0-1C12-07B6CAF7EE3A}"/>
          </ac:spMkLst>
        </pc:spChg>
        <pc:spChg chg="del">
          <ac:chgData name="Parth P Ved" userId="4b0ec5b8-7ef9-4dc0-8d36-4c3446bef2c8" providerId="ADAL" clId="{66725D04-7957-4E8B-8251-911A7F80CE25}" dt="2023-09-09T08:29:46.154" v="2340" actId="478"/>
          <ac:spMkLst>
            <pc:docMk/>
            <pc:sldMk cId="3472941978" sldId="2147374922"/>
            <ac:spMk id="11" creationId="{CF6F89F3-9B40-CAAC-D6E5-F02BA121455D}"/>
          </ac:spMkLst>
        </pc:spChg>
        <pc:spChg chg="del">
          <ac:chgData name="Parth P Ved" userId="4b0ec5b8-7ef9-4dc0-8d36-4c3446bef2c8" providerId="ADAL" clId="{66725D04-7957-4E8B-8251-911A7F80CE25}" dt="2023-09-09T08:29:46.154" v="2340" actId="478"/>
          <ac:spMkLst>
            <pc:docMk/>
            <pc:sldMk cId="3472941978" sldId="2147374922"/>
            <ac:spMk id="12" creationId="{6EF6E4F3-12C2-AA67-A23B-48BC501E864D}"/>
          </ac:spMkLst>
        </pc:spChg>
        <pc:spChg chg="del">
          <ac:chgData name="Parth P Ved" userId="4b0ec5b8-7ef9-4dc0-8d36-4c3446bef2c8" providerId="ADAL" clId="{66725D04-7957-4E8B-8251-911A7F80CE25}" dt="2023-09-09T08:29:46.154" v="2340" actId="478"/>
          <ac:spMkLst>
            <pc:docMk/>
            <pc:sldMk cId="3472941978" sldId="2147374922"/>
            <ac:spMk id="13" creationId="{C1F168C0-0554-087C-0F49-8D13CB314CD6}"/>
          </ac:spMkLst>
        </pc:spChg>
        <pc:spChg chg="del">
          <ac:chgData name="Parth P Ved" userId="4b0ec5b8-7ef9-4dc0-8d36-4c3446bef2c8" providerId="ADAL" clId="{66725D04-7957-4E8B-8251-911A7F80CE25}" dt="2023-09-09T08:29:46.154" v="2340" actId="478"/>
          <ac:spMkLst>
            <pc:docMk/>
            <pc:sldMk cId="3472941978" sldId="2147374922"/>
            <ac:spMk id="14" creationId="{20D9061C-4568-8D6A-2518-D00B7954E208}"/>
          </ac:spMkLst>
        </pc:spChg>
        <pc:spChg chg="del">
          <ac:chgData name="Parth P Ved" userId="4b0ec5b8-7ef9-4dc0-8d36-4c3446bef2c8" providerId="ADAL" clId="{66725D04-7957-4E8B-8251-911A7F80CE25}" dt="2023-09-09T08:29:46.154" v="2340" actId="478"/>
          <ac:spMkLst>
            <pc:docMk/>
            <pc:sldMk cId="3472941978" sldId="2147374922"/>
            <ac:spMk id="15" creationId="{C58BA468-8FD7-2FDD-B6D5-A5120B3D78F6}"/>
          </ac:spMkLst>
        </pc:spChg>
        <pc:spChg chg="del">
          <ac:chgData name="Parth P Ved" userId="4b0ec5b8-7ef9-4dc0-8d36-4c3446bef2c8" providerId="ADAL" clId="{66725D04-7957-4E8B-8251-911A7F80CE25}" dt="2023-09-09T08:29:46.154" v="2340" actId="478"/>
          <ac:spMkLst>
            <pc:docMk/>
            <pc:sldMk cId="3472941978" sldId="2147374922"/>
            <ac:spMk id="16" creationId="{8B9396D6-5914-3E72-074D-E07F35B60275}"/>
          </ac:spMkLst>
        </pc:spChg>
        <pc:spChg chg="del">
          <ac:chgData name="Parth P Ved" userId="4b0ec5b8-7ef9-4dc0-8d36-4c3446bef2c8" providerId="ADAL" clId="{66725D04-7957-4E8B-8251-911A7F80CE25}" dt="2023-09-09T08:29:46.154" v="2340" actId="478"/>
          <ac:spMkLst>
            <pc:docMk/>
            <pc:sldMk cId="3472941978" sldId="2147374922"/>
            <ac:spMk id="17" creationId="{27765CFC-02CD-ABDF-1C3D-926716DB9104}"/>
          </ac:spMkLst>
        </pc:spChg>
        <pc:spChg chg="add del mod">
          <ac:chgData name="Parth P Ved" userId="4b0ec5b8-7ef9-4dc0-8d36-4c3446bef2c8" providerId="ADAL" clId="{66725D04-7957-4E8B-8251-911A7F80CE25}" dt="2023-09-09T08:29:49.321" v="2342"/>
          <ac:spMkLst>
            <pc:docMk/>
            <pc:sldMk cId="3472941978" sldId="2147374922"/>
            <ac:spMk id="25" creationId="{C0E654F3-7EB1-A271-A58B-A0251ECC4162}"/>
          </ac:spMkLst>
        </pc:spChg>
        <pc:spChg chg="add del mod">
          <ac:chgData name="Parth P Ved" userId="4b0ec5b8-7ef9-4dc0-8d36-4c3446bef2c8" providerId="ADAL" clId="{66725D04-7957-4E8B-8251-911A7F80CE25}" dt="2023-09-09T08:29:49.321" v="2342"/>
          <ac:spMkLst>
            <pc:docMk/>
            <pc:sldMk cId="3472941978" sldId="2147374922"/>
            <ac:spMk id="26" creationId="{5F015B85-D6CB-1FE0-BA71-6D4FE18C3A79}"/>
          </ac:spMkLst>
        </pc:spChg>
        <pc:spChg chg="add del mod">
          <ac:chgData name="Parth P Ved" userId="4b0ec5b8-7ef9-4dc0-8d36-4c3446bef2c8" providerId="ADAL" clId="{66725D04-7957-4E8B-8251-911A7F80CE25}" dt="2023-09-09T08:29:49.321" v="2342"/>
          <ac:spMkLst>
            <pc:docMk/>
            <pc:sldMk cId="3472941978" sldId="2147374922"/>
            <ac:spMk id="27" creationId="{A0E6EDA3-9394-1E0E-DEE3-4B09B3910E5E}"/>
          </ac:spMkLst>
        </pc:spChg>
        <pc:spChg chg="add del mod">
          <ac:chgData name="Parth P Ved" userId="4b0ec5b8-7ef9-4dc0-8d36-4c3446bef2c8" providerId="ADAL" clId="{66725D04-7957-4E8B-8251-911A7F80CE25}" dt="2023-09-09T08:29:49.321" v="2342"/>
          <ac:spMkLst>
            <pc:docMk/>
            <pc:sldMk cId="3472941978" sldId="2147374922"/>
            <ac:spMk id="28" creationId="{4E3C725B-C74F-AB8C-79D6-8071D8434D1A}"/>
          </ac:spMkLst>
        </pc:spChg>
        <pc:spChg chg="add del mod">
          <ac:chgData name="Parth P Ved" userId="4b0ec5b8-7ef9-4dc0-8d36-4c3446bef2c8" providerId="ADAL" clId="{66725D04-7957-4E8B-8251-911A7F80CE25}" dt="2023-09-09T08:29:49.321" v="2342"/>
          <ac:spMkLst>
            <pc:docMk/>
            <pc:sldMk cId="3472941978" sldId="2147374922"/>
            <ac:spMk id="29" creationId="{FEB62B7F-9FA4-F02F-4E26-ED9F874D988F}"/>
          </ac:spMkLst>
        </pc:spChg>
        <pc:spChg chg="add del mod">
          <ac:chgData name="Parth P Ved" userId="4b0ec5b8-7ef9-4dc0-8d36-4c3446bef2c8" providerId="ADAL" clId="{66725D04-7957-4E8B-8251-911A7F80CE25}" dt="2023-09-09T08:29:49.321" v="2342"/>
          <ac:spMkLst>
            <pc:docMk/>
            <pc:sldMk cId="3472941978" sldId="2147374922"/>
            <ac:spMk id="30" creationId="{35788EB7-0A22-0A50-F79E-9AB72609F096}"/>
          </ac:spMkLst>
        </pc:spChg>
        <pc:spChg chg="add del mod">
          <ac:chgData name="Parth P Ved" userId="4b0ec5b8-7ef9-4dc0-8d36-4c3446bef2c8" providerId="ADAL" clId="{66725D04-7957-4E8B-8251-911A7F80CE25}" dt="2023-09-09T08:29:49.321" v="2342"/>
          <ac:spMkLst>
            <pc:docMk/>
            <pc:sldMk cId="3472941978" sldId="2147374922"/>
            <ac:spMk id="31" creationId="{4CA8CF3F-B078-E366-EDE7-ED2E1A02F6FD}"/>
          </ac:spMkLst>
        </pc:spChg>
        <pc:spChg chg="add del mod">
          <ac:chgData name="Parth P Ved" userId="4b0ec5b8-7ef9-4dc0-8d36-4c3446bef2c8" providerId="ADAL" clId="{66725D04-7957-4E8B-8251-911A7F80CE25}" dt="2023-09-09T08:29:49.321" v="2342"/>
          <ac:spMkLst>
            <pc:docMk/>
            <pc:sldMk cId="3472941978" sldId="2147374922"/>
            <ac:spMk id="32" creationId="{27329CDF-C6B6-AC4D-D385-B04232987914}"/>
          </ac:spMkLst>
        </pc:spChg>
        <pc:spChg chg="add del mod">
          <ac:chgData name="Parth P Ved" userId="4b0ec5b8-7ef9-4dc0-8d36-4c3446bef2c8" providerId="ADAL" clId="{66725D04-7957-4E8B-8251-911A7F80CE25}" dt="2023-09-09T08:29:49.321" v="2342"/>
          <ac:spMkLst>
            <pc:docMk/>
            <pc:sldMk cId="3472941978" sldId="2147374922"/>
            <ac:spMk id="33" creationId="{1B7AF28C-C52A-191C-7F51-2EE9547FAB1D}"/>
          </ac:spMkLst>
        </pc:spChg>
        <pc:spChg chg="add del mod">
          <ac:chgData name="Parth P Ved" userId="4b0ec5b8-7ef9-4dc0-8d36-4c3446bef2c8" providerId="ADAL" clId="{66725D04-7957-4E8B-8251-911A7F80CE25}" dt="2023-09-09T08:29:49.321" v="2342"/>
          <ac:spMkLst>
            <pc:docMk/>
            <pc:sldMk cId="3472941978" sldId="2147374922"/>
            <ac:spMk id="34" creationId="{84D41075-5DA2-D0E0-E093-7711088E1DB5}"/>
          </ac:spMkLst>
        </pc:spChg>
        <pc:spChg chg="add del mod">
          <ac:chgData name="Parth P Ved" userId="4b0ec5b8-7ef9-4dc0-8d36-4c3446bef2c8" providerId="ADAL" clId="{66725D04-7957-4E8B-8251-911A7F80CE25}" dt="2023-09-09T08:29:49.321" v="2342"/>
          <ac:spMkLst>
            <pc:docMk/>
            <pc:sldMk cId="3472941978" sldId="2147374922"/>
            <ac:spMk id="35" creationId="{F55B93F6-CD7A-2460-90C5-B5529737D7FA}"/>
          </ac:spMkLst>
        </pc:spChg>
        <pc:spChg chg="add del mod">
          <ac:chgData name="Parth P Ved" userId="4b0ec5b8-7ef9-4dc0-8d36-4c3446bef2c8" providerId="ADAL" clId="{66725D04-7957-4E8B-8251-911A7F80CE25}" dt="2023-09-09T08:29:49.321" v="2342"/>
          <ac:spMkLst>
            <pc:docMk/>
            <pc:sldMk cId="3472941978" sldId="2147374922"/>
            <ac:spMk id="36" creationId="{C10C88CA-4A1A-7ABE-74D7-B94A72F98096}"/>
          </ac:spMkLst>
        </pc:spChg>
        <pc:spChg chg="add del mod">
          <ac:chgData name="Parth P Ved" userId="4b0ec5b8-7ef9-4dc0-8d36-4c3446bef2c8" providerId="ADAL" clId="{66725D04-7957-4E8B-8251-911A7F80CE25}" dt="2023-09-09T08:29:49.321" v="2342"/>
          <ac:spMkLst>
            <pc:docMk/>
            <pc:sldMk cId="3472941978" sldId="2147374922"/>
            <ac:spMk id="37" creationId="{F851781C-873F-AA76-62A1-DD0D821BA098}"/>
          </ac:spMkLst>
        </pc:spChg>
        <pc:spChg chg="add del mod">
          <ac:chgData name="Parth P Ved" userId="4b0ec5b8-7ef9-4dc0-8d36-4c3446bef2c8" providerId="ADAL" clId="{66725D04-7957-4E8B-8251-911A7F80CE25}" dt="2023-09-09T08:29:49.321" v="2342"/>
          <ac:spMkLst>
            <pc:docMk/>
            <pc:sldMk cId="3472941978" sldId="2147374922"/>
            <ac:spMk id="38" creationId="{3DABD8D5-1B44-C14A-A237-419C9C9D4DA0}"/>
          </ac:spMkLst>
        </pc:spChg>
        <pc:spChg chg="add del mod">
          <ac:chgData name="Parth P Ved" userId="4b0ec5b8-7ef9-4dc0-8d36-4c3446bef2c8" providerId="ADAL" clId="{66725D04-7957-4E8B-8251-911A7F80CE25}" dt="2023-09-09T08:29:49.321" v="2342"/>
          <ac:spMkLst>
            <pc:docMk/>
            <pc:sldMk cId="3472941978" sldId="2147374922"/>
            <ac:spMk id="39" creationId="{E701D2D7-78DB-08A5-3180-8EDD07480280}"/>
          </ac:spMkLst>
        </pc:spChg>
        <pc:spChg chg="mod">
          <ac:chgData name="Parth P Ved" userId="4b0ec5b8-7ef9-4dc0-8d36-4c3446bef2c8" providerId="ADAL" clId="{66725D04-7957-4E8B-8251-911A7F80CE25}" dt="2023-09-09T08:29:53.148" v="2343"/>
          <ac:spMkLst>
            <pc:docMk/>
            <pc:sldMk cId="3472941978" sldId="2147374922"/>
            <ac:spMk id="45" creationId="{E65E9C5A-F50D-58AF-1A66-C0768295967D}"/>
          </ac:spMkLst>
        </pc:spChg>
        <pc:spChg chg="mod">
          <ac:chgData name="Parth P Ved" userId="4b0ec5b8-7ef9-4dc0-8d36-4c3446bef2c8" providerId="ADAL" clId="{66725D04-7957-4E8B-8251-911A7F80CE25}" dt="2023-09-09T08:29:53.148" v="2343"/>
          <ac:spMkLst>
            <pc:docMk/>
            <pc:sldMk cId="3472941978" sldId="2147374922"/>
            <ac:spMk id="46" creationId="{0355F7D2-C097-D80E-2A6D-C1550F597D73}"/>
          </ac:spMkLst>
        </pc:spChg>
        <pc:spChg chg="mod">
          <ac:chgData name="Parth P Ved" userId="4b0ec5b8-7ef9-4dc0-8d36-4c3446bef2c8" providerId="ADAL" clId="{66725D04-7957-4E8B-8251-911A7F80CE25}" dt="2023-09-09T08:29:53.148" v="2343"/>
          <ac:spMkLst>
            <pc:docMk/>
            <pc:sldMk cId="3472941978" sldId="2147374922"/>
            <ac:spMk id="47" creationId="{59234949-B058-4BB4-E4A9-941B3F739FC6}"/>
          </ac:spMkLst>
        </pc:spChg>
        <pc:spChg chg="mod">
          <ac:chgData name="Parth P Ved" userId="4b0ec5b8-7ef9-4dc0-8d36-4c3446bef2c8" providerId="ADAL" clId="{66725D04-7957-4E8B-8251-911A7F80CE25}" dt="2023-09-09T08:29:53.148" v="2343"/>
          <ac:spMkLst>
            <pc:docMk/>
            <pc:sldMk cId="3472941978" sldId="2147374922"/>
            <ac:spMk id="48" creationId="{F4F9D6F3-CA37-14E6-780C-089C26081AE4}"/>
          </ac:spMkLst>
        </pc:spChg>
        <pc:spChg chg="mod">
          <ac:chgData name="Parth P Ved" userId="4b0ec5b8-7ef9-4dc0-8d36-4c3446bef2c8" providerId="ADAL" clId="{66725D04-7957-4E8B-8251-911A7F80CE25}" dt="2023-09-09T08:29:53.148" v="2343"/>
          <ac:spMkLst>
            <pc:docMk/>
            <pc:sldMk cId="3472941978" sldId="2147374922"/>
            <ac:spMk id="49" creationId="{A27C2516-9978-C0A7-9F61-91A292BEBBB5}"/>
          </ac:spMkLst>
        </pc:spChg>
        <pc:spChg chg="mod">
          <ac:chgData name="Parth P Ved" userId="4b0ec5b8-7ef9-4dc0-8d36-4c3446bef2c8" providerId="ADAL" clId="{66725D04-7957-4E8B-8251-911A7F80CE25}" dt="2023-09-09T08:29:53.148" v="2343"/>
          <ac:spMkLst>
            <pc:docMk/>
            <pc:sldMk cId="3472941978" sldId="2147374922"/>
            <ac:spMk id="50" creationId="{FDF4344A-A6B3-A531-53EA-8907879C8AC0}"/>
          </ac:spMkLst>
        </pc:spChg>
        <pc:spChg chg="mod">
          <ac:chgData name="Parth P Ved" userId="4b0ec5b8-7ef9-4dc0-8d36-4c3446bef2c8" providerId="ADAL" clId="{66725D04-7957-4E8B-8251-911A7F80CE25}" dt="2023-09-09T08:29:53.148" v="2343"/>
          <ac:spMkLst>
            <pc:docMk/>
            <pc:sldMk cId="3472941978" sldId="2147374922"/>
            <ac:spMk id="51" creationId="{0088B209-A550-1286-182C-9C585BF64D3A}"/>
          </ac:spMkLst>
        </pc:spChg>
        <pc:spChg chg="mod">
          <ac:chgData name="Parth P Ved" userId="4b0ec5b8-7ef9-4dc0-8d36-4c3446bef2c8" providerId="ADAL" clId="{66725D04-7957-4E8B-8251-911A7F80CE25}" dt="2023-09-09T08:29:53.148" v="2343"/>
          <ac:spMkLst>
            <pc:docMk/>
            <pc:sldMk cId="3472941978" sldId="2147374922"/>
            <ac:spMk id="52" creationId="{78452CB4-0E41-21D1-C062-FD022F88B396}"/>
          </ac:spMkLst>
        </pc:spChg>
        <pc:spChg chg="mod">
          <ac:chgData name="Parth P Ved" userId="4b0ec5b8-7ef9-4dc0-8d36-4c3446bef2c8" providerId="ADAL" clId="{66725D04-7957-4E8B-8251-911A7F80CE25}" dt="2023-09-09T08:29:53.148" v="2343"/>
          <ac:spMkLst>
            <pc:docMk/>
            <pc:sldMk cId="3472941978" sldId="2147374922"/>
            <ac:spMk id="53" creationId="{FEA6621C-0C20-73C0-38D2-13B6C445B5FB}"/>
          </ac:spMkLst>
        </pc:spChg>
        <pc:spChg chg="mod">
          <ac:chgData name="Parth P Ved" userId="4b0ec5b8-7ef9-4dc0-8d36-4c3446bef2c8" providerId="ADAL" clId="{66725D04-7957-4E8B-8251-911A7F80CE25}" dt="2023-09-09T08:29:53.148" v="2343"/>
          <ac:spMkLst>
            <pc:docMk/>
            <pc:sldMk cId="3472941978" sldId="2147374922"/>
            <ac:spMk id="54" creationId="{F32CA1AC-C5D8-3E95-F18E-2AD72E73840D}"/>
          </ac:spMkLst>
        </pc:spChg>
        <pc:spChg chg="mod">
          <ac:chgData name="Parth P Ved" userId="4b0ec5b8-7ef9-4dc0-8d36-4c3446bef2c8" providerId="ADAL" clId="{66725D04-7957-4E8B-8251-911A7F80CE25}" dt="2023-09-09T08:29:53.148" v="2343"/>
          <ac:spMkLst>
            <pc:docMk/>
            <pc:sldMk cId="3472941978" sldId="2147374922"/>
            <ac:spMk id="55" creationId="{557FC249-B259-66D6-D1D8-07055ED2A9A7}"/>
          </ac:spMkLst>
        </pc:spChg>
        <pc:spChg chg="mod">
          <ac:chgData name="Parth P Ved" userId="4b0ec5b8-7ef9-4dc0-8d36-4c3446bef2c8" providerId="ADAL" clId="{66725D04-7957-4E8B-8251-911A7F80CE25}" dt="2023-09-09T08:29:53.148" v="2343"/>
          <ac:spMkLst>
            <pc:docMk/>
            <pc:sldMk cId="3472941978" sldId="2147374922"/>
            <ac:spMk id="56" creationId="{4782FCF6-6484-F613-6DBE-8838DAF5624D}"/>
          </ac:spMkLst>
        </pc:spChg>
        <pc:spChg chg="mod">
          <ac:chgData name="Parth P Ved" userId="4b0ec5b8-7ef9-4dc0-8d36-4c3446bef2c8" providerId="ADAL" clId="{66725D04-7957-4E8B-8251-911A7F80CE25}" dt="2023-09-09T08:29:53.148" v="2343"/>
          <ac:spMkLst>
            <pc:docMk/>
            <pc:sldMk cId="3472941978" sldId="2147374922"/>
            <ac:spMk id="57" creationId="{E73D8183-B2D1-6D91-D81E-DB422FC54691}"/>
          </ac:spMkLst>
        </pc:spChg>
        <pc:spChg chg="mod">
          <ac:chgData name="Parth P Ved" userId="4b0ec5b8-7ef9-4dc0-8d36-4c3446bef2c8" providerId="ADAL" clId="{66725D04-7957-4E8B-8251-911A7F80CE25}" dt="2023-09-09T08:29:53.148" v="2343"/>
          <ac:spMkLst>
            <pc:docMk/>
            <pc:sldMk cId="3472941978" sldId="2147374922"/>
            <ac:spMk id="58" creationId="{04F11146-1676-0880-208C-96584079D835}"/>
          </ac:spMkLst>
        </pc:spChg>
        <pc:spChg chg="mod">
          <ac:chgData name="Parth P Ved" userId="4b0ec5b8-7ef9-4dc0-8d36-4c3446bef2c8" providerId="ADAL" clId="{66725D04-7957-4E8B-8251-911A7F80CE25}" dt="2023-09-09T08:29:53.148" v="2343"/>
          <ac:spMkLst>
            <pc:docMk/>
            <pc:sldMk cId="3472941978" sldId="2147374922"/>
            <ac:spMk id="59" creationId="{9F4A0CF6-52D3-463F-5F50-79ADB4353298}"/>
          </ac:spMkLst>
        </pc:spChg>
        <pc:spChg chg="mod">
          <ac:chgData name="Parth P Ved" userId="4b0ec5b8-7ef9-4dc0-8d36-4c3446bef2c8" providerId="ADAL" clId="{66725D04-7957-4E8B-8251-911A7F80CE25}" dt="2023-09-09T08:29:53.148" v="2343"/>
          <ac:spMkLst>
            <pc:docMk/>
            <pc:sldMk cId="3472941978" sldId="2147374922"/>
            <ac:spMk id="60" creationId="{327596C3-0E14-6AF2-2B07-0D4A013DD310}"/>
          </ac:spMkLst>
        </pc:spChg>
        <pc:spChg chg="mod topLvl">
          <ac:chgData name="Parth P Ved" userId="4b0ec5b8-7ef9-4dc0-8d36-4c3446bef2c8" providerId="ADAL" clId="{66725D04-7957-4E8B-8251-911A7F80CE25}" dt="2023-09-09T08:30:17.035" v="2352" actId="255"/>
          <ac:spMkLst>
            <pc:docMk/>
            <pc:sldMk cId="3472941978" sldId="2147374922"/>
            <ac:spMk id="66" creationId="{36011373-3816-5129-36A8-2DFBDE265C08}"/>
          </ac:spMkLst>
        </pc:spChg>
        <pc:spChg chg="mod topLvl">
          <ac:chgData name="Parth P Ved" userId="4b0ec5b8-7ef9-4dc0-8d36-4c3446bef2c8" providerId="ADAL" clId="{66725D04-7957-4E8B-8251-911A7F80CE25}" dt="2023-09-09T08:30:10.811" v="2351" actId="165"/>
          <ac:spMkLst>
            <pc:docMk/>
            <pc:sldMk cId="3472941978" sldId="2147374922"/>
            <ac:spMk id="67" creationId="{6976CFF6-A721-1C1B-BF5F-95CF60745DCE}"/>
          </ac:spMkLst>
        </pc:spChg>
        <pc:spChg chg="mod topLvl">
          <ac:chgData name="Parth P Ved" userId="4b0ec5b8-7ef9-4dc0-8d36-4c3446bef2c8" providerId="ADAL" clId="{66725D04-7957-4E8B-8251-911A7F80CE25}" dt="2023-09-09T08:30:10.811" v="2351" actId="165"/>
          <ac:spMkLst>
            <pc:docMk/>
            <pc:sldMk cId="3472941978" sldId="2147374922"/>
            <ac:spMk id="68" creationId="{DAA5E9AB-F77F-1904-235F-12E95A04A40C}"/>
          </ac:spMkLst>
        </pc:spChg>
        <pc:spChg chg="mod topLvl">
          <ac:chgData name="Parth P Ved" userId="4b0ec5b8-7ef9-4dc0-8d36-4c3446bef2c8" providerId="ADAL" clId="{66725D04-7957-4E8B-8251-911A7F80CE25}" dt="2023-09-09T08:30:10.811" v="2351" actId="165"/>
          <ac:spMkLst>
            <pc:docMk/>
            <pc:sldMk cId="3472941978" sldId="2147374922"/>
            <ac:spMk id="69" creationId="{6DB132B1-58BE-12DE-2ED3-2AA1BBB48662}"/>
          </ac:spMkLst>
        </pc:spChg>
        <pc:spChg chg="mod topLvl">
          <ac:chgData name="Parth P Ved" userId="4b0ec5b8-7ef9-4dc0-8d36-4c3446bef2c8" providerId="ADAL" clId="{66725D04-7957-4E8B-8251-911A7F80CE25}" dt="2023-09-09T08:30:10.811" v="2351" actId="165"/>
          <ac:spMkLst>
            <pc:docMk/>
            <pc:sldMk cId="3472941978" sldId="2147374922"/>
            <ac:spMk id="70" creationId="{64EE56D8-604B-146B-62CE-66BE839CAB33}"/>
          </ac:spMkLst>
        </pc:spChg>
        <pc:spChg chg="mod topLvl">
          <ac:chgData name="Parth P Ved" userId="4b0ec5b8-7ef9-4dc0-8d36-4c3446bef2c8" providerId="ADAL" clId="{66725D04-7957-4E8B-8251-911A7F80CE25}" dt="2023-09-09T08:30:10.811" v="2351" actId="165"/>
          <ac:spMkLst>
            <pc:docMk/>
            <pc:sldMk cId="3472941978" sldId="2147374922"/>
            <ac:spMk id="71" creationId="{D699F8EA-8B85-3294-85F2-EAFE5AF2E393}"/>
          </ac:spMkLst>
        </pc:spChg>
        <pc:spChg chg="mod topLvl">
          <ac:chgData name="Parth P Ved" userId="4b0ec5b8-7ef9-4dc0-8d36-4c3446bef2c8" providerId="ADAL" clId="{66725D04-7957-4E8B-8251-911A7F80CE25}" dt="2023-09-09T08:30:10.811" v="2351" actId="165"/>
          <ac:spMkLst>
            <pc:docMk/>
            <pc:sldMk cId="3472941978" sldId="2147374922"/>
            <ac:spMk id="72" creationId="{AE427222-274D-3C5A-E989-3F8F32838331}"/>
          </ac:spMkLst>
        </pc:spChg>
        <pc:spChg chg="mod topLvl">
          <ac:chgData name="Parth P Ved" userId="4b0ec5b8-7ef9-4dc0-8d36-4c3446bef2c8" providerId="ADAL" clId="{66725D04-7957-4E8B-8251-911A7F80CE25}" dt="2023-09-09T08:30:10.811" v="2351" actId="165"/>
          <ac:spMkLst>
            <pc:docMk/>
            <pc:sldMk cId="3472941978" sldId="2147374922"/>
            <ac:spMk id="73" creationId="{87E69D72-250A-6D9E-2EAD-4FC9C90D3493}"/>
          </ac:spMkLst>
        </pc:spChg>
        <pc:spChg chg="mod topLvl">
          <ac:chgData name="Parth P Ved" userId="4b0ec5b8-7ef9-4dc0-8d36-4c3446bef2c8" providerId="ADAL" clId="{66725D04-7957-4E8B-8251-911A7F80CE25}" dt="2023-09-09T08:30:10.811" v="2351" actId="165"/>
          <ac:spMkLst>
            <pc:docMk/>
            <pc:sldMk cId="3472941978" sldId="2147374922"/>
            <ac:spMk id="74" creationId="{20ECAD91-B7E5-6E02-44D2-5A4CE7D73B60}"/>
          </ac:spMkLst>
        </pc:spChg>
        <pc:spChg chg="mod topLvl">
          <ac:chgData name="Parth P Ved" userId="4b0ec5b8-7ef9-4dc0-8d36-4c3446bef2c8" providerId="ADAL" clId="{66725D04-7957-4E8B-8251-911A7F80CE25}" dt="2023-09-09T08:30:17.035" v="2352" actId="255"/>
          <ac:spMkLst>
            <pc:docMk/>
            <pc:sldMk cId="3472941978" sldId="2147374922"/>
            <ac:spMk id="75" creationId="{072A9926-116D-6375-FB29-5A42BCF12874}"/>
          </ac:spMkLst>
        </pc:spChg>
        <pc:spChg chg="mod topLvl">
          <ac:chgData name="Parth P Ved" userId="4b0ec5b8-7ef9-4dc0-8d36-4c3446bef2c8" providerId="ADAL" clId="{66725D04-7957-4E8B-8251-911A7F80CE25}" dt="2023-09-09T08:30:24.955" v="2353" actId="255"/>
          <ac:spMkLst>
            <pc:docMk/>
            <pc:sldMk cId="3472941978" sldId="2147374922"/>
            <ac:spMk id="76" creationId="{AAEBACAD-B327-DCD0-390F-DD9A87D2F41B}"/>
          </ac:spMkLst>
        </pc:spChg>
        <pc:spChg chg="mod topLvl">
          <ac:chgData name="Parth P Ved" userId="4b0ec5b8-7ef9-4dc0-8d36-4c3446bef2c8" providerId="ADAL" clId="{66725D04-7957-4E8B-8251-911A7F80CE25}" dt="2023-09-09T08:30:24.955" v="2353" actId="255"/>
          <ac:spMkLst>
            <pc:docMk/>
            <pc:sldMk cId="3472941978" sldId="2147374922"/>
            <ac:spMk id="77" creationId="{897F575A-0546-18B5-96B1-2CD9059CA715}"/>
          </ac:spMkLst>
        </pc:spChg>
        <pc:spChg chg="mod topLvl">
          <ac:chgData name="Parth P Ved" userId="4b0ec5b8-7ef9-4dc0-8d36-4c3446bef2c8" providerId="ADAL" clId="{66725D04-7957-4E8B-8251-911A7F80CE25}" dt="2023-09-09T08:30:10.811" v="2351" actId="165"/>
          <ac:spMkLst>
            <pc:docMk/>
            <pc:sldMk cId="3472941978" sldId="2147374922"/>
            <ac:spMk id="78" creationId="{D2C673A6-EE9B-95F8-AE46-FCD056FEE55B}"/>
          </ac:spMkLst>
        </pc:spChg>
        <pc:spChg chg="mod topLvl">
          <ac:chgData name="Parth P Ved" userId="4b0ec5b8-7ef9-4dc0-8d36-4c3446bef2c8" providerId="ADAL" clId="{66725D04-7957-4E8B-8251-911A7F80CE25}" dt="2023-09-09T08:30:10.811" v="2351" actId="165"/>
          <ac:spMkLst>
            <pc:docMk/>
            <pc:sldMk cId="3472941978" sldId="2147374922"/>
            <ac:spMk id="79" creationId="{87D0E421-33A4-86A7-AACC-50B5F43052EC}"/>
          </ac:spMkLst>
        </pc:spChg>
        <pc:spChg chg="mod topLvl">
          <ac:chgData name="Parth P Ved" userId="4b0ec5b8-7ef9-4dc0-8d36-4c3446bef2c8" providerId="ADAL" clId="{66725D04-7957-4E8B-8251-911A7F80CE25}" dt="2023-09-09T08:30:10.811" v="2351" actId="165"/>
          <ac:spMkLst>
            <pc:docMk/>
            <pc:sldMk cId="3472941978" sldId="2147374922"/>
            <ac:spMk id="80" creationId="{E982093A-6CFC-2BEF-E0BE-18B9C8BA94F9}"/>
          </ac:spMkLst>
        </pc:spChg>
        <pc:spChg chg="mod topLvl">
          <ac:chgData name="Parth P Ved" userId="4b0ec5b8-7ef9-4dc0-8d36-4c3446bef2c8" providerId="ADAL" clId="{66725D04-7957-4E8B-8251-911A7F80CE25}" dt="2023-09-09T08:30:10.811" v="2351" actId="165"/>
          <ac:spMkLst>
            <pc:docMk/>
            <pc:sldMk cId="3472941978" sldId="2147374922"/>
            <ac:spMk id="81" creationId="{E288358E-F271-47AF-43FE-7C371763850A}"/>
          </ac:spMkLst>
        </pc:spChg>
        <pc:grpChg chg="del">
          <ac:chgData name="Parth P Ved" userId="4b0ec5b8-7ef9-4dc0-8d36-4c3446bef2c8" providerId="ADAL" clId="{66725D04-7957-4E8B-8251-911A7F80CE25}" dt="2023-09-09T08:29:46.154" v="2340" actId="478"/>
          <ac:grpSpMkLst>
            <pc:docMk/>
            <pc:sldMk cId="3472941978" sldId="2147374922"/>
            <ac:grpSpMk id="5" creationId="{B8AA5E8D-1C06-9511-975B-5AD92CAAFF7D}"/>
          </ac:grpSpMkLst>
        </pc:grpChg>
        <pc:grpChg chg="add del mod">
          <ac:chgData name="Parth P Ved" userId="4b0ec5b8-7ef9-4dc0-8d36-4c3446bef2c8" providerId="ADAL" clId="{66725D04-7957-4E8B-8251-911A7F80CE25}" dt="2023-09-09T08:29:54.952" v="2344"/>
          <ac:grpSpMkLst>
            <pc:docMk/>
            <pc:sldMk cId="3472941978" sldId="2147374922"/>
            <ac:grpSpMk id="44" creationId="{D3D25452-DAD4-890F-694F-FC8D84F8B0E5}"/>
          </ac:grpSpMkLst>
        </pc:grpChg>
        <pc:grpChg chg="add del mod">
          <ac:chgData name="Parth P Ved" userId="4b0ec5b8-7ef9-4dc0-8d36-4c3446bef2c8" providerId="ADAL" clId="{66725D04-7957-4E8B-8251-911A7F80CE25}" dt="2023-09-09T08:30:10.811" v="2351" actId="165"/>
          <ac:grpSpMkLst>
            <pc:docMk/>
            <pc:sldMk cId="3472941978" sldId="2147374922"/>
            <ac:grpSpMk id="65" creationId="{1501848C-AC67-1E2C-8056-654310DC9969}"/>
          </ac:grpSpMkLst>
        </pc:grpChg>
        <pc:cxnChg chg="add del mod">
          <ac:chgData name="Parth P Ved" userId="4b0ec5b8-7ef9-4dc0-8d36-4c3446bef2c8" providerId="ADAL" clId="{66725D04-7957-4E8B-8251-911A7F80CE25}" dt="2023-09-09T08:29:49.321" v="2342"/>
          <ac:cxnSpMkLst>
            <pc:docMk/>
            <pc:sldMk cId="3472941978" sldId="2147374922"/>
            <ac:cxnSpMk id="40" creationId="{A18CDB46-E167-6C3B-9722-BDAC22794121}"/>
          </ac:cxnSpMkLst>
        </pc:cxnChg>
        <pc:cxnChg chg="add del mod">
          <ac:chgData name="Parth P Ved" userId="4b0ec5b8-7ef9-4dc0-8d36-4c3446bef2c8" providerId="ADAL" clId="{66725D04-7957-4E8B-8251-911A7F80CE25}" dt="2023-09-09T08:29:49.321" v="2342"/>
          <ac:cxnSpMkLst>
            <pc:docMk/>
            <pc:sldMk cId="3472941978" sldId="2147374922"/>
            <ac:cxnSpMk id="41" creationId="{92D78909-C4F3-AFBB-85D7-F18048633537}"/>
          </ac:cxnSpMkLst>
        </pc:cxnChg>
        <pc:cxnChg chg="add del mod">
          <ac:chgData name="Parth P Ved" userId="4b0ec5b8-7ef9-4dc0-8d36-4c3446bef2c8" providerId="ADAL" clId="{66725D04-7957-4E8B-8251-911A7F80CE25}" dt="2023-09-09T08:29:49.321" v="2342"/>
          <ac:cxnSpMkLst>
            <pc:docMk/>
            <pc:sldMk cId="3472941978" sldId="2147374922"/>
            <ac:cxnSpMk id="42" creationId="{39FDD639-AB78-7212-51A6-6200D93A76E3}"/>
          </ac:cxnSpMkLst>
        </pc:cxnChg>
        <pc:cxnChg chg="add del mod">
          <ac:chgData name="Parth P Ved" userId="4b0ec5b8-7ef9-4dc0-8d36-4c3446bef2c8" providerId="ADAL" clId="{66725D04-7957-4E8B-8251-911A7F80CE25}" dt="2023-09-09T08:29:49.321" v="2342"/>
          <ac:cxnSpMkLst>
            <pc:docMk/>
            <pc:sldMk cId="3472941978" sldId="2147374922"/>
            <ac:cxnSpMk id="43" creationId="{71711C3B-3CB5-739C-65F1-0FB3F818C76D}"/>
          </ac:cxnSpMkLst>
        </pc:cxnChg>
        <pc:cxnChg chg="mod">
          <ac:chgData name="Parth P Ved" userId="4b0ec5b8-7ef9-4dc0-8d36-4c3446bef2c8" providerId="ADAL" clId="{66725D04-7957-4E8B-8251-911A7F80CE25}" dt="2023-09-09T08:29:53.148" v="2343"/>
          <ac:cxnSpMkLst>
            <pc:docMk/>
            <pc:sldMk cId="3472941978" sldId="2147374922"/>
            <ac:cxnSpMk id="61" creationId="{8A8E784A-3BCF-7298-95BA-88BB5BC8E10B}"/>
          </ac:cxnSpMkLst>
        </pc:cxnChg>
        <pc:cxnChg chg="mod">
          <ac:chgData name="Parth P Ved" userId="4b0ec5b8-7ef9-4dc0-8d36-4c3446bef2c8" providerId="ADAL" clId="{66725D04-7957-4E8B-8251-911A7F80CE25}" dt="2023-09-09T08:29:53.148" v="2343"/>
          <ac:cxnSpMkLst>
            <pc:docMk/>
            <pc:sldMk cId="3472941978" sldId="2147374922"/>
            <ac:cxnSpMk id="62" creationId="{8EC6D61E-7537-8771-3065-B492266BBE25}"/>
          </ac:cxnSpMkLst>
        </pc:cxnChg>
        <pc:cxnChg chg="mod">
          <ac:chgData name="Parth P Ved" userId="4b0ec5b8-7ef9-4dc0-8d36-4c3446bef2c8" providerId="ADAL" clId="{66725D04-7957-4E8B-8251-911A7F80CE25}" dt="2023-09-09T08:29:53.148" v="2343"/>
          <ac:cxnSpMkLst>
            <pc:docMk/>
            <pc:sldMk cId="3472941978" sldId="2147374922"/>
            <ac:cxnSpMk id="63" creationId="{8C1A9D90-DB91-E876-DF36-D91492C14457}"/>
          </ac:cxnSpMkLst>
        </pc:cxnChg>
        <pc:cxnChg chg="mod">
          <ac:chgData name="Parth P Ved" userId="4b0ec5b8-7ef9-4dc0-8d36-4c3446bef2c8" providerId="ADAL" clId="{66725D04-7957-4E8B-8251-911A7F80CE25}" dt="2023-09-09T08:29:53.148" v="2343"/>
          <ac:cxnSpMkLst>
            <pc:docMk/>
            <pc:sldMk cId="3472941978" sldId="2147374922"/>
            <ac:cxnSpMk id="64" creationId="{8443091E-FD25-0E97-CD32-2D23C4474BAB}"/>
          </ac:cxnSpMkLst>
        </pc:cxnChg>
        <pc:cxnChg chg="mod topLvl">
          <ac:chgData name="Parth P Ved" userId="4b0ec5b8-7ef9-4dc0-8d36-4c3446bef2c8" providerId="ADAL" clId="{66725D04-7957-4E8B-8251-911A7F80CE25}" dt="2023-09-09T08:30:36.865" v="2354" actId="208"/>
          <ac:cxnSpMkLst>
            <pc:docMk/>
            <pc:sldMk cId="3472941978" sldId="2147374922"/>
            <ac:cxnSpMk id="82" creationId="{B491BFFC-EA3E-A939-86D7-7D0FA3E3D843}"/>
          </ac:cxnSpMkLst>
        </pc:cxnChg>
        <pc:cxnChg chg="mod topLvl">
          <ac:chgData name="Parth P Ved" userId="4b0ec5b8-7ef9-4dc0-8d36-4c3446bef2c8" providerId="ADAL" clId="{66725D04-7957-4E8B-8251-911A7F80CE25}" dt="2023-09-09T08:30:36.865" v="2354" actId="208"/>
          <ac:cxnSpMkLst>
            <pc:docMk/>
            <pc:sldMk cId="3472941978" sldId="2147374922"/>
            <ac:cxnSpMk id="83" creationId="{5599842D-D405-D0DB-4243-2497AD992FBA}"/>
          </ac:cxnSpMkLst>
        </pc:cxnChg>
        <pc:cxnChg chg="mod topLvl">
          <ac:chgData name="Parth P Ved" userId="4b0ec5b8-7ef9-4dc0-8d36-4c3446bef2c8" providerId="ADAL" clId="{66725D04-7957-4E8B-8251-911A7F80CE25}" dt="2023-09-09T08:30:36.865" v="2354" actId="208"/>
          <ac:cxnSpMkLst>
            <pc:docMk/>
            <pc:sldMk cId="3472941978" sldId="2147374922"/>
            <ac:cxnSpMk id="84" creationId="{AFCF5A17-A9E8-7475-C954-A566A0CF7490}"/>
          </ac:cxnSpMkLst>
        </pc:cxnChg>
        <pc:cxnChg chg="mod topLvl">
          <ac:chgData name="Parth P Ved" userId="4b0ec5b8-7ef9-4dc0-8d36-4c3446bef2c8" providerId="ADAL" clId="{66725D04-7957-4E8B-8251-911A7F80CE25}" dt="2023-09-09T08:30:36.865" v="2354" actId="208"/>
          <ac:cxnSpMkLst>
            <pc:docMk/>
            <pc:sldMk cId="3472941978" sldId="2147374922"/>
            <ac:cxnSpMk id="85" creationId="{1C9FEF00-FF22-FE6F-C84D-183C4284EB09}"/>
          </ac:cxnSpMkLst>
        </pc:cxnChg>
      </pc:sldChg>
      <pc:sldChg chg="addSp delSp modSp add mod">
        <pc:chgData name="Parth P Ved" userId="4b0ec5b8-7ef9-4dc0-8d36-4c3446bef2c8" providerId="ADAL" clId="{66725D04-7957-4E8B-8251-911A7F80CE25}" dt="2023-09-09T08:34:07.928" v="2415" actId="20577"/>
        <pc:sldMkLst>
          <pc:docMk/>
          <pc:sldMk cId="1113685628" sldId="2147374923"/>
        </pc:sldMkLst>
        <pc:spChg chg="mod">
          <ac:chgData name="Parth P Ved" userId="4b0ec5b8-7ef9-4dc0-8d36-4c3446bef2c8" providerId="ADAL" clId="{66725D04-7957-4E8B-8251-911A7F80CE25}" dt="2023-09-09T08:31:25.811" v="2358"/>
          <ac:spMkLst>
            <pc:docMk/>
            <pc:sldMk cId="1113685628" sldId="2147374923"/>
            <ac:spMk id="2" creationId="{DEF09EF4-86D6-9E03-B2A5-F97B5B5F14FD}"/>
          </ac:spMkLst>
        </pc:spChg>
        <pc:spChg chg="add del mod">
          <ac:chgData name="Parth P Ved" userId="4b0ec5b8-7ef9-4dc0-8d36-4c3446bef2c8" providerId="ADAL" clId="{66725D04-7957-4E8B-8251-911A7F80CE25}" dt="2023-09-09T08:31:37.629" v="2361"/>
          <ac:spMkLst>
            <pc:docMk/>
            <pc:sldMk cId="1113685628" sldId="2147374923"/>
            <ac:spMk id="3" creationId="{08978D9C-CFA2-934F-B995-6FC539921C32}"/>
          </ac:spMkLst>
        </pc:spChg>
        <pc:spChg chg="add del mod">
          <ac:chgData name="Parth P Ved" userId="4b0ec5b8-7ef9-4dc0-8d36-4c3446bef2c8" providerId="ADAL" clId="{66725D04-7957-4E8B-8251-911A7F80CE25}" dt="2023-09-09T08:31:37.629" v="2361"/>
          <ac:spMkLst>
            <pc:docMk/>
            <pc:sldMk cId="1113685628" sldId="2147374923"/>
            <ac:spMk id="4" creationId="{850B5D02-7D21-410C-BECC-A44D51747211}"/>
          </ac:spMkLst>
        </pc:spChg>
        <pc:spChg chg="add del mod">
          <ac:chgData name="Parth P Ved" userId="4b0ec5b8-7ef9-4dc0-8d36-4c3446bef2c8" providerId="ADAL" clId="{66725D04-7957-4E8B-8251-911A7F80CE25}" dt="2023-09-09T08:31:37.629" v="2361"/>
          <ac:spMkLst>
            <pc:docMk/>
            <pc:sldMk cId="1113685628" sldId="2147374923"/>
            <ac:spMk id="5" creationId="{621F5A05-3827-9555-7724-530E6C49821C}"/>
          </ac:spMkLst>
        </pc:spChg>
        <pc:spChg chg="mod">
          <ac:chgData name="Parth P Ved" userId="4b0ec5b8-7ef9-4dc0-8d36-4c3446bef2c8" providerId="ADAL" clId="{66725D04-7957-4E8B-8251-911A7F80CE25}" dt="2023-09-09T08:31:36.146" v="2360"/>
          <ac:spMkLst>
            <pc:docMk/>
            <pc:sldMk cId="1113685628" sldId="2147374923"/>
            <ac:spMk id="14" creationId="{18A687F8-5420-6291-8763-3DD4DF6D71BE}"/>
          </ac:spMkLst>
        </pc:spChg>
        <pc:spChg chg="mod">
          <ac:chgData name="Parth P Ved" userId="4b0ec5b8-7ef9-4dc0-8d36-4c3446bef2c8" providerId="ADAL" clId="{66725D04-7957-4E8B-8251-911A7F80CE25}" dt="2023-09-09T08:31:36.146" v="2360"/>
          <ac:spMkLst>
            <pc:docMk/>
            <pc:sldMk cId="1113685628" sldId="2147374923"/>
            <ac:spMk id="15" creationId="{708D417A-3395-5114-2B57-473B52124527}"/>
          </ac:spMkLst>
        </pc:spChg>
        <pc:spChg chg="mod">
          <ac:chgData name="Parth P Ved" userId="4b0ec5b8-7ef9-4dc0-8d36-4c3446bef2c8" providerId="ADAL" clId="{66725D04-7957-4E8B-8251-911A7F80CE25}" dt="2023-09-09T08:31:36.146" v="2360"/>
          <ac:spMkLst>
            <pc:docMk/>
            <pc:sldMk cId="1113685628" sldId="2147374923"/>
            <ac:spMk id="16" creationId="{317323F4-4408-B6B6-C1F7-CFC279615786}"/>
          </ac:spMkLst>
        </pc:spChg>
        <pc:spChg chg="mod">
          <ac:chgData name="Parth P Ved" userId="4b0ec5b8-7ef9-4dc0-8d36-4c3446bef2c8" providerId="ADAL" clId="{66725D04-7957-4E8B-8251-911A7F80CE25}" dt="2023-09-09T08:31:36.146" v="2360"/>
          <ac:spMkLst>
            <pc:docMk/>
            <pc:sldMk cId="1113685628" sldId="2147374923"/>
            <ac:spMk id="17" creationId="{3DD18687-7558-4AB8-88A8-EF907E63F36D}"/>
          </ac:spMkLst>
        </pc:spChg>
        <pc:spChg chg="mod">
          <ac:chgData name="Parth P Ved" userId="4b0ec5b8-7ef9-4dc0-8d36-4c3446bef2c8" providerId="ADAL" clId="{66725D04-7957-4E8B-8251-911A7F80CE25}" dt="2023-09-09T08:31:36.146" v="2360"/>
          <ac:spMkLst>
            <pc:docMk/>
            <pc:sldMk cId="1113685628" sldId="2147374923"/>
            <ac:spMk id="18" creationId="{9B1B8A82-5223-2252-14AC-06BEF5AC34E3}"/>
          </ac:spMkLst>
        </pc:spChg>
        <pc:spChg chg="mod">
          <ac:chgData name="Parth P Ved" userId="4b0ec5b8-7ef9-4dc0-8d36-4c3446bef2c8" providerId="ADAL" clId="{66725D04-7957-4E8B-8251-911A7F80CE25}" dt="2023-09-09T08:31:36.146" v="2360"/>
          <ac:spMkLst>
            <pc:docMk/>
            <pc:sldMk cId="1113685628" sldId="2147374923"/>
            <ac:spMk id="19" creationId="{D95CEC53-2A49-AE3E-7BAA-6BDEFF7BF2FA}"/>
          </ac:spMkLst>
        </pc:spChg>
        <pc:spChg chg="mod">
          <ac:chgData name="Parth P Ved" userId="4b0ec5b8-7ef9-4dc0-8d36-4c3446bef2c8" providerId="ADAL" clId="{66725D04-7957-4E8B-8251-911A7F80CE25}" dt="2023-09-09T08:31:36.146" v="2360"/>
          <ac:spMkLst>
            <pc:docMk/>
            <pc:sldMk cId="1113685628" sldId="2147374923"/>
            <ac:spMk id="21" creationId="{E6A04EA2-B256-A210-B242-F0CF28099D01}"/>
          </ac:spMkLst>
        </pc:spChg>
        <pc:spChg chg="mod">
          <ac:chgData name="Parth P Ved" userId="4b0ec5b8-7ef9-4dc0-8d36-4c3446bef2c8" providerId="ADAL" clId="{66725D04-7957-4E8B-8251-911A7F80CE25}" dt="2023-09-09T08:31:36.146" v="2360"/>
          <ac:spMkLst>
            <pc:docMk/>
            <pc:sldMk cId="1113685628" sldId="2147374923"/>
            <ac:spMk id="22" creationId="{61BC7877-E503-1BE8-FD1A-F72BB3577A9C}"/>
          </ac:spMkLst>
        </pc:spChg>
        <pc:spChg chg="mod">
          <ac:chgData name="Parth P Ved" userId="4b0ec5b8-7ef9-4dc0-8d36-4c3446bef2c8" providerId="ADAL" clId="{66725D04-7957-4E8B-8251-911A7F80CE25}" dt="2023-09-09T08:31:36.146" v="2360"/>
          <ac:spMkLst>
            <pc:docMk/>
            <pc:sldMk cId="1113685628" sldId="2147374923"/>
            <ac:spMk id="23" creationId="{D222B111-3E9A-AEBC-8C8E-1965625E39F1}"/>
          </ac:spMkLst>
        </pc:spChg>
        <pc:spChg chg="mod">
          <ac:chgData name="Parth P Ved" userId="4b0ec5b8-7ef9-4dc0-8d36-4c3446bef2c8" providerId="ADAL" clId="{66725D04-7957-4E8B-8251-911A7F80CE25}" dt="2023-09-09T08:31:36.146" v="2360"/>
          <ac:spMkLst>
            <pc:docMk/>
            <pc:sldMk cId="1113685628" sldId="2147374923"/>
            <ac:spMk id="24" creationId="{00402722-91F8-22C2-FD4A-3A58D99D7D0F}"/>
          </ac:spMkLst>
        </pc:spChg>
        <pc:spChg chg="mod">
          <ac:chgData name="Parth P Ved" userId="4b0ec5b8-7ef9-4dc0-8d36-4c3446bef2c8" providerId="ADAL" clId="{66725D04-7957-4E8B-8251-911A7F80CE25}" dt="2023-09-09T08:31:36.146" v="2360"/>
          <ac:spMkLst>
            <pc:docMk/>
            <pc:sldMk cId="1113685628" sldId="2147374923"/>
            <ac:spMk id="25" creationId="{A08930B0-7B0F-2B13-1B14-ED69AAD63897}"/>
          </ac:spMkLst>
        </pc:spChg>
        <pc:spChg chg="mod">
          <ac:chgData name="Parth P Ved" userId="4b0ec5b8-7ef9-4dc0-8d36-4c3446bef2c8" providerId="ADAL" clId="{66725D04-7957-4E8B-8251-911A7F80CE25}" dt="2023-09-09T08:31:36.146" v="2360"/>
          <ac:spMkLst>
            <pc:docMk/>
            <pc:sldMk cId="1113685628" sldId="2147374923"/>
            <ac:spMk id="26" creationId="{51D064AF-7B98-7F34-79BB-AC2682DE056B}"/>
          </ac:spMkLst>
        </pc:spChg>
        <pc:spChg chg="mod">
          <ac:chgData name="Parth P Ved" userId="4b0ec5b8-7ef9-4dc0-8d36-4c3446bef2c8" providerId="ADAL" clId="{66725D04-7957-4E8B-8251-911A7F80CE25}" dt="2023-09-09T08:31:36.146" v="2360"/>
          <ac:spMkLst>
            <pc:docMk/>
            <pc:sldMk cId="1113685628" sldId="2147374923"/>
            <ac:spMk id="27" creationId="{3F9FBA0F-9F01-C9DD-61D7-3091E8FA86E3}"/>
          </ac:spMkLst>
        </pc:spChg>
        <pc:spChg chg="mod">
          <ac:chgData name="Parth P Ved" userId="4b0ec5b8-7ef9-4dc0-8d36-4c3446bef2c8" providerId="ADAL" clId="{66725D04-7957-4E8B-8251-911A7F80CE25}" dt="2023-09-09T08:31:36.146" v="2360"/>
          <ac:spMkLst>
            <pc:docMk/>
            <pc:sldMk cId="1113685628" sldId="2147374923"/>
            <ac:spMk id="28" creationId="{0EA1A4AA-569F-267B-09B9-012E52C98EF7}"/>
          </ac:spMkLst>
        </pc:spChg>
        <pc:spChg chg="mod">
          <ac:chgData name="Parth P Ved" userId="4b0ec5b8-7ef9-4dc0-8d36-4c3446bef2c8" providerId="ADAL" clId="{66725D04-7957-4E8B-8251-911A7F80CE25}" dt="2023-09-09T08:31:36.146" v="2360"/>
          <ac:spMkLst>
            <pc:docMk/>
            <pc:sldMk cId="1113685628" sldId="2147374923"/>
            <ac:spMk id="29" creationId="{C2960DAB-BDE6-A80F-5D7C-D5D708F09E43}"/>
          </ac:spMkLst>
        </pc:spChg>
        <pc:spChg chg="mod">
          <ac:chgData name="Parth P Ved" userId="4b0ec5b8-7ef9-4dc0-8d36-4c3446bef2c8" providerId="ADAL" clId="{66725D04-7957-4E8B-8251-911A7F80CE25}" dt="2023-09-09T08:31:36.146" v="2360"/>
          <ac:spMkLst>
            <pc:docMk/>
            <pc:sldMk cId="1113685628" sldId="2147374923"/>
            <ac:spMk id="30" creationId="{4D44D06B-F91F-FFA3-C046-EA173323D497}"/>
          </ac:spMkLst>
        </pc:spChg>
        <pc:spChg chg="mod">
          <ac:chgData name="Parth P Ved" userId="4b0ec5b8-7ef9-4dc0-8d36-4c3446bef2c8" providerId="ADAL" clId="{66725D04-7957-4E8B-8251-911A7F80CE25}" dt="2023-09-09T08:31:36.146" v="2360"/>
          <ac:spMkLst>
            <pc:docMk/>
            <pc:sldMk cId="1113685628" sldId="2147374923"/>
            <ac:spMk id="31" creationId="{1BF3B144-80D9-2A49-333B-7CA800F5654E}"/>
          </ac:spMkLst>
        </pc:spChg>
        <pc:spChg chg="mod">
          <ac:chgData name="Parth P Ved" userId="4b0ec5b8-7ef9-4dc0-8d36-4c3446bef2c8" providerId="ADAL" clId="{66725D04-7957-4E8B-8251-911A7F80CE25}" dt="2023-09-09T08:31:36.146" v="2360"/>
          <ac:spMkLst>
            <pc:docMk/>
            <pc:sldMk cId="1113685628" sldId="2147374923"/>
            <ac:spMk id="2112" creationId="{A6ECD1B1-06C9-DBAF-001A-70A0390A3C2A}"/>
          </ac:spMkLst>
        </pc:spChg>
        <pc:spChg chg="mod">
          <ac:chgData name="Parth P Ved" userId="4b0ec5b8-7ef9-4dc0-8d36-4c3446bef2c8" providerId="ADAL" clId="{66725D04-7957-4E8B-8251-911A7F80CE25}" dt="2023-09-09T08:31:36.146" v="2360"/>
          <ac:spMkLst>
            <pc:docMk/>
            <pc:sldMk cId="1113685628" sldId="2147374923"/>
            <ac:spMk id="2113" creationId="{8BA0BFAA-A5D6-EB9C-771A-DC33EDF9BDA0}"/>
          </ac:spMkLst>
        </pc:spChg>
        <pc:spChg chg="mod">
          <ac:chgData name="Parth P Ved" userId="4b0ec5b8-7ef9-4dc0-8d36-4c3446bef2c8" providerId="ADAL" clId="{66725D04-7957-4E8B-8251-911A7F80CE25}" dt="2023-09-09T08:31:36.146" v="2360"/>
          <ac:spMkLst>
            <pc:docMk/>
            <pc:sldMk cId="1113685628" sldId="2147374923"/>
            <ac:spMk id="2114" creationId="{EC240958-16D7-F916-F54E-0FB340B83758}"/>
          </ac:spMkLst>
        </pc:spChg>
        <pc:spChg chg="mod">
          <ac:chgData name="Parth P Ved" userId="4b0ec5b8-7ef9-4dc0-8d36-4c3446bef2c8" providerId="ADAL" clId="{66725D04-7957-4E8B-8251-911A7F80CE25}" dt="2023-09-09T08:31:36.146" v="2360"/>
          <ac:spMkLst>
            <pc:docMk/>
            <pc:sldMk cId="1113685628" sldId="2147374923"/>
            <ac:spMk id="2115" creationId="{820BD488-D9A5-2928-7A75-2BB848AF7034}"/>
          </ac:spMkLst>
        </pc:spChg>
        <pc:spChg chg="mod">
          <ac:chgData name="Parth P Ved" userId="4b0ec5b8-7ef9-4dc0-8d36-4c3446bef2c8" providerId="ADAL" clId="{66725D04-7957-4E8B-8251-911A7F80CE25}" dt="2023-09-09T08:31:36.146" v="2360"/>
          <ac:spMkLst>
            <pc:docMk/>
            <pc:sldMk cId="1113685628" sldId="2147374923"/>
            <ac:spMk id="2116" creationId="{9E015B48-F2F9-A52A-D2F4-8CB3C046A251}"/>
          </ac:spMkLst>
        </pc:spChg>
        <pc:spChg chg="mod">
          <ac:chgData name="Parth P Ved" userId="4b0ec5b8-7ef9-4dc0-8d36-4c3446bef2c8" providerId="ADAL" clId="{66725D04-7957-4E8B-8251-911A7F80CE25}" dt="2023-09-09T08:31:36.146" v="2360"/>
          <ac:spMkLst>
            <pc:docMk/>
            <pc:sldMk cId="1113685628" sldId="2147374923"/>
            <ac:spMk id="2117" creationId="{84E88CF4-55FE-70E6-8308-630D6A4BE791}"/>
          </ac:spMkLst>
        </pc:spChg>
        <pc:spChg chg="mod">
          <ac:chgData name="Parth P Ved" userId="4b0ec5b8-7ef9-4dc0-8d36-4c3446bef2c8" providerId="ADAL" clId="{66725D04-7957-4E8B-8251-911A7F80CE25}" dt="2023-09-09T08:31:36.146" v="2360"/>
          <ac:spMkLst>
            <pc:docMk/>
            <pc:sldMk cId="1113685628" sldId="2147374923"/>
            <ac:spMk id="2118" creationId="{FFA4ADCD-0A83-7405-AC85-A333B1BE9CDB}"/>
          </ac:spMkLst>
        </pc:spChg>
        <pc:spChg chg="mod">
          <ac:chgData name="Parth P Ved" userId="4b0ec5b8-7ef9-4dc0-8d36-4c3446bef2c8" providerId="ADAL" clId="{66725D04-7957-4E8B-8251-911A7F80CE25}" dt="2023-09-09T08:31:36.146" v="2360"/>
          <ac:spMkLst>
            <pc:docMk/>
            <pc:sldMk cId="1113685628" sldId="2147374923"/>
            <ac:spMk id="2119" creationId="{3B800F31-05E1-ED4D-6F24-CDC5B87ADD0E}"/>
          </ac:spMkLst>
        </pc:spChg>
        <pc:spChg chg="mod">
          <ac:chgData name="Parth P Ved" userId="4b0ec5b8-7ef9-4dc0-8d36-4c3446bef2c8" providerId="ADAL" clId="{66725D04-7957-4E8B-8251-911A7F80CE25}" dt="2023-09-09T08:31:36.146" v="2360"/>
          <ac:spMkLst>
            <pc:docMk/>
            <pc:sldMk cId="1113685628" sldId="2147374923"/>
            <ac:spMk id="2120" creationId="{3BC4B331-0CDD-8FA9-13F4-6C5E7B913923}"/>
          </ac:spMkLst>
        </pc:spChg>
        <pc:spChg chg="mod">
          <ac:chgData name="Parth P Ved" userId="4b0ec5b8-7ef9-4dc0-8d36-4c3446bef2c8" providerId="ADAL" clId="{66725D04-7957-4E8B-8251-911A7F80CE25}" dt="2023-09-09T08:31:36.146" v="2360"/>
          <ac:spMkLst>
            <pc:docMk/>
            <pc:sldMk cId="1113685628" sldId="2147374923"/>
            <ac:spMk id="2121" creationId="{F853BA83-A2F9-A4A3-F672-D833B5694479}"/>
          </ac:spMkLst>
        </pc:spChg>
        <pc:spChg chg="mod">
          <ac:chgData name="Parth P Ved" userId="4b0ec5b8-7ef9-4dc0-8d36-4c3446bef2c8" providerId="ADAL" clId="{66725D04-7957-4E8B-8251-911A7F80CE25}" dt="2023-09-09T08:31:36.146" v="2360"/>
          <ac:spMkLst>
            <pc:docMk/>
            <pc:sldMk cId="1113685628" sldId="2147374923"/>
            <ac:spMk id="2122" creationId="{1ABC6185-38FC-6F4D-FE5B-431D7D7B4773}"/>
          </ac:spMkLst>
        </pc:spChg>
        <pc:spChg chg="mod">
          <ac:chgData name="Parth P Ved" userId="4b0ec5b8-7ef9-4dc0-8d36-4c3446bef2c8" providerId="ADAL" clId="{66725D04-7957-4E8B-8251-911A7F80CE25}" dt="2023-09-09T08:31:36.146" v="2360"/>
          <ac:spMkLst>
            <pc:docMk/>
            <pc:sldMk cId="1113685628" sldId="2147374923"/>
            <ac:spMk id="2123" creationId="{C8C8BDAA-AE2B-16AC-FD80-5F39E16DDA60}"/>
          </ac:spMkLst>
        </pc:spChg>
        <pc:spChg chg="mod">
          <ac:chgData name="Parth P Ved" userId="4b0ec5b8-7ef9-4dc0-8d36-4c3446bef2c8" providerId="ADAL" clId="{66725D04-7957-4E8B-8251-911A7F80CE25}" dt="2023-09-09T08:31:36.146" v="2360"/>
          <ac:spMkLst>
            <pc:docMk/>
            <pc:sldMk cId="1113685628" sldId="2147374923"/>
            <ac:spMk id="2124" creationId="{055A07B7-7598-2152-A75C-E746611DC1F2}"/>
          </ac:spMkLst>
        </pc:spChg>
        <pc:spChg chg="mod">
          <ac:chgData name="Parth P Ved" userId="4b0ec5b8-7ef9-4dc0-8d36-4c3446bef2c8" providerId="ADAL" clId="{66725D04-7957-4E8B-8251-911A7F80CE25}" dt="2023-09-09T08:31:36.146" v="2360"/>
          <ac:spMkLst>
            <pc:docMk/>
            <pc:sldMk cId="1113685628" sldId="2147374923"/>
            <ac:spMk id="2125" creationId="{519E31B0-0EC4-6BDB-1464-CC48764F296C}"/>
          </ac:spMkLst>
        </pc:spChg>
        <pc:spChg chg="add del mod">
          <ac:chgData name="Parth P Ved" userId="4b0ec5b8-7ef9-4dc0-8d36-4c3446bef2c8" providerId="ADAL" clId="{66725D04-7957-4E8B-8251-911A7F80CE25}" dt="2023-09-09T08:31:37.629" v="2361"/>
          <ac:spMkLst>
            <pc:docMk/>
            <pc:sldMk cId="1113685628" sldId="2147374923"/>
            <ac:spMk id="2127" creationId="{C9656696-BE11-376A-9B22-11097DBA475C}"/>
          </ac:spMkLst>
        </pc:spChg>
        <pc:spChg chg="add del mod">
          <ac:chgData name="Parth P Ved" userId="4b0ec5b8-7ef9-4dc0-8d36-4c3446bef2c8" providerId="ADAL" clId="{66725D04-7957-4E8B-8251-911A7F80CE25}" dt="2023-09-09T08:31:45.402" v="2363"/>
          <ac:spMkLst>
            <pc:docMk/>
            <pc:sldMk cId="1113685628" sldId="2147374923"/>
            <ac:spMk id="2128" creationId="{B274E2D6-576C-4A56-5CAC-5B39045F8AA9}"/>
          </ac:spMkLst>
        </pc:spChg>
        <pc:spChg chg="add del mod">
          <ac:chgData name="Parth P Ved" userId="4b0ec5b8-7ef9-4dc0-8d36-4c3446bef2c8" providerId="ADAL" clId="{66725D04-7957-4E8B-8251-911A7F80CE25}" dt="2023-09-09T08:31:45.402" v="2363"/>
          <ac:spMkLst>
            <pc:docMk/>
            <pc:sldMk cId="1113685628" sldId="2147374923"/>
            <ac:spMk id="2129" creationId="{1617403C-E830-7453-B4A9-BC26AAF9CEFE}"/>
          </ac:spMkLst>
        </pc:spChg>
        <pc:spChg chg="add del mod">
          <ac:chgData name="Parth P Ved" userId="4b0ec5b8-7ef9-4dc0-8d36-4c3446bef2c8" providerId="ADAL" clId="{66725D04-7957-4E8B-8251-911A7F80CE25}" dt="2023-09-09T08:31:45.402" v="2363"/>
          <ac:spMkLst>
            <pc:docMk/>
            <pc:sldMk cId="1113685628" sldId="2147374923"/>
            <ac:spMk id="2130" creationId="{F39D96B7-7EF2-012B-8DDE-42851CAFBC27}"/>
          </ac:spMkLst>
        </pc:spChg>
        <pc:spChg chg="del">
          <ac:chgData name="Parth P Ved" userId="4b0ec5b8-7ef9-4dc0-8d36-4c3446bef2c8" providerId="ADAL" clId="{66725D04-7957-4E8B-8251-911A7F80CE25}" dt="2023-09-09T08:31:35.540" v="2359" actId="478"/>
          <ac:spMkLst>
            <pc:docMk/>
            <pc:sldMk cId="1113685628" sldId="2147374923"/>
            <ac:spMk id="2142" creationId="{5AC02B6D-7C82-8388-D149-1F7E11AB9C57}"/>
          </ac:spMkLst>
        </pc:spChg>
        <pc:spChg chg="del">
          <ac:chgData name="Parth P Ved" userId="4b0ec5b8-7ef9-4dc0-8d36-4c3446bef2c8" providerId="ADAL" clId="{66725D04-7957-4E8B-8251-911A7F80CE25}" dt="2023-09-09T08:31:35.540" v="2359" actId="478"/>
          <ac:spMkLst>
            <pc:docMk/>
            <pc:sldMk cId="1113685628" sldId="2147374923"/>
            <ac:spMk id="2143" creationId="{23FCDE7B-98FA-7A2E-ECB9-765EF6A4CAFC}"/>
          </ac:spMkLst>
        </pc:spChg>
        <pc:spChg chg="del">
          <ac:chgData name="Parth P Ved" userId="4b0ec5b8-7ef9-4dc0-8d36-4c3446bef2c8" providerId="ADAL" clId="{66725D04-7957-4E8B-8251-911A7F80CE25}" dt="2023-09-09T08:31:35.540" v="2359" actId="478"/>
          <ac:spMkLst>
            <pc:docMk/>
            <pc:sldMk cId="1113685628" sldId="2147374923"/>
            <ac:spMk id="2144" creationId="{5ACDF4A6-CFDC-CFB5-87E3-49CFCBB6165F}"/>
          </ac:spMkLst>
        </pc:spChg>
        <pc:spChg chg="del">
          <ac:chgData name="Parth P Ved" userId="4b0ec5b8-7ef9-4dc0-8d36-4c3446bef2c8" providerId="ADAL" clId="{66725D04-7957-4E8B-8251-911A7F80CE25}" dt="2023-09-09T08:31:35.540" v="2359" actId="478"/>
          <ac:spMkLst>
            <pc:docMk/>
            <pc:sldMk cId="1113685628" sldId="2147374923"/>
            <ac:spMk id="2145" creationId="{BC08158B-FB51-9B45-6674-C61C691D312A}"/>
          </ac:spMkLst>
        </pc:spChg>
        <pc:spChg chg="del">
          <ac:chgData name="Parth P Ved" userId="4b0ec5b8-7ef9-4dc0-8d36-4c3446bef2c8" providerId="ADAL" clId="{66725D04-7957-4E8B-8251-911A7F80CE25}" dt="2023-09-09T08:31:35.540" v="2359" actId="478"/>
          <ac:spMkLst>
            <pc:docMk/>
            <pc:sldMk cId="1113685628" sldId="2147374923"/>
            <ac:spMk id="2147" creationId="{88ECC0F0-7B22-D8ED-395E-DA3463608F95}"/>
          </ac:spMkLst>
        </pc:spChg>
        <pc:spChg chg="del">
          <ac:chgData name="Parth P Ved" userId="4b0ec5b8-7ef9-4dc0-8d36-4c3446bef2c8" providerId="ADAL" clId="{66725D04-7957-4E8B-8251-911A7F80CE25}" dt="2023-09-09T08:31:35.540" v="2359" actId="478"/>
          <ac:spMkLst>
            <pc:docMk/>
            <pc:sldMk cId="1113685628" sldId="2147374923"/>
            <ac:spMk id="2148" creationId="{1CD08C73-C6B8-D503-4A6D-AEB2CB0F28B7}"/>
          </ac:spMkLst>
        </pc:spChg>
        <pc:spChg chg="del">
          <ac:chgData name="Parth P Ved" userId="4b0ec5b8-7ef9-4dc0-8d36-4c3446bef2c8" providerId="ADAL" clId="{66725D04-7957-4E8B-8251-911A7F80CE25}" dt="2023-09-09T08:31:35.540" v="2359" actId="478"/>
          <ac:spMkLst>
            <pc:docMk/>
            <pc:sldMk cId="1113685628" sldId="2147374923"/>
            <ac:spMk id="2149" creationId="{FFD3A9EC-FB88-F4D8-2C5A-DFC8BA249B0F}"/>
          </ac:spMkLst>
        </pc:spChg>
        <pc:spChg chg="del">
          <ac:chgData name="Parth P Ved" userId="4b0ec5b8-7ef9-4dc0-8d36-4c3446bef2c8" providerId="ADAL" clId="{66725D04-7957-4E8B-8251-911A7F80CE25}" dt="2023-09-09T08:31:35.540" v="2359" actId="478"/>
          <ac:spMkLst>
            <pc:docMk/>
            <pc:sldMk cId="1113685628" sldId="2147374923"/>
            <ac:spMk id="2150" creationId="{D2E21805-F6B8-AB16-0F92-1D73676D3427}"/>
          </ac:spMkLst>
        </pc:spChg>
        <pc:spChg chg="del">
          <ac:chgData name="Parth P Ved" userId="4b0ec5b8-7ef9-4dc0-8d36-4c3446bef2c8" providerId="ADAL" clId="{66725D04-7957-4E8B-8251-911A7F80CE25}" dt="2023-09-09T08:31:35.540" v="2359" actId="478"/>
          <ac:spMkLst>
            <pc:docMk/>
            <pc:sldMk cId="1113685628" sldId="2147374923"/>
            <ac:spMk id="2152" creationId="{0902291F-8B2A-FA8A-CB4A-00E8F1307DF7}"/>
          </ac:spMkLst>
        </pc:spChg>
        <pc:spChg chg="del">
          <ac:chgData name="Parth P Ved" userId="4b0ec5b8-7ef9-4dc0-8d36-4c3446bef2c8" providerId="ADAL" clId="{66725D04-7957-4E8B-8251-911A7F80CE25}" dt="2023-09-09T08:31:35.540" v="2359" actId="478"/>
          <ac:spMkLst>
            <pc:docMk/>
            <pc:sldMk cId="1113685628" sldId="2147374923"/>
            <ac:spMk id="2153" creationId="{915CF7BF-7E6A-53B4-A507-E1C5553E7BD7}"/>
          </ac:spMkLst>
        </pc:spChg>
        <pc:spChg chg="del">
          <ac:chgData name="Parth P Ved" userId="4b0ec5b8-7ef9-4dc0-8d36-4c3446bef2c8" providerId="ADAL" clId="{66725D04-7957-4E8B-8251-911A7F80CE25}" dt="2023-09-09T08:31:35.540" v="2359" actId="478"/>
          <ac:spMkLst>
            <pc:docMk/>
            <pc:sldMk cId="1113685628" sldId="2147374923"/>
            <ac:spMk id="2154" creationId="{9DCACFF4-9A65-26F0-0208-88D5C6E7C256}"/>
          </ac:spMkLst>
        </pc:spChg>
        <pc:spChg chg="del">
          <ac:chgData name="Parth P Ved" userId="4b0ec5b8-7ef9-4dc0-8d36-4c3446bef2c8" providerId="ADAL" clId="{66725D04-7957-4E8B-8251-911A7F80CE25}" dt="2023-09-09T08:31:35.540" v="2359" actId="478"/>
          <ac:spMkLst>
            <pc:docMk/>
            <pc:sldMk cId="1113685628" sldId="2147374923"/>
            <ac:spMk id="2155" creationId="{B78371CA-1884-3838-D344-4E6355BB493A}"/>
          </ac:spMkLst>
        </pc:spChg>
        <pc:spChg chg="del">
          <ac:chgData name="Parth P Ved" userId="4b0ec5b8-7ef9-4dc0-8d36-4c3446bef2c8" providerId="ADAL" clId="{66725D04-7957-4E8B-8251-911A7F80CE25}" dt="2023-09-09T08:31:35.540" v="2359" actId="478"/>
          <ac:spMkLst>
            <pc:docMk/>
            <pc:sldMk cId="1113685628" sldId="2147374923"/>
            <ac:spMk id="2156" creationId="{964B3C60-08EC-219F-A052-B6266ED635C8}"/>
          </ac:spMkLst>
        </pc:spChg>
        <pc:spChg chg="del">
          <ac:chgData name="Parth P Ved" userId="4b0ec5b8-7ef9-4dc0-8d36-4c3446bef2c8" providerId="ADAL" clId="{66725D04-7957-4E8B-8251-911A7F80CE25}" dt="2023-09-09T08:31:35.540" v="2359" actId="478"/>
          <ac:spMkLst>
            <pc:docMk/>
            <pc:sldMk cId="1113685628" sldId="2147374923"/>
            <ac:spMk id="2157" creationId="{D73C390D-3E30-1F75-6545-122078049FC2}"/>
          </ac:spMkLst>
        </pc:spChg>
        <pc:spChg chg="del">
          <ac:chgData name="Parth P Ved" userId="4b0ec5b8-7ef9-4dc0-8d36-4c3446bef2c8" providerId="ADAL" clId="{66725D04-7957-4E8B-8251-911A7F80CE25}" dt="2023-09-09T08:31:35.540" v="2359" actId="478"/>
          <ac:spMkLst>
            <pc:docMk/>
            <pc:sldMk cId="1113685628" sldId="2147374923"/>
            <ac:spMk id="2158" creationId="{B771F6AC-BB77-A688-FB62-5456109868FE}"/>
          </ac:spMkLst>
        </pc:spChg>
        <pc:spChg chg="del">
          <ac:chgData name="Parth P Ved" userId="4b0ec5b8-7ef9-4dc0-8d36-4c3446bef2c8" providerId="ADAL" clId="{66725D04-7957-4E8B-8251-911A7F80CE25}" dt="2023-09-09T08:31:35.540" v="2359" actId="478"/>
          <ac:spMkLst>
            <pc:docMk/>
            <pc:sldMk cId="1113685628" sldId="2147374923"/>
            <ac:spMk id="2159" creationId="{DE8D7EE4-FEE9-4615-3632-F1F702C92FF8}"/>
          </ac:spMkLst>
        </pc:spChg>
        <pc:spChg chg="del">
          <ac:chgData name="Parth P Ved" userId="4b0ec5b8-7ef9-4dc0-8d36-4c3446bef2c8" providerId="ADAL" clId="{66725D04-7957-4E8B-8251-911A7F80CE25}" dt="2023-09-09T08:31:35.540" v="2359" actId="478"/>
          <ac:spMkLst>
            <pc:docMk/>
            <pc:sldMk cId="1113685628" sldId="2147374923"/>
            <ac:spMk id="2161" creationId="{C879F9C3-AAA1-47CD-E9DF-7051BF765F82}"/>
          </ac:spMkLst>
        </pc:spChg>
        <pc:spChg chg="del">
          <ac:chgData name="Parth P Ved" userId="4b0ec5b8-7ef9-4dc0-8d36-4c3446bef2c8" providerId="ADAL" clId="{66725D04-7957-4E8B-8251-911A7F80CE25}" dt="2023-09-09T08:31:35.540" v="2359" actId="478"/>
          <ac:spMkLst>
            <pc:docMk/>
            <pc:sldMk cId="1113685628" sldId="2147374923"/>
            <ac:spMk id="2162" creationId="{01C09BF8-7444-8B7D-5124-0A96263B0DF4}"/>
          </ac:spMkLst>
        </pc:spChg>
        <pc:spChg chg="del">
          <ac:chgData name="Parth P Ved" userId="4b0ec5b8-7ef9-4dc0-8d36-4c3446bef2c8" providerId="ADAL" clId="{66725D04-7957-4E8B-8251-911A7F80CE25}" dt="2023-09-09T08:31:35.540" v="2359" actId="478"/>
          <ac:spMkLst>
            <pc:docMk/>
            <pc:sldMk cId="1113685628" sldId="2147374923"/>
            <ac:spMk id="2163" creationId="{025A90E5-D292-4B07-2810-E6D8C476D5E2}"/>
          </ac:spMkLst>
        </pc:spChg>
        <pc:spChg chg="del">
          <ac:chgData name="Parth P Ved" userId="4b0ec5b8-7ef9-4dc0-8d36-4c3446bef2c8" providerId="ADAL" clId="{66725D04-7957-4E8B-8251-911A7F80CE25}" dt="2023-09-09T08:31:35.540" v="2359" actId="478"/>
          <ac:spMkLst>
            <pc:docMk/>
            <pc:sldMk cId="1113685628" sldId="2147374923"/>
            <ac:spMk id="2164" creationId="{6BCECE40-2DF7-026F-8875-E29941D1984D}"/>
          </ac:spMkLst>
        </pc:spChg>
        <pc:spChg chg="del">
          <ac:chgData name="Parth P Ved" userId="4b0ec5b8-7ef9-4dc0-8d36-4c3446bef2c8" providerId="ADAL" clId="{66725D04-7957-4E8B-8251-911A7F80CE25}" dt="2023-09-09T08:31:35.540" v="2359" actId="478"/>
          <ac:spMkLst>
            <pc:docMk/>
            <pc:sldMk cId="1113685628" sldId="2147374923"/>
            <ac:spMk id="2166" creationId="{3C6B1923-03C4-4A79-3DA2-499AE80E8C8C}"/>
          </ac:spMkLst>
        </pc:spChg>
        <pc:spChg chg="del">
          <ac:chgData name="Parth P Ved" userId="4b0ec5b8-7ef9-4dc0-8d36-4c3446bef2c8" providerId="ADAL" clId="{66725D04-7957-4E8B-8251-911A7F80CE25}" dt="2023-09-09T08:31:35.540" v="2359" actId="478"/>
          <ac:spMkLst>
            <pc:docMk/>
            <pc:sldMk cId="1113685628" sldId="2147374923"/>
            <ac:spMk id="2167" creationId="{B04E0EC5-6C33-A624-5DB0-388627E9DBF0}"/>
          </ac:spMkLst>
        </pc:spChg>
        <pc:spChg chg="del">
          <ac:chgData name="Parth P Ved" userId="4b0ec5b8-7ef9-4dc0-8d36-4c3446bef2c8" providerId="ADAL" clId="{66725D04-7957-4E8B-8251-911A7F80CE25}" dt="2023-09-09T08:31:35.540" v="2359" actId="478"/>
          <ac:spMkLst>
            <pc:docMk/>
            <pc:sldMk cId="1113685628" sldId="2147374923"/>
            <ac:spMk id="2168" creationId="{4BD82939-E2BE-C7C6-24FE-250EA9F61597}"/>
          </ac:spMkLst>
        </pc:spChg>
        <pc:spChg chg="del">
          <ac:chgData name="Parth P Ved" userId="4b0ec5b8-7ef9-4dc0-8d36-4c3446bef2c8" providerId="ADAL" clId="{66725D04-7957-4E8B-8251-911A7F80CE25}" dt="2023-09-09T08:31:35.540" v="2359" actId="478"/>
          <ac:spMkLst>
            <pc:docMk/>
            <pc:sldMk cId="1113685628" sldId="2147374923"/>
            <ac:spMk id="2169" creationId="{53F75747-5FBD-5A0D-7983-6DD8127693E9}"/>
          </ac:spMkLst>
        </pc:spChg>
        <pc:spChg chg="del">
          <ac:chgData name="Parth P Ved" userId="4b0ec5b8-7ef9-4dc0-8d36-4c3446bef2c8" providerId="ADAL" clId="{66725D04-7957-4E8B-8251-911A7F80CE25}" dt="2023-09-09T08:31:35.540" v="2359" actId="478"/>
          <ac:spMkLst>
            <pc:docMk/>
            <pc:sldMk cId="1113685628" sldId="2147374923"/>
            <ac:spMk id="2170" creationId="{74102B35-75A3-145F-F5DD-34101E5D9215}"/>
          </ac:spMkLst>
        </pc:spChg>
        <pc:spChg chg="del">
          <ac:chgData name="Parth P Ved" userId="4b0ec5b8-7ef9-4dc0-8d36-4c3446bef2c8" providerId="ADAL" clId="{66725D04-7957-4E8B-8251-911A7F80CE25}" dt="2023-09-09T08:31:35.540" v="2359" actId="478"/>
          <ac:spMkLst>
            <pc:docMk/>
            <pc:sldMk cId="1113685628" sldId="2147374923"/>
            <ac:spMk id="2171" creationId="{A95500C8-D715-1C9C-0AC6-BFE7125511C1}"/>
          </ac:spMkLst>
        </pc:spChg>
        <pc:spChg chg="del">
          <ac:chgData name="Parth P Ved" userId="4b0ec5b8-7ef9-4dc0-8d36-4c3446bef2c8" providerId="ADAL" clId="{66725D04-7957-4E8B-8251-911A7F80CE25}" dt="2023-09-09T08:31:35.540" v="2359" actId="478"/>
          <ac:spMkLst>
            <pc:docMk/>
            <pc:sldMk cId="1113685628" sldId="2147374923"/>
            <ac:spMk id="2172" creationId="{BD49A479-720D-C019-3A26-428B4219BAE2}"/>
          </ac:spMkLst>
        </pc:spChg>
        <pc:spChg chg="del">
          <ac:chgData name="Parth P Ved" userId="4b0ec5b8-7ef9-4dc0-8d36-4c3446bef2c8" providerId="ADAL" clId="{66725D04-7957-4E8B-8251-911A7F80CE25}" dt="2023-09-09T08:31:35.540" v="2359" actId="478"/>
          <ac:spMkLst>
            <pc:docMk/>
            <pc:sldMk cId="1113685628" sldId="2147374923"/>
            <ac:spMk id="2173" creationId="{AAD6EA7B-7D77-9868-D201-88F0B2C15459}"/>
          </ac:spMkLst>
        </pc:spChg>
        <pc:spChg chg="del">
          <ac:chgData name="Parth P Ved" userId="4b0ec5b8-7ef9-4dc0-8d36-4c3446bef2c8" providerId="ADAL" clId="{66725D04-7957-4E8B-8251-911A7F80CE25}" dt="2023-09-09T08:31:35.540" v="2359" actId="478"/>
          <ac:spMkLst>
            <pc:docMk/>
            <pc:sldMk cId="1113685628" sldId="2147374923"/>
            <ac:spMk id="2174" creationId="{C52EA5A0-E7C9-2D29-69F6-737516CA027B}"/>
          </ac:spMkLst>
        </pc:spChg>
        <pc:spChg chg="del">
          <ac:chgData name="Parth P Ved" userId="4b0ec5b8-7ef9-4dc0-8d36-4c3446bef2c8" providerId="ADAL" clId="{66725D04-7957-4E8B-8251-911A7F80CE25}" dt="2023-09-09T08:31:35.540" v="2359" actId="478"/>
          <ac:spMkLst>
            <pc:docMk/>
            <pc:sldMk cId="1113685628" sldId="2147374923"/>
            <ac:spMk id="2175" creationId="{27A1D94E-4AA1-1DFC-815A-BE2548550959}"/>
          </ac:spMkLst>
        </pc:spChg>
        <pc:spChg chg="del">
          <ac:chgData name="Parth P Ved" userId="4b0ec5b8-7ef9-4dc0-8d36-4c3446bef2c8" providerId="ADAL" clId="{66725D04-7957-4E8B-8251-911A7F80CE25}" dt="2023-09-09T08:31:35.540" v="2359" actId="478"/>
          <ac:spMkLst>
            <pc:docMk/>
            <pc:sldMk cId="1113685628" sldId="2147374923"/>
            <ac:spMk id="2176" creationId="{334C290C-E36B-27EB-6F17-D7C5C027675B}"/>
          </ac:spMkLst>
        </pc:spChg>
        <pc:spChg chg="del">
          <ac:chgData name="Parth P Ved" userId="4b0ec5b8-7ef9-4dc0-8d36-4c3446bef2c8" providerId="ADAL" clId="{66725D04-7957-4E8B-8251-911A7F80CE25}" dt="2023-09-09T08:31:35.540" v="2359" actId="478"/>
          <ac:spMkLst>
            <pc:docMk/>
            <pc:sldMk cId="1113685628" sldId="2147374923"/>
            <ac:spMk id="2177" creationId="{7379B256-5629-4F60-B449-CC869BEE8588}"/>
          </ac:spMkLst>
        </pc:spChg>
        <pc:spChg chg="mod">
          <ac:chgData name="Parth P Ved" userId="4b0ec5b8-7ef9-4dc0-8d36-4c3446bef2c8" providerId="ADAL" clId="{66725D04-7957-4E8B-8251-911A7F80CE25}" dt="2023-09-09T08:31:36.146" v="2360"/>
          <ac:spMkLst>
            <pc:docMk/>
            <pc:sldMk cId="1113685628" sldId="2147374923"/>
            <ac:spMk id="2263" creationId="{9AB4B2D5-A52A-A6E6-0925-69F61B53B387}"/>
          </ac:spMkLst>
        </pc:spChg>
        <pc:spChg chg="mod">
          <ac:chgData name="Parth P Ved" userId="4b0ec5b8-7ef9-4dc0-8d36-4c3446bef2c8" providerId="ADAL" clId="{66725D04-7957-4E8B-8251-911A7F80CE25}" dt="2023-09-09T08:31:36.146" v="2360"/>
          <ac:spMkLst>
            <pc:docMk/>
            <pc:sldMk cId="1113685628" sldId="2147374923"/>
            <ac:spMk id="2264" creationId="{6200B2BC-FAD4-697C-1A37-39AC75EB4847}"/>
          </ac:spMkLst>
        </pc:spChg>
        <pc:spChg chg="mod">
          <ac:chgData name="Parth P Ved" userId="4b0ec5b8-7ef9-4dc0-8d36-4c3446bef2c8" providerId="ADAL" clId="{66725D04-7957-4E8B-8251-911A7F80CE25}" dt="2023-09-09T08:31:36.146" v="2360"/>
          <ac:spMkLst>
            <pc:docMk/>
            <pc:sldMk cId="1113685628" sldId="2147374923"/>
            <ac:spMk id="2265" creationId="{4EDFE8D9-0FB6-2CE3-640C-F356A5F671ED}"/>
          </ac:spMkLst>
        </pc:spChg>
        <pc:spChg chg="mod">
          <ac:chgData name="Parth P Ved" userId="4b0ec5b8-7ef9-4dc0-8d36-4c3446bef2c8" providerId="ADAL" clId="{66725D04-7957-4E8B-8251-911A7F80CE25}" dt="2023-09-09T08:31:36.146" v="2360"/>
          <ac:spMkLst>
            <pc:docMk/>
            <pc:sldMk cId="1113685628" sldId="2147374923"/>
            <ac:spMk id="2266" creationId="{CBEFC07D-E6E1-CE73-C204-14F996D9BE5B}"/>
          </ac:spMkLst>
        </pc:spChg>
        <pc:spChg chg="add del mod">
          <ac:chgData name="Parth P Ved" userId="4b0ec5b8-7ef9-4dc0-8d36-4c3446bef2c8" providerId="ADAL" clId="{66725D04-7957-4E8B-8251-911A7F80CE25}" dt="2023-09-09T08:31:37.629" v="2361"/>
          <ac:spMkLst>
            <pc:docMk/>
            <pc:sldMk cId="1113685628" sldId="2147374923"/>
            <ac:spMk id="2268" creationId="{28625A00-6FF5-4818-92B5-FFF3C1BA8168}"/>
          </ac:spMkLst>
        </pc:spChg>
        <pc:spChg chg="mod">
          <ac:chgData name="Parth P Ved" userId="4b0ec5b8-7ef9-4dc0-8d36-4c3446bef2c8" providerId="ADAL" clId="{66725D04-7957-4E8B-8251-911A7F80CE25}" dt="2023-09-09T08:31:36.146" v="2360"/>
          <ac:spMkLst>
            <pc:docMk/>
            <pc:sldMk cId="1113685628" sldId="2147374923"/>
            <ac:spMk id="2271" creationId="{ADE36709-ED77-A3DE-B4FF-65CF29B7A012}"/>
          </ac:spMkLst>
        </pc:spChg>
        <pc:spChg chg="mod">
          <ac:chgData name="Parth P Ved" userId="4b0ec5b8-7ef9-4dc0-8d36-4c3446bef2c8" providerId="ADAL" clId="{66725D04-7957-4E8B-8251-911A7F80CE25}" dt="2023-09-09T08:31:42.117" v="2362"/>
          <ac:spMkLst>
            <pc:docMk/>
            <pc:sldMk cId="1113685628" sldId="2147374923"/>
            <ac:spMk id="2272" creationId="{61618C85-1C38-CBA7-4BCA-B667602553FA}"/>
          </ac:spMkLst>
        </pc:spChg>
        <pc:spChg chg="mod">
          <ac:chgData name="Parth P Ved" userId="4b0ec5b8-7ef9-4dc0-8d36-4c3446bef2c8" providerId="ADAL" clId="{66725D04-7957-4E8B-8251-911A7F80CE25}" dt="2023-09-09T08:31:42.117" v="2362"/>
          <ac:spMkLst>
            <pc:docMk/>
            <pc:sldMk cId="1113685628" sldId="2147374923"/>
            <ac:spMk id="2273" creationId="{56E0DD7F-799F-5BB5-BA96-8288C652CAA2}"/>
          </ac:spMkLst>
        </pc:spChg>
        <pc:spChg chg="mod">
          <ac:chgData name="Parth P Ved" userId="4b0ec5b8-7ef9-4dc0-8d36-4c3446bef2c8" providerId="ADAL" clId="{66725D04-7957-4E8B-8251-911A7F80CE25}" dt="2023-09-09T08:31:42.117" v="2362"/>
          <ac:spMkLst>
            <pc:docMk/>
            <pc:sldMk cId="1113685628" sldId="2147374923"/>
            <ac:spMk id="2274" creationId="{D73A0083-4B3F-0F76-A61E-BBCE0F157F9F}"/>
          </ac:spMkLst>
        </pc:spChg>
        <pc:spChg chg="mod">
          <ac:chgData name="Parth P Ved" userId="4b0ec5b8-7ef9-4dc0-8d36-4c3446bef2c8" providerId="ADAL" clId="{66725D04-7957-4E8B-8251-911A7F80CE25}" dt="2023-09-09T08:31:42.117" v="2362"/>
          <ac:spMkLst>
            <pc:docMk/>
            <pc:sldMk cId="1113685628" sldId="2147374923"/>
            <ac:spMk id="2275" creationId="{696C8D1B-F523-864A-E7C9-A04D00F5159A}"/>
          </ac:spMkLst>
        </pc:spChg>
        <pc:spChg chg="mod">
          <ac:chgData name="Parth P Ved" userId="4b0ec5b8-7ef9-4dc0-8d36-4c3446bef2c8" providerId="ADAL" clId="{66725D04-7957-4E8B-8251-911A7F80CE25}" dt="2023-09-09T08:31:42.117" v="2362"/>
          <ac:spMkLst>
            <pc:docMk/>
            <pc:sldMk cId="1113685628" sldId="2147374923"/>
            <ac:spMk id="2276" creationId="{47D02EBF-EF89-7670-A842-24F9BDDB5B60}"/>
          </ac:spMkLst>
        </pc:spChg>
        <pc:spChg chg="mod">
          <ac:chgData name="Parth P Ved" userId="4b0ec5b8-7ef9-4dc0-8d36-4c3446bef2c8" providerId="ADAL" clId="{66725D04-7957-4E8B-8251-911A7F80CE25}" dt="2023-09-09T08:31:42.117" v="2362"/>
          <ac:spMkLst>
            <pc:docMk/>
            <pc:sldMk cId="1113685628" sldId="2147374923"/>
            <ac:spMk id="2277" creationId="{0A8FC5E6-D0D5-5B30-3827-054F06484C11}"/>
          </ac:spMkLst>
        </pc:spChg>
        <pc:spChg chg="mod">
          <ac:chgData name="Parth P Ved" userId="4b0ec5b8-7ef9-4dc0-8d36-4c3446bef2c8" providerId="ADAL" clId="{66725D04-7957-4E8B-8251-911A7F80CE25}" dt="2023-09-09T08:31:42.117" v="2362"/>
          <ac:spMkLst>
            <pc:docMk/>
            <pc:sldMk cId="1113685628" sldId="2147374923"/>
            <ac:spMk id="2279" creationId="{87C544E3-2DFF-31CC-86CC-F3B1996BC9C4}"/>
          </ac:spMkLst>
        </pc:spChg>
        <pc:spChg chg="mod">
          <ac:chgData name="Parth P Ved" userId="4b0ec5b8-7ef9-4dc0-8d36-4c3446bef2c8" providerId="ADAL" clId="{66725D04-7957-4E8B-8251-911A7F80CE25}" dt="2023-09-09T08:31:42.117" v="2362"/>
          <ac:spMkLst>
            <pc:docMk/>
            <pc:sldMk cId="1113685628" sldId="2147374923"/>
            <ac:spMk id="2280" creationId="{2968B11E-A2FE-CFC9-68FB-566C1BA9FE4F}"/>
          </ac:spMkLst>
        </pc:spChg>
        <pc:spChg chg="mod">
          <ac:chgData name="Parth P Ved" userId="4b0ec5b8-7ef9-4dc0-8d36-4c3446bef2c8" providerId="ADAL" clId="{66725D04-7957-4E8B-8251-911A7F80CE25}" dt="2023-09-09T08:31:42.117" v="2362"/>
          <ac:spMkLst>
            <pc:docMk/>
            <pc:sldMk cId="1113685628" sldId="2147374923"/>
            <ac:spMk id="2281" creationId="{4D2685B9-C680-9773-C12A-80D06A7B9B7B}"/>
          </ac:spMkLst>
        </pc:spChg>
        <pc:spChg chg="mod">
          <ac:chgData name="Parth P Ved" userId="4b0ec5b8-7ef9-4dc0-8d36-4c3446bef2c8" providerId="ADAL" clId="{66725D04-7957-4E8B-8251-911A7F80CE25}" dt="2023-09-09T08:31:42.117" v="2362"/>
          <ac:spMkLst>
            <pc:docMk/>
            <pc:sldMk cId="1113685628" sldId="2147374923"/>
            <ac:spMk id="2282" creationId="{5B786413-B0E2-0EE3-2DC9-FC046E6CB43E}"/>
          </ac:spMkLst>
        </pc:spChg>
        <pc:spChg chg="mod">
          <ac:chgData name="Parth P Ved" userId="4b0ec5b8-7ef9-4dc0-8d36-4c3446bef2c8" providerId="ADAL" clId="{66725D04-7957-4E8B-8251-911A7F80CE25}" dt="2023-09-09T08:31:42.117" v="2362"/>
          <ac:spMkLst>
            <pc:docMk/>
            <pc:sldMk cId="1113685628" sldId="2147374923"/>
            <ac:spMk id="2283" creationId="{005CA708-4299-23FD-9AE9-7755376A8993}"/>
          </ac:spMkLst>
        </pc:spChg>
        <pc:spChg chg="mod">
          <ac:chgData name="Parth P Ved" userId="4b0ec5b8-7ef9-4dc0-8d36-4c3446bef2c8" providerId="ADAL" clId="{66725D04-7957-4E8B-8251-911A7F80CE25}" dt="2023-09-09T08:31:42.117" v="2362"/>
          <ac:spMkLst>
            <pc:docMk/>
            <pc:sldMk cId="1113685628" sldId="2147374923"/>
            <ac:spMk id="2284" creationId="{74C0F798-706D-AFFC-F333-B3C70B4DD24A}"/>
          </ac:spMkLst>
        </pc:spChg>
        <pc:spChg chg="mod">
          <ac:chgData name="Parth P Ved" userId="4b0ec5b8-7ef9-4dc0-8d36-4c3446bef2c8" providerId="ADAL" clId="{66725D04-7957-4E8B-8251-911A7F80CE25}" dt="2023-09-09T08:31:42.117" v="2362"/>
          <ac:spMkLst>
            <pc:docMk/>
            <pc:sldMk cId="1113685628" sldId="2147374923"/>
            <ac:spMk id="2285" creationId="{F36011AC-637E-08ED-780D-9217BE8B1698}"/>
          </ac:spMkLst>
        </pc:spChg>
        <pc:spChg chg="mod">
          <ac:chgData name="Parth P Ved" userId="4b0ec5b8-7ef9-4dc0-8d36-4c3446bef2c8" providerId="ADAL" clId="{66725D04-7957-4E8B-8251-911A7F80CE25}" dt="2023-09-09T08:31:42.117" v="2362"/>
          <ac:spMkLst>
            <pc:docMk/>
            <pc:sldMk cId="1113685628" sldId="2147374923"/>
            <ac:spMk id="2286" creationId="{15F33AAC-B546-85B9-9E84-42B274F0549E}"/>
          </ac:spMkLst>
        </pc:spChg>
        <pc:spChg chg="mod">
          <ac:chgData name="Parth P Ved" userId="4b0ec5b8-7ef9-4dc0-8d36-4c3446bef2c8" providerId="ADAL" clId="{66725D04-7957-4E8B-8251-911A7F80CE25}" dt="2023-09-09T08:31:42.117" v="2362"/>
          <ac:spMkLst>
            <pc:docMk/>
            <pc:sldMk cId="1113685628" sldId="2147374923"/>
            <ac:spMk id="2287" creationId="{13A98A9A-10F2-86E2-F9A1-AC7A8977BEAD}"/>
          </ac:spMkLst>
        </pc:spChg>
        <pc:spChg chg="mod">
          <ac:chgData name="Parth P Ved" userId="4b0ec5b8-7ef9-4dc0-8d36-4c3446bef2c8" providerId="ADAL" clId="{66725D04-7957-4E8B-8251-911A7F80CE25}" dt="2023-09-09T08:31:42.117" v="2362"/>
          <ac:spMkLst>
            <pc:docMk/>
            <pc:sldMk cId="1113685628" sldId="2147374923"/>
            <ac:spMk id="2288" creationId="{5E0FCD9A-3AF9-682F-AA79-951701CE35FA}"/>
          </ac:spMkLst>
        </pc:spChg>
        <pc:spChg chg="mod">
          <ac:chgData name="Parth P Ved" userId="4b0ec5b8-7ef9-4dc0-8d36-4c3446bef2c8" providerId="ADAL" clId="{66725D04-7957-4E8B-8251-911A7F80CE25}" dt="2023-09-09T08:31:42.117" v="2362"/>
          <ac:spMkLst>
            <pc:docMk/>
            <pc:sldMk cId="1113685628" sldId="2147374923"/>
            <ac:spMk id="2289" creationId="{458D386B-ACC1-13DB-555F-26780D2B6236}"/>
          </ac:spMkLst>
        </pc:spChg>
        <pc:spChg chg="mod">
          <ac:chgData name="Parth P Ved" userId="4b0ec5b8-7ef9-4dc0-8d36-4c3446bef2c8" providerId="ADAL" clId="{66725D04-7957-4E8B-8251-911A7F80CE25}" dt="2023-09-09T08:31:42.117" v="2362"/>
          <ac:spMkLst>
            <pc:docMk/>
            <pc:sldMk cId="1113685628" sldId="2147374923"/>
            <ac:spMk id="2290" creationId="{39115356-1CC9-DDB1-0549-66F6FE73BF7A}"/>
          </ac:spMkLst>
        </pc:spChg>
        <pc:spChg chg="mod">
          <ac:chgData name="Parth P Ved" userId="4b0ec5b8-7ef9-4dc0-8d36-4c3446bef2c8" providerId="ADAL" clId="{66725D04-7957-4E8B-8251-911A7F80CE25}" dt="2023-09-09T08:31:42.117" v="2362"/>
          <ac:spMkLst>
            <pc:docMk/>
            <pc:sldMk cId="1113685628" sldId="2147374923"/>
            <ac:spMk id="2291" creationId="{2509E0F5-BD42-4773-CDB7-F2A36499DBCB}"/>
          </ac:spMkLst>
        </pc:spChg>
        <pc:spChg chg="mod">
          <ac:chgData name="Parth P Ved" userId="4b0ec5b8-7ef9-4dc0-8d36-4c3446bef2c8" providerId="ADAL" clId="{66725D04-7957-4E8B-8251-911A7F80CE25}" dt="2023-09-09T08:31:42.117" v="2362"/>
          <ac:spMkLst>
            <pc:docMk/>
            <pc:sldMk cId="1113685628" sldId="2147374923"/>
            <ac:spMk id="2292" creationId="{DB655FB4-B9EC-B4B8-5807-3D37B82A8C09}"/>
          </ac:spMkLst>
        </pc:spChg>
        <pc:spChg chg="mod">
          <ac:chgData name="Parth P Ved" userId="4b0ec5b8-7ef9-4dc0-8d36-4c3446bef2c8" providerId="ADAL" clId="{66725D04-7957-4E8B-8251-911A7F80CE25}" dt="2023-09-09T08:31:42.117" v="2362"/>
          <ac:spMkLst>
            <pc:docMk/>
            <pc:sldMk cId="1113685628" sldId="2147374923"/>
            <ac:spMk id="2293" creationId="{19BB19B2-13B1-1E58-7423-1AC1B372A3A1}"/>
          </ac:spMkLst>
        </pc:spChg>
        <pc:spChg chg="add del mod">
          <ac:chgData name="Parth P Ved" userId="4b0ec5b8-7ef9-4dc0-8d36-4c3446bef2c8" providerId="ADAL" clId="{66725D04-7957-4E8B-8251-911A7F80CE25}" dt="2023-09-09T08:31:45.402" v="2363"/>
          <ac:spMkLst>
            <pc:docMk/>
            <pc:sldMk cId="1113685628" sldId="2147374923"/>
            <ac:spMk id="2295" creationId="{BD0B3706-5CA2-2809-E0DA-A4EF1D5F3C85}"/>
          </ac:spMkLst>
        </pc:spChg>
        <pc:spChg chg="mod">
          <ac:chgData name="Parth P Ved" userId="4b0ec5b8-7ef9-4dc0-8d36-4c3446bef2c8" providerId="ADAL" clId="{66725D04-7957-4E8B-8251-911A7F80CE25}" dt="2023-09-09T08:31:42.117" v="2362"/>
          <ac:spMkLst>
            <pc:docMk/>
            <pc:sldMk cId="1113685628" sldId="2147374923"/>
            <ac:spMk id="2298" creationId="{CE8B2D7A-F017-B61A-72CE-9AC8CF151C9E}"/>
          </ac:spMkLst>
        </pc:spChg>
        <pc:spChg chg="mod">
          <ac:chgData name="Parth P Ved" userId="4b0ec5b8-7ef9-4dc0-8d36-4c3446bef2c8" providerId="ADAL" clId="{66725D04-7957-4E8B-8251-911A7F80CE25}" dt="2023-09-09T08:31:42.117" v="2362"/>
          <ac:spMkLst>
            <pc:docMk/>
            <pc:sldMk cId="1113685628" sldId="2147374923"/>
            <ac:spMk id="2299" creationId="{58AC97DB-19AF-9775-9BFA-9CDFFE0C6940}"/>
          </ac:spMkLst>
        </pc:spChg>
        <pc:spChg chg="mod">
          <ac:chgData name="Parth P Ved" userId="4b0ec5b8-7ef9-4dc0-8d36-4c3446bef2c8" providerId="ADAL" clId="{66725D04-7957-4E8B-8251-911A7F80CE25}" dt="2023-09-09T08:31:42.117" v="2362"/>
          <ac:spMkLst>
            <pc:docMk/>
            <pc:sldMk cId="1113685628" sldId="2147374923"/>
            <ac:spMk id="2300" creationId="{29F9826B-35E9-7EF9-4C7B-30D37C23734B}"/>
          </ac:spMkLst>
        </pc:spChg>
        <pc:spChg chg="mod">
          <ac:chgData name="Parth P Ved" userId="4b0ec5b8-7ef9-4dc0-8d36-4c3446bef2c8" providerId="ADAL" clId="{66725D04-7957-4E8B-8251-911A7F80CE25}" dt="2023-09-09T08:31:42.117" v="2362"/>
          <ac:spMkLst>
            <pc:docMk/>
            <pc:sldMk cId="1113685628" sldId="2147374923"/>
            <ac:spMk id="2301" creationId="{E394C6F2-47E8-1B3B-65B1-B19EB9F84318}"/>
          </ac:spMkLst>
        </pc:spChg>
        <pc:spChg chg="mod">
          <ac:chgData name="Parth P Ved" userId="4b0ec5b8-7ef9-4dc0-8d36-4c3446bef2c8" providerId="ADAL" clId="{66725D04-7957-4E8B-8251-911A7F80CE25}" dt="2023-09-09T08:31:42.117" v="2362"/>
          <ac:spMkLst>
            <pc:docMk/>
            <pc:sldMk cId="1113685628" sldId="2147374923"/>
            <ac:spMk id="2302" creationId="{297C93AA-2238-2845-7F50-F6B59EAD0733}"/>
          </ac:spMkLst>
        </pc:spChg>
        <pc:spChg chg="mod">
          <ac:chgData name="Parth P Ved" userId="4b0ec5b8-7ef9-4dc0-8d36-4c3446bef2c8" providerId="ADAL" clId="{66725D04-7957-4E8B-8251-911A7F80CE25}" dt="2023-09-09T08:31:42.117" v="2362"/>
          <ac:spMkLst>
            <pc:docMk/>
            <pc:sldMk cId="1113685628" sldId="2147374923"/>
            <ac:spMk id="2303" creationId="{00719792-0C65-659F-4B91-54A2BA2795C0}"/>
          </ac:spMkLst>
        </pc:spChg>
        <pc:spChg chg="mod">
          <ac:chgData name="Parth P Ved" userId="4b0ec5b8-7ef9-4dc0-8d36-4c3446bef2c8" providerId="ADAL" clId="{66725D04-7957-4E8B-8251-911A7F80CE25}" dt="2023-09-09T08:31:42.117" v="2362"/>
          <ac:spMkLst>
            <pc:docMk/>
            <pc:sldMk cId="1113685628" sldId="2147374923"/>
            <ac:spMk id="2304" creationId="{EDF3C825-51FA-DBF2-D36E-927E883F3760}"/>
          </ac:spMkLst>
        </pc:spChg>
        <pc:spChg chg="mod">
          <ac:chgData name="Parth P Ved" userId="4b0ec5b8-7ef9-4dc0-8d36-4c3446bef2c8" providerId="ADAL" clId="{66725D04-7957-4E8B-8251-911A7F80CE25}" dt="2023-09-09T08:31:42.117" v="2362"/>
          <ac:spMkLst>
            <pc:docMk/>
            <pc:sldMk cId="1113685628" sldId="2147374923"/>
            <ac:spMk id="2305" creationId="{B6CFF3C0-3E29-FDF9-2A9C-085E8D662CE3}"/>
          </ac:spMkLst>
        </pc:spChg>
        <pc:spChg chg="mod">
          <ac:chgData name="Parth P Ved" userId="4b0ec5b8-7ef9-4dc0-8d36-4c3446bef2c8" providerId="ADAL" clId="{66725D04-7957-4E8B-8251-911A7F80CE25}" dt="2023-09-09T08:31:42.117" v="2362"/>
          <ac:spMkLst>
            <pc:docMk/>
            <pc:sldMk cId="1113685628" sldId="2147374923"/>
            <ac:spMk id="2306" creationId="{2DA20C9C-A746-D854-33C8-6FFD9AF28C0A}"/>
          </ac:spMkLst>
        </pc:spChg>
        <pc:spChg chg="mod">
          <ac:chgData name="Parth P Ved" userId="4b0ec5b8-7ef9-4dc0-8d36-4c3446bef2c8" providerId="ADAL" clId="{66725D04-7957-4E8B-8251-911A7F80CE25}" dt="2023-09-09T08:31:42.117" v="2362"/>
          <ac:spMkLst>
            <pc:docMk/>
            <pc:sldMk cId="1113685628" sldId="2147374923"/>
            <ac:spMk id="2307" creationId="{BD6C2C6E-E5A0-CCFC-C954-8C09C0D85B98}"/>
          </ac:spMkLst>
        </pc:spChg>
        <pc:spChg chg="mod">
          <ac:chgData name="Parth P Ved" userId="4b0ec5b8-7ef9-4dc0-8d36-4c3446bef2c8" providerId="ADAL" clId="{66725D04-7957-4E8B-8251-911A7F80CE25}" dt="2023-09-09T08:31:42.117" v="2362"/>
          <ac:spMkLst>
            <pc:docMk/>
            <pc:sldMk cId="1113685628" sldId="2147374923"/>
            <ac:spMk id="2308" creationId="{7279610E-A4B9-7874-45DC-99BDB2362557}"/>
          </ac:spMkLst>
        </pc:spChg>
        <pc:spChg chg="mod">
          <ac:chgData name="Parth P Ved" userId="4b0ec5b8-7ef9-4dc0-8d36-4c3446bef2c8" providerId="ADAL" clId="{66725D04-7957-4E8B-8251-911A7F80CE25}" dt="2023-09-09T08:31:42.117" v="2362"/>
          <ac:spMkLst>
            <pc:docMk/>
            <pc:sldMk cId="1113685628" sldId="2147374923"/>
            <ac:spMk id="2309" creationId="{C9618593-3C54-55F9-CD0E-AA6BE76E6F73}"/>
          </ac:spMkLst>
        </pc:spChg>
        <pc:spChg chg="mod">
          <ac:chgData name="Parth P Ved" userId="4b0ec5b8-7ef9-4dc0-8d36-4c3446bef2c8" providerId="ADAL" clId="{66725D04-7957-4E8B-8251-911A7F80CE25}" dt="2023-09-09T08:31:42.117" v="2362"/>
          <ac:spMkLst>
            <pc:docMk/>
            <pc:sldMk cId="1113685628" sldId="2147374923"/>
            <ac:spMk id="2310" creationId="{F1166E1C-5E5A-74F6-7318-82850AE359D8}"/>
          </ac:spMkLst>
        </pc:spChg>
        <pc:spChg chg="mod">
          <ac:chgData name="Parth P Ved" userId="4b0ec5b8-7ef9-4dc0-8d36-4c3446bef2c8" providerId="ADAL" clId="{66725D04-7957-4E8B-8251-911A7F80CE25}" dt="2023-09-09T08:31:42.117" v="2362"/>
          <ac:spMkLst>
            <pc:docMk/>
            <pc:sldMk cId="1113685628" sldId="2147374923"/>
            <ac:spMk id="2311" creationId="{9C378BCC-3E49-947B-96F8-1C708E2C26FA}"/>
          </ac:spMkLst>
        </pc:spChg>
        <pc:spChg chg="mod">
          <ac:chgData name="Parth P Ved" userId="4b0ec5b8-7ef9-4dc0-8d36-4c3446bef2c8" providerId="ADAL" clId="{66725D04-7957-4E8B-8251-911A7F80CE25}" dt="2023-09-09T08:31:42.117" v="2362"/>
          <ac:spMkLst>
            <pc:docMk/>
            <pc:sldMk cId="1113685628" sldId="2147374923"/>
            <ac:spMk id="2312" creationId="{D821DE2B-C4B5-7CE5-2561-611E5B3167F2}"/>
          </ac:spMkLst>
        </pc:spChg>
        <pc:spChg chg="add del mod">
          <ac:chgData name="Parth P Ved" userId="4b0ec5b8-7ef9-4dc0-8d36-4c3446bef2c8" providerId="ADAL" clId="{66725D04-7957-4E8B-8251-911A7F80CE25}" dt="2023-09-09T08:31:45.402" v="2363"/>
          <ac:spMkLst>
            <pc:docMk/>
            <pc:sldMk cId="1113685628" sldId="2147374923"/>
            <ac:spMk id="2314" creationId="{9163945A-DFAE-9494-3043-1CB0FEB772F2}"/>
          </ac:spMkLst>
        </pc:spChg>
        <pc:spChg chg="add del mod">
          <ac:chgData name="Parth P Ved" userId="4b0ec5b8-7ef9-4dc0-8d36-4c3446bef2c8" providerId="ADAL" clId="{66725D04-7957-4E8B-8251-911A7F80CE25}" dt="2023-09-09T08:31:52.096" v="2366" actId="478"/>
          <ac:spMkLst>
            <pc:docMk/>
            <pc:sldMk cId="1113685628" sldId="2147374923"/>
            <ac:spMk id="2315" creationId="{2E39D63A-0974-6957-05C0-0D3471F4A1F4}"/>
          </ac:spMkLst>
        </pc:spChg>
        <pc:spChg chg="add del mod">
          <ac:chgData name="Parth P Ved" userId="4b0ec5b8-7ef9-4dc0-8d36-4c3446bef2c8" providerId="ADAL" clId="{66725D04-7957-4E8B-8251-911A7F80CE25}" dt="2023-09-09T08:32:03.702" v="2369" actId="478"/>
          <ac:spMkLst>
            <pc:docMk/>
            <pc:sldMk cId="1113685628" sldId="2147374923"/>
            <ac:spMk id="2316" creationId="{88567407-AC15-2FF7-ED2A-EF6C0435AA45}"/>
          </ac:spMkLst>
        </pc:spChg>
        <pc:spChg chg="add mod">
          <ac:chgData name="Parth P Ved" userId="4b0ec5b8-7ef9-4dc0-8d36-4c3446bef2c8" providerId="ADAL" clId="{66725D04-7957-4E8B-8251-911A7F80CE25}" dt="2023-09-09T08:33:10.070" v="2397" actId="20577"/>
          <ac:spMkLst>
            <pc:docMk/>
            <pc:sldMk cId="1113685628" sldId="2147374923"/>
            <ac:spMk id="2317" creationId="{947F1378-BB45-BBE8-9D4F-E7762449AD7C}"/>
          </ac:spMkLst>
        </pc:spChg>
        <pc:spChg chg="mod">
          <ac:chgData name="Parth P Ved" userId="4b0ec5b8-7ef9-4dc0-8d36-4c3446bef2c8" providerId="ADAL" clId="{66725D04-7957-4E8B-8251-911A7F80CE25}" dt="2023-09-09T08:32:39.294" v="2379" actId="255"/>
          <ac:spMkLst>
            <pc:docMk/>
            <pc:sldMk cId="1113685628" sldId="2147374923"/>
            <ac:spMk id="2326" creationId="{04B90091-0623-E024-62B9-739AEB8CBA73}"/>
          </ac:spMkLst>
        </pc:spChg>
        <pc:spChg chg="mod">
          <ac:chgData name="Parth P Ved" userId="4b0ec5b8-7ef9-4dc0-8d36-4c3446bef2c8" providerId="ADAL" clId="{66725D04-7957-4E8B-8251-911A7F80CE25}" dt="2023-09-09T08:32:39.294" v="2379" actId="255"/>
          <ac:spMkLst>
            <pc:docMk/>
            <pc:sldMk cId="1113685628" sldId="2147374923"/>
            <ac:spMk id="2327" creationId="{EE0E959B-E615-EACB-26C7-11B8CB9459DA}"/>
          </ac:spMkLst>
        </pc:spChg>
        <pc:spChg chg="mod">
          <ac:chgData name="Parth P Ved" userId="4b0ec5b8-7ef9-4dc0-8d36-4c3446bef2c8" providerId="ADAL" clId="{66725D04-7957-4E8B-8251-911A7F80CE25}" dt="2023-09-09T08:32:39.294" v="2379" actId="255"/>
          <ac:spMkLst>
            <pc:docMk/>
            <pc:sldMk cId="1113685628" sldId="2147374923"/>
            <ac:spMk id="2328" creationId="{2DBC129D-9E9A-1980-8B40-DC23E5239E14}"/>
          </ac:spMkLst>
        </pc:spChg>
        <pc:spChg chg="mod">
          <ac:chgData name="Parth P Ved" userId="4b0ec5b8-7ef9-4dc0-8d36-4c3446bef2c8" providerId="ADAL" clId="{66725D04-7957-4E8B-8251-911A7F80CE25}" dt="2023-09-09T08:32:39.294" v="2379" actId="255"/>
          <ac:spMkLst>
            <pc:docMk/>
            <pc:sldMk cId="1113685628" sldId="2147374923"/>
            <ac:spMk id="2329" creationId="{A12F5080-1762-C75A-4743-F7B65C047B6A}"/>
          </ac:spMkLst>
        </pc:spChg>
        <pc:spChg chg="mod">
          <ac:chgData name="Parth P Ved" userId="4b0ec5b8-7ef9-4dc0-8d36-4c3446bef2c8" providerId="ADAL" clId="{66725D04-7957-4E8B-8251-911A7F80CE25}" dt="2023-09-09T08:32:39.294" v="2379" actId="255"/>
          <ac:spMkLst>
            <pc:docMk/>
            <pc:sldMk cId="1113685628" sldId="2147374923"/>
            <ac:spMk id="2330" creationId="{9E99554C-046C-5465-3E57-6C967ED3B3DE}"/>
          </ac:spMkLst>
        </pc:spChg>
        <pc:spChg chg="mod">
          <ac:chgData name="Parth P Ved" userId="4b0ec5b8-7ef9-4dc0-8d36-4c3446bef2c8" providerId="ADAL" clId="{66725D04-7957-4E8B-8251-911A7F80CE25}" dt="2023-09-09T08:32:39.294" v="2379" actId="255"/>
          <ac:spMkLst>
            <pc:docMk/>
            <pc:sldMk cId="1113685628" sldId="2147374923"/>
            <ac:spMk id="2331" creationId="{3AB628F1-FD5B-2DC9-8D6E-7DCDB146F250}"/>
          </ac:spMkLst>
        </pc:spChg>
        <pc:spChg chg="mod">
          <ac:chgData name="Parth P Ved" userId="4b0ec5b8-7ef9-4dc0-8d36-4c3446bef2c8" providerId="ADAL" clId="{66725D04-7957-4E8B-8251-911A7F80CE25}" dt="2023-09-09T08:32:44.787" v="2387" actId="403"/>
          <ac:spMkLst>
            <pc:docMk/>
            <pc:sldMk cId="1113685628" sldId="2147374923"/>
            <ac:spMk id="2333" creationId="{6101CE29-4029-BDC9-BCE4-0E89B39FA15A}"/>
          </ac:spMkLst>
        </pc:spChg>
        <pc:spChg chg="mod">
          <ac:chgData name="Parth P Ved" userId="4b0ec5b8-7ef9-4dc0-8d36-4c3446bef2c8" providerId="ADAL" clId="{66725D04-7957-4E8B-8251-911A7F80CE25}" dt="2023-09-09T08:32:56.250" v="2388" actId="255"/>
          <ac:spMkLst>
            <pc:docMk/>
            <pc:sldMk cId="1113685628" sldId="2147374923"/>
            <ac:spMk id="2334" creationId="{717E0CDD-1160-4447-E74F-7136553F0616}"/>
          </ac:spMkLst>
        </pc:spChg>
        <pc:spChg chg="mod">
          <ac:chgData name="Parth P Ved" userId="4b0ec5b8-7ef9-4dc0-8d36-4c3446bef2c8" providerId="ADAL" clId="{66725D04-7957-4E8B-8251-911A7F80CE25}" dt="2023-09-09T08:32:56.250" v="2388" actId="255"/>
          <ac:spMkLst>
            <pc:docMk/>
            <pc:sldMk cId="1113685628" sldId="2147374923"/>
            <ac:spMk id="2335" creationId="{9944915F-E39C-2316-A862-43A88536D1B7}"/>
          </ac:spMkLst>
        </pc:spChg>
        <pc:spChg chg="mod">
          <ac:chgData name="Parth P Ved" userId="4b0ec5b8-7ef9-4dc0-8d36-4c3446bef2c8" providerId="ADAL" clId="{66725D04-7957-4E8B-8251-911A7F80CE25}" dt="2023-09-09T08:32:56.250" v="2388" actId="255"/>
          <ac:spMkLst>
            <pc:docMk/>
            <pc:sldMk cId="1113685628" sldId="2147374923"/>
            <ac:spMk id="2336" creationId="{98C60B7A-25DC-F898-DC07-E5E98B033F46}"/>
          </ac:spMkLst>
        </pc:spChg>
        <pc:spChg chg="mod">
          <ac:chgData name="Parth P Ved" userId="4b0ec5b8-7ef9-4dc0-8d36-4c3446bef2c8" providerId="ADAL" clId="{66725D04-7957-4E8B-8251-911A7F80CE25}" dt="2023-09-09T08:32:56.250" v="2388" actId="255"/>
          <ac:spMkLst>
            <pc:docMk/>
            <pc:sldMk cId="1113685628" sldId="2147374923"/>
            <ac:spMk id="2337" creationId="{58738083-0A74-CE70-441E-0C84543E74BE}"/>
          </ac:spMkLst>
        </pc:spChg>
        <pc:spChg chg="mod">
          <ac:chgData name="Parth P Ved" userId="4b0ec5b8-7ef9-4dc0-8d36-4c3446bef2c8" providerId="ADAL" clId="{66725D04-7957-4E8B-8251-911A7F80CE25}" dt="2023-09-09T08:32:39.294" v="2379" actId="255"/>
          <ac:spMkLst>
            <pc:docMk/>
            <pc:sldMk cId="1113685628" sldId="2147374923"/>
            <ac:spMk id="2338" creationId="{3E1E6837-BFC8-B258-23DF-C0F2956F3E11}"/>
          </ac:spMkLst>
        </pc:spChg>
        <pc:spChg chg="mod">
          <ac:chgData name="Parth P Ved" userId="4b0ec5b8-7ef9-4dc0-8d36-4c3446bef2c8" providerId="ADAL" clId="{66725D04-7957-4E8B-8251-911A7F80CE25}" dt="2023-09-09T08:32:39.294" v="2379" actId="255"/>
          <ac:spMkLst>
            <pc:docMk/>
            <pc:sldMk cId="1113685628" sldId="2147374923"/>
            <ac:spMk id="2339" creationId="{C9089B36-9D47-A7E3-2F4D-87CCD451C812}"/>
          </ac:spMkLst>
        </pc:spChg>
        <pc:spChg chg="mod">
          <ac:chgData name="Parth P Ved" userId="4b0ec5b8-7ef9-4dc0-8d36-4c3446bef2c8" providerId="ADAL" clId="{66725D04-7957-4E8B-8251-911A7F80CE25}" dt="2023-09-09T08:32:56.250" v="2388" actId="255"/>
          <ac:spMkLst>
            <pc:docMk/>
            <pc:sldMk cId="1113685628" sldId="2147374923"/>
            <ac:spMk id="2340" creationId="{6E7BD93E-ED69-B156-96C9-0E21EFDCB2DE}"/>
          </ac:spMkLst>
        </pc:spChg>
        <pc:spChg chg="mod">
          <ac:chgData name="Parth P Ved" userId="4b0ec5b8-7ef9-4dc0-8d36-4c3446bef2c8" providerId="ADAL" clId="{66725D04-7957-4E8B-8251-911A7F80CE25}" dt="2023-09-09T08:32:39.294" v="2379" actId="255"/>
          <ac:spMkLst>
            <pc:docMk/>
            <pc:sldMk cId="1113685628" sldId="2147374923"/>
            <ac:spMk id="2341" creationId="{4B8A3307-62D8-2876-245C-1B1BF803D4C2}"/>
          </ac:spMkLst>
        </pc:spChg>
        <pc:spChg chg="mod">
          <ac:chgData name="Parth P Ved" userId="4b0ec5b8-7ef9-4dc0-8d36-4c3446bef2c8" providerId="ADAL" clId="{66725D04-7957-4E8B-8251-911A7F80CE25}" dt="2023-09-09T08:32:39.294" v="2379" actId="255"/>
          <ac:spMkLst>
            <pc:docMk/>
            <pc:sldMk cId="1113685628" sldId="2147374923"/>
            <ac:spMk id="2342" creationId="{989B1B5D-6A8A-D2C8-207E-A58E28551B70}"/>
          </ac:spMkLst>
        </pc:spChg>
        <pc:spChg chg="mod">
          <ac:chgData name="Parth P Ved" userId="4b0ec5b8-7ef9-4dc0-8d36-4c3446bef2c8" providerId="ADAL" clId="{66725D04-7957-4E8B-8251-911A7F80CE25}" dt="2023-09-09T08:32:39.294" v="2379" actId="255"/>
          <ac:spMkLst>
            <pc:docMk/>
            <pc:sldMk cId="1113685628" sldId="2147374923"/>
            <ac:spMk id="2343" creationId="{2B191D7C-930D-44AA-7DD5-D735E6251710}"/>
          </ac:spMkLst>
        </pc:spChg>
        <pc:spChg chg="mod">
          <ac:chgData name="Parth P Ved" userId="4b0ec5b8-7ef9-4dc0-8d36-4c3446bef2c8" providerId="ADAL" clId="{66725D04-7957-4E8B-8251-911A7F80CE25}" dt="2023-09-09T08:32:39.294" v="2379" actId="255"/>
          <ac:spMkLst>
            <pc:docMk/>
            <pc:sldMk cId="1113685628" sldId="2147374923"/>
            <ac:spMk id="2344" creationId="{0DEA9AEA-4C9E-CDAD-5294-6DE0D13259FD}"/>
          </ac:spMkLst>
        </pc:spChg>
        <pc:spChg chg="mod">
          <ac:chgData name="Parth P Ved" userId="4b0ec5b8-7ef9-4dc0-8d36-4c3446bef2c8" providerId="ADAL" clId="{66725D04-7957-4E8B-8251-911A7F80CE25}" dt="2023-09-09T08:32:39.294" v="2379" actId="255"/>
          <ac:spMkLst>
            <pc:docMk/>
            <pc:sldMk cId="1113685628" sldId="2147374923"/>
            <ac:spMk id="2345" creationId="{8A377962-2D1D-39C1-D130-7921ED28895D}"/>
          </ac:spMkLst>
        </pc:spChg>
        <pc:spChg chg="mod">
          <ac:chgData name="Parth P Ved" userId="4b0ec5b8-7ef9-4dc0-8d36-4c3446bef2c8" providerId="ADAL" clId="{66725D04-7957-4E8B-8251-911A7F80CE25}" dt="2023-09-09T08:32:39.294" v="2379" actId="255"/>
          <ac:spMkLst>
            <pc:docMk/>
            <pc:sldMk cId="1113685628" sldId="2147374923"/>
            <ac:spMk id="2346" creationId="{984CE728-244F-67C6-83E6-BBA6143A0361}"/>
          </ac:spMkLst>
        </pc:spChg>
        <pc:spChg chg="mod">
          <ac:chgData name="Parth P Ved" userId="4b0ec5b8-7ef9-4dc0-8d36-4c3446bef2c8" providerId="ADAL" clId="{66725D04-7957-4E8B-8251-911A7F80CE25}" dt="2023-09-09T08:32:39.294" v="2379" actId="255"/>
          <ac:spMkLst>
            <pc:docMk/>
            <pc:sldMk cId="1113685628" sldId="2147374923"/>
            <ac:spMk id="2347" creationId="{4119E445-840D-38AC-5C2A-64146E930133}"/>
          </ac:spMkLst>
        </pc:spChg>
        <pc:spChg chg="add mod">
          <ac:chgData name="Parth P Ved" userId="4b0ec5b8-7ef9-4dc0-8d36-4c3446bef2c8" providerId="ADAL" clId="{66725D04-7957-4E8B-8251-911A7F80CE25}" dt="2023-09-09T08:33:24.694" v="2401" actId="120"/>
          <ac:spMkLst>
            <pc:docMk/>
            <pc:sldMk cId="1113685628" sldId="2147374923"/>
            <ac:spMk id="2349" creationId="{80A9ADEE-8667-497E-ACDC-F70797A94D36}"/>
          </ac:spMkLst>
        </pc:spChg>
        <pc:spChg chg="mod">
          <ac:chgData name="Parth P Ved" userId="4b0ec5b8-7ef9-4dc0-8d36-4c3446bef2c8" providerId="ADAL" clId="{66725D04-7957-4E8B-8251-911A7F80CE25}" dt="2023-09-09T08:31:48.567" v="2365" actId="207"/>
          <ac:spMkLst>
            <pc:docMk/>
            <pc:sldMk cId="1113685628" sldId="2147374923"/>
            <ac:spMk id="2352" creationId="{06E1B60A-7D81-33BE-9B55-BF5B41F2A398}"/>
          </ac:spMkLst>
        </pc:spChg>
        <pc:spChg chg="mod">
          <ac:chgData name="Parth P Ved" userId="4b0ec5b8-7ef9-4dc0-8d36-4c3446bef2c8" providerId="ADAL" clId="{66725D04-7957-4E8B-8251-911A7F80CE25}" dt="2023-09-09T08:31:48.567" v="2365" actId="207"/>
          <ac:spMkLst>
            <pc:docMk/>
            <pc:sldMk cId="1113685628" sldId="2147374923"/>
            <ac:spMk id="2353" creationId="{B6B8575F-7E4A-7A11-D6FB-A406162FC961}"/>
          </ac:spMkLst>
        </pc:spChg>
        <pc:spChg chg="mod">
          <ac:chgData name="Parth P Ved" userId="4b0ec5b8-7ef9-4dc0-8d36-4c3446bef2c8" providerId="ADAL" clId="{66725D04-7957-4E8B-8251-911A7F80CE25}" dt="2023-09-09T08:31:48.567" v="2365" actId="207"/>
          <ac:spMkLst>
            <pc:docMk/>
            <pc:sldMk cId="1113685628" sldId="2147374923"/>
            <ac:spMk id="2354" creationId="{35196597-F977-76DF-CD67-52ED0FAD8145}"/>
          </ac:spMkLst>
        </pc:spChg>
        <pc:spChg chg="mod">
          <ac:chgData name="Parth P Ved" userId="4b0ec5b8-7ef9-4dc0-8d36-4c3446bef2c8" providerId="ADAL" clId="{66725D04-7957-4E8B-8251-911A7F80CE25}" dt="2023-09-09T08:31:48.567" v="2365" actId="207"/>
          <ac:spMkLst>
            <pc:docMk/>
            <pc:sldMk cId="1113685628" sldId="2147374923"/>
            <ac:spMk id="2355" creationId="{C2FF01FC-C3FD-721E-9739-348EA7501E2F}"/>
          </ac:spMkLst>
        </pc:spChg>
        <pc:spChg chg="mod">
          <ac:chgData name="Parth P Ved" userId="4b0ec5b8-7ef9-4dc0-8d36-4c3446bef2c8" providerId="ADAL" clId="{66725D04-7957-4E8B-8251-911A7F80CE25}" dt="2023-09-09T08:31:48.567" v="2365" actId="207"/>
          <ac:spMkLst>
            <pc:docMk/>
            <pc:sldMk cId="1113685628" sldId="2147374923"/>
            <ac:spMk id="2356" creationId="{F4520042-62D3-EC17-0048-CE5AC718258F}"/>
          </ac:spMkLst>
        </pc:spChg>
        <pc:spChg chg="mod">
          <ac:chgData name="Parth P Ved" userId="4b0ec5b8-7ef9-4dc0-8d36-4c3446bef2c8" providerId="ADAL" clId="{66725D04-7957-4E8B-8251-911A7F80CE25}" dt="2023-09-09T08:31:48.567" v="2365" actId="207"/>
          <ac:spMkLst>
            <pc:docMk/>
            <pc:sldMk cId="1113685628" sldId="2147374923"/>
            <ac:spMk id="2357" creationId="{37B5C176-28E8-E824-A3DA-541D2A567212}"/>
          </ac:spMkLst>
        </pc:spChg>
        <pc:spChg chg="mod">
          <ac:chgData name="Parth P Ved" userId="4b0ec5b8-7ef9-4dc0-8d36-4c3446bef2c8" providerId="ADAL" clId="{66725D04-7957-4E8B-8251-911A7F80CE25}" dt="2023-09-09T08:31:48.567" v="2365" actId="207"/>
          <ac:spMkLst>
            <pc:docMk/>
            <pc:sldMk cId="1113685628" sldId="2147374923"/>
            <ac:spMk id="2358" creationId="{F20D60D6-2D1F-B407-225D-CB4219F609B0}"/>
          </ac:spMkLst>
        </pc:spChg>
        <pc:spChg chg="mod">
          <ac:chgData name="Parth P Ved" userId="4b0ec5b8-7ef9-4dc0-8d36-4c3446bef2c8" providerId="ADAL" clId="{66725D04-7957-4E8B-8251-911A7F80CE25}" dt="2023-09-09T08:31:48.567" v="2365" actId="207"/>
          <ac:spMkLst>
            <pc:docMk/>
            <pc:sldMk cId="1113685628" sldId="2147374923"/>
            <ac:spMk id="2359" creationId="{84321933-60EE-9C1B-2235-139E1E78EFF6}"/>
          </ac:spMkLst>
        </pc:spChg>
        <pc:spChg chg="mod">
          <ac:chgData name="Parth P Ved" userId="4b0ec5b8-7ef9-4dc0-8d36-4c3446bef2c8" providerId="ADAL" clId="{66725D04-7957-4E8B-8251-911A7F80CE25}" dt="2023-09-09T08:31:48.567" v="2365" actId="207"/>
          <ac:spMkLst>
            <pc:docMk/>
            <pc:sldMk cId="1113685628" sldId="2147374923"/>
            <ac:spMk id="2360" creationId="{FC586249-F33C-ED4D-C8BD-2876AA9E2CFF}"/>
          </ac:spMkLst>
        </pc:spChg>
        <pc:spChg chg="mod">
          <ac:chgData name="Parth P Ved" userId="4b0ec5b8-7ef9-4dc0-8d36-4c3446bef2c8" providerId="ADAL" clId="{66725D04-7957-4E8B-8251-911A7F80CE25}" dt="2023-09-09T08:31:48.567" v="2365" actId="207"/>
          <ac:spMkLst>
            <pc:docMk/>
            <pc:sldMk cId="1113685628" sldId="2147374923"/>
            <ac:spMk id="2361" creationId="{8C31CAB8-16E0-2D40-7235-3F3F2012A847}"/>
          </ac:spMkLst>
        </pc:spChg>
        <pc:spChg chg="mod">
          <ac:chgData name="Parth P Ved" userId="4b0ec5b8-7ef9-4dc0-8d36-4c3446bef2c8" providerId="ADAL" clId="{66725D04-7957-4E8B-8251-911A7F80CE25}" dt="2023-09-09T08:31:48.567" v="2365" actId="207"/>
          <ac:spMkLst>
            <pc:docMk/>
            <pc:sldMk cId="1113685628" sldId="2147374923"/>
            <ac:spMk id="2362" creationId="{C936A832-D3E9-A987-4384-DF1FEE8C2F7C}"/>
          </ac:spMkLst>
        </pc:spChg>
        <pc:spChg chg="mod">
          <ac:chgData name="Parth P Ved" userId="4b0ec5b8-7ef9-4dc0-8d36-4c3446bef2c8" providerId="ADAL" clId="{66725D04-7957-4E8B-8251-911A7F80CE25}" dt="2023-09-09T08:31:48.567" v="2365" actId="207"/>
          <ac:spMkLst>
            <pc:docMk/>
            <pc:sldMk cId="1113685628" sldId="2147374923"/>
            <ac:spMk id="2363" creationId="{7E15E696-8ED3-CE82-D7F3-A12C592D4B12}"/>
          </ac:spMkLst>
        </pc:spChg>
        <pc:spChg chg="mod">
          <ac:chgData name="Parth P Ved" userId="4b0ec5b8-7ef9-4dc0-8d36-4c3446bef2c8" providerId="ADAL" clId="{66725D04-7957-4E8B-8251-911A7F80CE25}" dt="2023-09-09T08:31:48.567" v="2365" actId="207"/>
          <ac:spMkLst>
            <pc:docMk/>
            <pc:sldMk cId="1113685628" sldId="2147374923"/>
            <ac:spMk id="2364" creationId="{8B89A56F-227C-6538-61D5-AA78F4D75F6B}"/>
          </ac:spMkLst>
        </pc:spChg>
        <pc:spChg chg="mod">
          <ac:chgData name="Parth P Ved" userId="4b0ec5b8-7ef9-4dc0-8d36-4c3446bef2c8" providerId="ADAL" clId="{66725D04-7957-4E8B-8251-911A7F80CE25}" dt="2023-09-09T08:31:48.567" v="2365" actId="207"/>
          <ac:spMkLst>
            <pc:docMk/>
            <pc:sldMk cId="1113685628" sldId="2147374923"/>
            <ac:spMk id="2365" creationId="{98480B64-FF13-748B-2818-CB4E49FD050D}"/>
          </ac:spMkLst>
        </pc:spChg>
        <pc:spChg chg="mod">
          <ac:chgData name="Parth P Ved" userId="4b0ec5b8-7ef9-4dc0-8d36-4c3446bef2c8" providerId="ADAL" clId="{66725D04-7957-4E8B-8251-911A7F80CE25}" dt="2023-09-09T08:31:48.567" v="2365" actId="207"/>
          <ac:spMkLst>
            <pc:docMk/>
            <pc:sldMk cId="1113685628" sldId="2147374923"/>
            <ac:spMk id="2366" creationId="{15367B8B-A1FB-F9D3-E5AB-4B14095B518F}"/>
          </ac:spMkLst>
        </pc:spChg>
        <pc:spChg chg="add mod">
          <ac:chgData name="Parth P Ved" userId="4b0ec5b8-7ef9-4dc0-8d36-4c3446bef2c8" providerId="ADAL" clId="{66725D04-7957-4E8B-8251-911A7F80CE25}" dt="2023-09-09T08:32:34.888" v="2378" actId="1076"/>
          <ac:spMkLst>
            <pc:docMk/>
            <pc:sldMk cId="1113685628" sldId="2147374923"/>
            <ac:spMk id="2368" creationId="{5E7E67BE-6787-0E20-9594-EDBA18BDAE62}"/>
          </ac:spMkLst>
        </pc:spChg>
        <pc:grpChg chg="add del mod">
          <ac:chgData name="Parth P Ved" userId="4b0ec5b8-7ef9-4dc0-8d36-4c3446bef2c8" providerId="ADAL" clId="{66725D04-7957-4E8B-8251-911A7F80CE25}" dt="2023-09-09T08:31:37.629" v="2361"/>
          <ac:grpSpMkLst>
            <pc:docMk/>
            <pc:sldMk cId="1113685628" sldId="2147374923"/>
            <ac:grpSpMk id="6" creationId="{7371987A-8038-B262-974A-5A8D3D2A17DF}"/>
          </ac:grpSpMkLst>
        </pc:grpChg>
        <pc:grpChg chg="mod">
          <ac:chgData name="Parth P Ved" userId="4b0ec5b8-7ef9-4dc0-8d36-4c3446bef2c8" providerId="ADAL" clId="{66725D04-7957-4E8B-8251-911A7F80CE25}" dt="2023-09-09T08:31:36.146" v="2360"/>
          <ac:grpSpMkLst>
            <pc:docMk/>
            <pc:sldMk cId="1113685628" sldId="2147374923"/>
            <ac:grpSpMk id="7" creationId="{D15F2980-4864-FC50-E918-05B49FA50A56}"/>
          </ac:grpSpMkLst>
        </pc:grpChg>
        <pc:grpChg chg="mod">
          <ac:chgData name="Parth P Ved" userId="4b0ec5b8-7ef9-4dc0-8d36-4c3446bef2c8" providerId="ADAL" clId="{66725D04-7957-4E8B-8251-911A7F80CE25}" dt="2023-09-09T08:31:36.146" v="2360"/>
          <ac:grpSpMkLst>
            <pc:docMk/>
            <pc:sldMk cId="1113685628" sldId="2147374923"/>
            <ac:grpSpMk id="8" creationId="{F07B83F0-3572-1001-5E8C-C151BDC31193}"/>
          </ac:grpSpMkLst>
        </pc:grpChg>
        <pc:grpChg chg="mod">
          <ac:chgData name="Parth P Ved" userId="4b0ec5b8-7ef9-4dc0-8d36-4c3446bef2c8" providerId="ADAL" clId="{66725D04-7957-4E8B-8251-911A7F80CE25}" dt="2023-09-09T08:31:36.146" v="2360"/>
          <ac:grpSpMkLst>
            <pc:docMk/>
            <pc:sldMk cId="1113685628" sldId="2147374923"/>
            <ac:grpSpMk id="9" creationId="{2D40E87D-5522-2149-898A-79AC60CEDE3D}"/>
          </ac:grpSpMkLst>
        </pc:grpChg>
        <pc:grpChg chg="mod">
          <ac:chgData name="Parth P Ved" userId="4b0ec5b8-7ef9-4dc0-8d36-4c3446bef2c8" providerId="ADAL" clId="{66725D04-7957-4E8B-8251-911A7F80CE25}" dt="2023-09-09T08:31:36.146" v="2360"/>
          <ac:grpSpMkLst>
            <pc:docMk/>
            <pc:sldMk cId="1113685628" sldId="2147374923"/>
            <ac:grpSpMk id="10" creationId="{956864B8-224A-123A-B630-083F6548054F}"/>
          </ac:grpSpMkLst>
        </pc:grpChg>
        <pc:grpChg chg="mod">
          <ac:chgData name="Parth P Ved" userId="4b0ec5b8-7ef9-4dc0-8d36-4c3446bef2c8" providerId="ADAL" clId="{66725D04-7957-4E8B-8251-911A7F80CE25}" dt="2023-09-09T08:31:36.146" v="2360"/>
          <ac:grpSpMkLst>
            <pc:docMk/>
            <pc:sldMk cId="1113685628" sldId="2147374923"/>
            <ac:grpSpMk id="11" creationId="{E105F461-B16B-8BB0-84E9-7EF23EDBC7D9}"/>
          </ac:grpSpMkLst>
        </pc:grpChg>
        <pc:grpChg chg="mod">
          <ac:chgData name="Parth P Ved" userId="4b0ec5b8-7ef9-4dc0-8d36-4c3446bef2c8" providerId="ADAL" clId="{66725D04-7957-4E8B-8251-911A7F80CE25}" dt="2023-09-09T08:31:36.146" v="2360"/>
          <ac:grpSpMkLst>
            <pc:docMk/>
            <pc:sldMk cId="1113685628" sldId="2147374923"/>
            <ac:grpSpMk id="12" creationId="{330D5F2B-7CFD-3D68-B24A-EC441313AF20}"/>
          </ac:grpSpMkLst>
        </pc:grpChg>
        <pc:grpChg chg="mod">
          <ac:chgData name="Parth P Ved" userId="4b0ec5b8-7ef9-4dc0-8d36-4c3446bef2c8" providerId="ADAL" clId="{66725D04-7957-4E8B-8251-911A7F80CE25}" dt="2023-09-09T08:31:36.146" v="2360"/>
          <ac:grpSpMkLst>
            <pc:docMk/>
            <pc:sldMk cId="1113685628" sldId="2147374923"/>
            <ac:grpSpMk id="13" creationId="{5913D12E-D0B6-5382-AD43-8EBAE6E11A09}"/>
          </ac:grpSpMkLst>
        </pc:grpChg>
        <pc:grpChg chg="mod">
          <ac:chgData name="Parth P Ved" userId="4b0ec5b8-7ef9-4dc0-8d36-4c3446bef2c8" providerId="ADAL" clId="{66725D04-7957-4E8B-8251-911A7F80CE25}" dt="2023-09-09T08:31:36.146" v="2360"/>
          <ac:grpSpMkLst>
            <pc:docMk/>
            <pc:sldMk cId="1113685628" sldId="2147374923"/>
            <ac:grpSpMk id="20" creationId="{6DFC3C99-2D43-2FB6-4D42-980DE228321A}"/>
          </ac:grpSpMkLst>
        </pc:grpChg>
        <pc:grpChg chg="add del mod">
          <ac:chgData name="Parth P Ved" userId="4b0ec5b8-7ef9-4dc0-8d36-4c3446bef2c8" providerId="ADAL" clId="{66725D04-7957-4E8B-8251-911A7F80CE25}" dt="2023-09-09T08:31:45.402" v="2363"/>
          <ac:grpSpMkLst>
            <pc:docMk/>
            <pc:sldMk cId="1113685628" sldId="2147374923"/>
            <ac:grpSpMk id="2131" creationId="{3D68ABF4-87B9-4136-0491-994FB5007268}"/>
          </ac:grpSpMkLst>
        </pc:grpChg>
        <pc:grpChg chg="mod">
          <ac:chgData name="Parth P Ved" userId="4b0ec5b8-7ef9-4dc0-8d36-4c3446bef2c8" providerId="ADAL" clId="{66725D04-7957-4E8B-8251-911A7F80CE25}" dt="2023-09-09T08:31:42.117" v="2362"/>
          <ac:grpSpMkLst>
            <pc:docMk/>
            <pc:sldMk cId="1113685628" sldId="2147374923"/>
            <ac:grpSpMk id="2132" creationId="{5F2685C7-2943-7A70-8DA5-A5E27D87037C}"/>
          </ac:grpSpMkLst>
        </pc:grpChg>
        <pc:grpChg chg="mod">
          <ac:chgData name="Parth P Ved" userId="4b0ec5b8-7ef9-4dc0-8d36-4c3446bef2c8" providerId="ADAL" clId="{66725D04-7957-4E8B-8251-911A7F80CE25}" dt="2023-09-09T08:31:42.117" v="2362"/>
          <ac:grpSpMkLst>
            <pc:docMk/>
            <pc:sldMk cId="1113685628" sldId="2147374923"/>
            <ac:grpSpMk id="2133" creationId="{9E1FB543-B813-1E71-23DF-F9EA64580CB6}"/>
          </ac:grpSpMkLst>
        </pc:grpChg>
        <pc:grpChg chg="mod">
          <ac:chgData name="Parth P Ved" userId="4b0ec5b8-7ef9-4dc0-8d36-4c3446bef2c8" providerId="ADAL" clId="{66725D04-7957-4E8B-8251-911A7F80CE25}" dt="2023-09-09T08:31:42.117" v="2362"/>
          <ac:grpSpMkLst>
            <pc:docMk/>
            <pc:sldMk cId="1113685628" sldId="2147374923"/>
            <ac:grpSpMk id="2134" creationId="{CFAA5B8C-666C-F458-D576-1BDC942D21B8}"/>
          </ac:grpSpMkLst>
        </pc:grpChg>
        <pc:grpChg chg="mod">
          <ac:chgData name="Parth P Ved" userId="4b0ec5b8-7ef9-4dc0-8d36-4c3446bef2c8" providerId="ADAL" clId="{66725D04-7957-4E8B-8251-911A7F80CE25}" dt="2023-09-09T08:31:42.117" v="2362"/>
          <ac:grpSpMkLst>
            <pc:docMk/>
            <pc:sldMk cId="1113685628" sldId="2147374923"/>
            <ac:grpSpMk id="2135" creationId="{392851B8-0C79-F0C8-2849-3AB5551F9FED}"/>
          </ac:grpSpMkLst>
        </pc:grpChg>
        <pc:grpChg chg="mod">
          <ac:chgData name="Parth P Ved" userId="4b0ec5b8-7ef9-4dc0-8d36-4c3446bef2c8" providerId="ADAL" clId="{66725D04-7957-4E8B-8251-911A7F80CE25}" dt="2023-09-09T08:31:42.117" v="2362"/>
          <ac:grpSpMkLst>
            <pc:docMk/>
            <pc:sldMk cId="1113685628" sldId="2147374923"/>
            <ac:grpSpMk id="2136" creationId="{C1E38C7C-4E0D-0D76-4A6B-5FE9BC03F38E}"/>
          </ac:grpSpMkLst>
        </pc:grpChg>
        <pc:grpChg chg="mod">
          <ac:chgData name="Parth P Ved" userId="4b0ec5b8-7ef9-4dc0-8d36-4c3446bef2c8" providerId="ADAL" clId="{66725D04-7957-4E8B-8251-911A7F80CE25}" dt="2023-09-09T08:31:42.117" v="2362"/>
          <ac:grpSpMkLst>
            <pc:docMk/>
            <pc:sldMk cId="1113685628" sldId="2147374923"/>
            <ac:grpSpMk id="2137" creationId="{9FD5CA5A-F461-783A-016E-2E54E5D794F1}"/>
          </ac:grpSpMkLst>
        </pc:grpChg>
        <pc:grpChg chg="mod">
          <ac:chgData name="Parth P Ved" userId="4b0ec5b8-7ef9-4dc0-8d36-4c3446bef2c8" providerId="ADAL" clId="{66725D04-7957-4E8B-8251-911A7F80CE25}" dt="2023-09-09T08:31:42.117" v="2362"/>
          <ac:grpSpMkLst>
            <pc:docMk/>
            <pc:sldMk cId="1113685628" sldId="2147374923"/>
            <ac:grpSpMk id="2138" creationId="{EEA284F4-0490-84B5-9CF1-E599B5C2CB34}"/>
          </ac:grpSpMkLst>
        </pc:grpChg>
        <pc:grpChg chg="del">
          <ac:chgData name="Parth P Ved" userId="4b0ec5b8-7ef9-4dc0-8d36-4c3446bef2c8" providerId="ADAL" clId="{66725D04-7957-4E8B-8251-911A7F80CE25}" dt="2023-09-09T08:31:35.540" v="2359" actId="478"/>
          <ac:grpSpMkLst>
            <pc:docMk/>
            <pc:sldMk cId="1113685628" sldId="2147374923"/>
            <ac:grpSpMk id="2178" creationId="{7FCDFF26-9A24-84B2-A7A6-68B1283BA35A}"/>
          </ac:grpSpMkLst>
        </pc:grpChg>
        <pc:grpChg chg="del">
          <ac:chgData name="Parth P Ved" userId="4b0ec5b8-7ef9-4dc0-8d36-4c3446bef2c8" providerId="ADAL" clId="{66725D04-7957-4E8B-8251-911A7F80CE25}" dt="2023-09-09T08:31:35.540" v="2359" actId="478"/>
          <ac:grpSpMkLst>
            <pc:docMk/>
            <pc:sldMk cId="1113685628" sldId="2147374923"/>
            <ac:grpSpMk id="2179" creationId="{D1CB951A-B79B-03A8-6627-CD2820769E74}"/>
          </ac:grpSpMkLst>
        </pc:grpChg>
        <pc:grpChg chg="del">
          <ac:chgData name="Parth P Ved" userId="4b0ec5b8-7ef9-4dc0-8d36-4c3446bef2c8" providerId="ADAL" clId="{66725D04-7957-4E8B-8251-911A7F80CE25}" dt="2023-09-09T08:31:35.540" v="2359" actId="478"/>
          <ac:grpSpMkLst>
            <pc:docMk/>
            <pc:sldMk cId="1113685628" sldId="2147374923"/>
            <ac:grpSpMk id="2180" creationId="{9FA9675F-44E5-E136-675B-E98AB8B132CB}"/>
          </ac:grpSpMkLst>
        </pc:grpChg>
        <pc:grpChg chg="del">
          <ac:chgData name="Parth P Ved" userId="4b0ec5b8-7ef9-4dc0-8d36-4c3446bef2c8" providerId="ADAL" clId="{66725D04-7957-4E8B-8251-911A7F80CE25}" dt="2023-09-09T08:31:35.540" v="2359" actId="478"/>
          <ac:grpSpMkLst>
            <pc:docMk/>
            <pc:sldMk cId="1113685628" sldId="2147374923"/>
            <ac:grpSpMk id="2181" creationId="{1758D5AC-0556-03C0-C3BC-8F641EF09FAD}"/>
          </ac:grpSpMkLst>
        </pc:grpChg>
        <pc:grpChg chg="del">
          <ac:chgData name="Parth P Ved" userId="4b0ec5b8-7ef9-4dc0-8d36-4c3446bef2c8" providerId="ADAL" clId="{66725D04-7957-4E8B-8251-911A7F80CE25}" dt="2023-09-09T08:31:35.540" v="2359" actId="478"/>
          <ac:grpSpMkLst>
            <pc:docMk/>
            <pc:sldMk cId="1113685628" sldId="2147374923"/>
            <ac:grpSpMk id="2182" creationId="{4388B4F5-4EFD-5D37-281E-66EC18DD642F}"/>
          </ac:grpSpMkLst>
        </pc:grpChg>
        <pc:grpChg chg="add del mod">
          <ac:chgData name="Parth P Ved" userId="4b0ec5b8-7ef9-4dc0-8d36-4c3446bef2c8" providerId="ADAL" clId="{66725D04-7957-4E8B-8251-911A7F80CE25}" dt="2023-09-09T08:31:37.629" v="2361"/>
          <ac:grpSpMkLst>
            <pc:docMk/>
            <pc:sldMk cId="1113685628" sldId="2147374923"/>
            <ac:grpSpMk id="2269" creationId="{8A2A65E8-CD5D-47FC-CEDF-69B2582ED2A6}"/>
          </ac:grpSpMkLst>
        </pc:grpChg>
        <pc:grpChg chg="mod">
          <ac:chgData name="Parth P Ved" userId="4b0ec5b8-7ef9-4dc0-8d36-4c3446bef2c8" providerId="ADAL" clId="{66725D04-7957-4E8B-8251-911A7F80CE25}" dt="2023-09-09T08:31:36.146" v="2360"/>
          <ac:grpSpMkLst>
            <pc:docMk/>
            <pc:sldMk cId="1113685628" sldId="2147374923"/>
            <ac:grpSpMk id="2270" creationId="{71D45D52-B793-3677-07AA-02C73189BBDE}"/>
          </ac:grpSpMkLst>
        </pc:grpChg>
        <pc:grpChg chg="mod">
          <ac:chgData name="Parth P Ved" userId="4b0ec5b8-7ef9-4dc0-8d36-4c3446bef2c8" providerId="ADAL" clId="{66725D04-7957-4E8B-8251-911A7F80CE25}" dt="2023-09-09T08:31:42.117" v="2362"/>
          <ac:grpSpMkLst>
            <pc:docMk/>
            <pc:sldMk cId="1113685628" sldId="2147374923"/>
            <ac:grpSpMk id="2278" creationId="{C0807737-8AA6-A152-C517-D41072950B89}"/>
          </ac:grpSpMkLst>
        </pc:grpChg>
        <pc:grpChg chg="add del mod">
          <ac:chgData name="Parth P Ved" userId="4b0ec5b8-7ef9-4dc0-8d36-4c3446bef2c8" providerId="ADAL" clId="{66725D04-7957-4E8B-8251-911A7F80CE25}" dt="2023-09-09T08:31:45.402" v="2363"/>
          <ac:grpSpMkLst>
            <pc:docMk/>
            <pc:sldMk cId="1113685628" sldId="2147374923"/>
            <ac:grpSpMk id="2296" creationId="{C67FE4E5-3DE4-24AF-D7F7-3EF74B3F8B43}"/>
          </ac:grpSpMkLst>
        </pc:grpChg>
        <pc:grpChg chg="mod">
          <ac:chgData name="Parth P Ved" userId="4b0ec5b8-7ef9-4dc0-8d36-4c3446bef2c8" providerId="ADAL" clId="{66725D04-7957-4E8B-8251-911A7F80CE25}" dt="2023-09-09T08:31:42.117" v="2362"/>
          <ac:grpSpMkLst>
            <pc:docMk/>
            <pc:sldMk cId="1113685628" sldId="2147374923"/>
            <ac:grpSpMk id="2297" creationId="{7FFFA528-6E25-8112-6021-11975DCBAF22}"/>
          </ac:grpSpMkLst>
        </pc:grpChg>
        <pc:grpChg chg="add mod">
          <ac:chgData name="Parth P Ved" userId="4b0ec5b8-7ef9-4dc0-8d36-4c3446bef2c8" providerId="ADAL" clId="{66725D04-7957-4E8B-8251-911A7F80CE25}" dt="2023-09-09T08:32:30.073" v="2377" actId="14100"/>
          <ac:grpSpMkLst>
            <pc:docMk/>
            <pc:sldMk cId="1113685628" sldId="2147374923"/>
            <ac:grpSpMk id="2318" creationId="{0B119652-B663-812C-3588-647485E66A61}"/>
          </ac:grpSpMkLst>
        </pc:grpChg>
        <pc:grpChg chg="mod">
          <ac:chgData name="Parth P Ved" userId="4b0ec5b8-7ef9-4dc0-8d36-4c3446bef2c8" providerId="ADAL" clId="{66725D04-7957-4E8B-8251-911A7F80CE25}" dt="2023-09-09T08:31:45.460" v="2364"/>
          <ac:grpSpMkLst>
            <pc:docMk/>
            <pc:sldMk cId="1113685628" sldId="2147374923"/>
            <ac:grpSpMk id="2319" creationId="{F20488DD-6CBE-CE7B-1D77-C2FA2057A422}"/>
          </ac:grpSpMkLst>
        </pc:grpChg>
        <pc:grpChg chg="mod">
          <ac:chgData name="Parth P Ved" userId="4b0ec5b8-7ef9-4dc0-8d36-4c3446bef2c8" providerId="ADAL" clId="{66725D04-7957-4E8B-8251-911A7F80CE25}" dt="2023-09-09T08:31:45.460" v="2364"/>
          <ac:grpSpMkLst>
            <pc:docMk/>
            <pc:sldMk cId="1113685628" sldId="2147374923"/>
            <ac:grpSpMk id="2320" creationId="{871FE936-FE18-8EE6-BF1F-CCB2337F04FE}"/>
          </ac:grpSpMkLst>
        </pc:grpChg>
        <pc:grpChg chg="mod">
          <ac:chgData name="Parth P Ved" userId="4b0ec5b8-7ef9-4dc0-8d36-4c3446bef2c8" providerId="ADAL" clId="{66725D04-7957-4E8B-8251-911A7F80CE25}" dt="2023-09-09T08:31:45.460" v="2364"/>
          <ac:grpSpMkLst>
            <pc:docMk/>
            <pc:sldMk cId="1113685628" sldId="2147374923"/>
            <ac:grpSpMk id="2321" creationId="{0AE2F5ED-4415-F90B-7BEB-88BD7392B9EC}"/>
          </ac:grpSpMkLst>
        </pc:grpChg>
        <pc:grpChg chg="mod">
          <ac:chgData name="Parth P Ved" userId="4b0ec5b8-7ef9-4dc0-8d36-4c3446bef2c8" providerId="ADAL" clId="{66725D04-7957-4E8B-8251-911A7F80CE25}" dt="2023-09-09T08:31:45.460" v="2364"/>
          <ac:grpSpMkLst>
            <pc:docMk/>
            <pc:sldMk cId="1113685628" sldId="2147374923"/>
            <ac:grpSpMk id="2322" creationId="{25ECF3F5-B0F4-1D70-E058-2C6461147A21}"/>
          </ac:grpSpMkLst>
        </pc:grpChg>
        <pc:grpChg chg="mod">
          <ac:chgData name="Parth P Ved" userId="4b0ec5b8-7ef9-4dc0-8d36-4c3446bef2c8" providerId="ADAL" clId="{66725D04-7957-4E8B-8251-911A7F80CE25}" dt="2023-09-09T08:31:45.460" v="2364"/>
          <ac:grpSpMkLst>
            <pc:docMk/>
            <pc:sldMk cId="1113685628" sldId="2147374923"/>
            <ac:grpSpMk id="2323" creationId="{E11D3C90-7999-DED7-3474-0CCABC713652}"/>
          </ac:grpSpMkLst>
        </pc:grpChg>
        <pc:grpChg chg="mod">
          <ac:chgData name="Parth P Ved" userId="4b0ec5b8-7ef9-4dc0-8d36-4c3446bef2c8" providerId="ADAL" clId="{66725D04-7957-4E8B-8251-911A7F80CE25}" dt="2023-09-09T08:31:45.460" v="2364"/>
          <ac:grpSpMkLst>
            <pc:docMk/>
            <pc:sldMk cId="1113685628" sldId="2147374923"/>
            <ac:grpSpMk id="2324" creationId="{8D266567-153D-6184-6063-76B112ECFC34}"/>
          </ac:grpSpMkLst>
        </pc:grpChg>
        <pc:grpChg chg="mod">
          <ac:chgData name="Parth P Ved" userId="4b0ec5b8-7ef9-4dc0-8d36-4c3446bef2c8" providerId="ADAL" clId="{66725D04-7957-4E8B-8251-911A7F80CE25}" dt="2023-09-09T08:31:45.460" v="2364"/>
          <ac:grpSpMkLst>
            <pc:docMk/>
            <pc:sldMk cId="1113685628" sldId="2147374923"/>
            <ac:grpSpMk id="2325" creationId="{5C60C42B-FC40-6A54-A65E-CD3012E35AF4}"/>
          </ac:grpSpMkLst>
        </pc:grpChg>
        <pc:grpChg chg="mod">
          <ac:chgData name="Parth P Ved" userId="4b0ec5b8-7ef9-4dc0-8d36-4c3446bef2c8" providerId="ADAL" clId="{66725D04-7957-4E8B-8251-911A7F80CE25}" dt="2023-09-09T08:31:45.460" v="2364"/>
          <ac:grpSpMkLst>
            <pc:docMk/>
            <pc:sldMk cId="1113685628" sldId="2147374923"/>
            <ac:grpSpMk id="2332" creationId="{809EA116-A49C-F3CD-1594-27D285FEEE51}"/>
          </ac:grpSpMkLst>
        </pc:grpChg>
        <pc:grpChg chg="add mod">
          <ac:chgData name="Parth P Ved" userId="4b0ec5b8-7ef9-4dc0-8d36-4c3446bef2c8" providerId="ADAL" clId="{66725D04-7957-4E8B-8251-911A7F80CE25}" dt="2023-09-09T08:33:36.637" v="2403" actId="14100"/>
          <ac:grpSpMkLst>
            <pc:docMk/>
            <pc:sldMk cId="1113685628" sldId="2147374923"/>
            <ac:grpSpMk id="2350" creationId="{843EAAAD-8E3A-9B88-4713-6706A74854BC}"/>
          </ac:grpSpMkLst>
        </pc:grpChg>
        <pc:grpChg chg="mod">
          <ac:chgData name="Parth P Ved" userId="4b0ec5b8-7ef9-4dc0-8d36-4c3446bef2c8" providerId="ADAL" clId="{66725D04-7957-4E8B-8251-911A7F80CE25}" dt="2023-09-09T08:31:45.460" v="2364"/>
          <ac:grpSpMkLst>
            <pc:docMk/>
            <pc:sldMk cId="1113685628" sldId="2147374923"/>
            <ac:grpSpMk id="2351" creationId="{761053B4-6C2F-D646-9BF4-880660DD6937}"/>
          </ac:grpSpMkLst>
        </pc:grpChg>
        <pc:graphicFrameChg chg="add del mod">
          <ac:chgData name="Parth P Ved" userId="4b0ec5b8-7ef9-4dc0-8d36-4c3446bef2c8" providerId="ADAL" clId="{66725D04-7957-4E8B-8251-911A7F80CE25}" dt="2023-09-09T08:31:37.629" v="2361"/>
          <ac:graphicFrameMkLst>
            <pc:docMk/>
            <pc:sldMk cId="1113685628" sldId="2147374923"/>
            <ac:graphicFrameMk id="2126" creationId="{0DDF1684-076B-A8EF-F574-9B517A73AFC3}"/>
          </ac:graphicFrameMkLst>
        </pc:graphicFrameChg>
        <pc:graphicFrameChg chg="add del mod">
          <ac:chgData name="Parth P Ved" userId="4b0ec5b8-7ef9-4dc0-8d36-4c3446bef2c8" providerId="ADAL" clId="{66725D04-7957-4E8B-8251-911A7F80CE25}" dt="2023-09-09T08:31:45.402" v="2363"/>
          <ac:graphicFrameMkLst>
            <pc:docMk/>
            <pc:sldMk cId="1113685628" sldId="2147374923"/>
            <ac:graphicFrameMk id="2313" creationId="{07D83814-2F6E-1BC6-F87E-504E5089067A}"/>
          </ac:graphicFrameMkLst>
        </pc:graphicFrameChg>
        <pc:graphicFrameChg chg="add mod modGraphic">
          <ac:chgData name="Parth P Ved" userId="4b0ec5b8-7ef9-4dc0-8d36-4c3446bef2c8" providerId="ADAL" clId="{66725D04-7957-4E8B-8251-911A7F80CE25}" dt="2023-09-09T08:34:07.928" v="2415" actId="20577"/>
          <ac:graphicFrameMkLst>
            <pc:docMk/>
            <pc:sldMk cId="1113685628" sldId="2147374923"/>
            <ac:graphicFrameMk id="2367" creationId="{05594FCE-F8BD-74E2-6110-DA281949E4A5}"/>
          </ac:graphicFrameMkLst>
        </pc:graphicFrameChg>
        <pc:cxnChg chg="del">
          <ac:chgData name="Parth P Ved" userId="4b0ec5b8-7ef9-4dc0-8d36-4c3446bef2c8" providerId="ADAL" clId="{66725D04-7957-4E8B-8251-911A7F80CE25}" dt="2023-09-09T08:31:35.540" v="2359" actId="478"/>
          <ac:cxnSpMkLst>
            <pc:docMk/>
            <pc:sldMk cId="1113685628" sldId="2147374923"/>
            <ac:cxnSpMk id="2139" creationId="{D53F0759-B041-C81F-AC42-8A4A8810EE55}"/>
          </ac:cxnSpMkLst>
        </pc:cxnChg>
        <pc:cxnChg chg="del">
          <ac:chgData name="Parth P Ved" userId="4b0ec5b8-7ef9-4dc0-8d36-4c3446bef2c8" providerId="ADAL" clId="{66725D04-7957-4E8B-8251-911A7F80CE25}" dt="2023-09-09T08:31:35.540" v="2359" actId="478"/>
          <ac:cxnSpMkLst>
            <pc:docMk/>
            <pc:sldMk cId="1113685628" sldId="2147374923"/>
            <ac:cxnSpMk id="2140" creationId="{E8C282D1-12EC-7CC0-733A-8009DFACC3FB}"/>
          </ac:cxnSpMkLst>
        </pc:cxnChg>
        <pc:cxnChg chg="del">
          <ac:chgData name="Parth P Ved" userId="4b0ec5b8-7ef9-4dc0-8d36-4c3446bef2c8" providerId="ADAL" clId="{66725D04-7957-4E8B-8251-911A7F80CE25}" dt="2023-09-09T08:31:35.540" v="2359" actId="478"/>
          <ac:cxnSpMkLst>
            <pc:docMk/>
            <pc:sldMk cId="1113685628" sldId="2147374923"/>
            <ac:cxnSpMk id="2141" creationId="{0562FCBC-A5E2-6052-D9E9-D27CF4774DAB}"/>
          </ac:cxnSpMkLst>
        </pc:cxnChg>
        <pc:cxnChg chg="del">
          <ac:chgData name="Parth P Ved" userId="4b0ec5b8-7ef9-4dc0-8d36-4c3446bef2c8" providerId="ADAL" clId="{66725D04-7957-4E8B-8251-911A7F80CE25}" dt="2023-09-09T08:31:35.540" v="2359" actId="478"/>
          <ac:cxnSpMkLst>
            <pc:docMk/>
            <pc:sldMk cId="1113685628" sldId="2147374923"/>
            <ac:cxnSpMk id="2146" creationId="{BA9DF68E-0D09-6AD6-67BA-1E762142D653}"/>
          </ac:cxnSpMkLst>
        </pc:cxnChg>
        <pc:cxnChg chg="del">
          <ac:chgData name="Parth P Ved" userId="4b0ec5b8-7ef9-4dc0-8d36-4c3446bef2c8" providerId="ADAL" clId="{66725D04-7957-4E8B-8251-911A7F80CE25}" dt="2023-09-09T08:31:35.540" v="2359" actId="478"/>
          <ac:cxnSpMkLst>
            <pc:docMk/>
            <pc:sldMk cId="1113685628" sldId="2147374923"/>
            <ac:cxnSpMk id="2151" creationId="{6B56AC5E-8E32-25E0-6168-7DA3E96AA082}"/>
          </ac:cxnSpMkLst>
        </pc:cxnChg>
        <pc:cxnChg chg="del">
          <ac:chgData name="Parth P Ved" userId="4b0ec5b8-7ef9-4dc0-8d36-4c3446bef2c8" providerId="ADAL" clId="{66725D04-7957-4E8B-8251-911A7F80CE25}" dt="2023-09-09T08:31:35.540" v="2359" actId="478"/>
          <ac:cxnSpMkLst>
            <pc:docMk/>
            <pc:sldMk cId="1113685628" sldId="2147374923"/>
            <ac:cxnSpMk id="2160" creationId="{0FA0BB9F-5B23-CC78-83B8-62C02CCF372E}"/>
          </ac:cxnSpMkLst>
        </pc:cxnChg>
        <pc:cxnChg chg="del">
          <ac:chgData name="Parth P Ved" userId="4b0ec5b8-7ef9-4dc0-8d36-4c3446bef2c8" providerId="ADAL" clId="{66725D04-7957-4E8B-8251-911A7F80CE25}" dt="2023-09-09T08:31:35.540" v="2359" actId="478"/>
          <ac:cxnSpMkLst>
            <pc:docMk/>
            <pc:sldMk cId="1113685628" sldId="2147374923"/>
            <ac:cxnSpMk id="2165" creationId="{1CDC63A7-0283-8848-52D8-9F0E5E485FF5}"/>
          </ac:cxnSpMkLst>
        </pc:cxnChg>
        <pc:cxnChg chg="add del mod">
          <ac:chgData name="Parth P Ved" userId="4b0ec5b8-7ef9-4dc0-8d36-4c3446bef2c8" providerId="ADAL" clId="{66725D04-7957-4E8B-8251-911A7F80CE25}" dt="2023-09-09T08:31:37.629" v="2361"/>
          <ac:cxnSpMkLst>
            <pc:docMk/>
            <pc:sldMk cId="1113685628" sldId="2147374923"/>
            <ac:cxnSpMk id="2267" creationId="{7A4D35F0-2C1F-F622-84F4-E74C17C63740}"/>
          </ac:cxnSpMkLst>
        </pc:cxnChg>
        <pc:cxnChg chg="add del mod">
          <ac:chgData name="Parth P Ved" userId="4b0ec5b8-7ef9-4dc0-8d36-4c3446bef2c8" providerId="ADAL" clId="{66725D04-7957-4E8B-8251-911A7F80CE25}" dt="2023-09-09T08:31:45.402" v="2363"/>
          <ac:cxnSpMkLst>
            <pc:docMk/>
            <pc:sldMk cId="1113685628" sldId="2147374923"/>
            <ac:cxnSpMk id="2294" creationId="{6C2BE850-0278-4674-D95D-7EB3C3F43B19}"/>
          </ac:cxnSpMkLst>
        </pc:cxnChg>
        <pc:cxnChg chg="add mod">
          <ac:chgData name="Parth P Ved" userId="4b0ec5b8-7ef9-4dc0-8d36-4c3446bef2c8" providerId="ADAL" clId="{66725D04-7957-4E8B-8251-911A7F80CE25}" dt="2023-09-09T08:32:18.255" v="2373" actId="14100"/>
          <ac:cxnSpMkLst>
            <pc:docMk/>
            <pc:sldMk cId="1113685628" sldId="2147374923"/>
            <ac:cxnSpMk id="2348" creationId="{CDFAA16B-FF2F-C9BD-8336-6C8BE7A3EA65}"/>
          </ac:cxnSpMkLst>
        </pc:cxnChg>
      </pc:sldChg>
      <pc:sldChg chg="addSp delSp modSp add mod">
        <pc:chgData name="Parth P Ved" userId="4b0ec5b8-7ef9-4dc0-8d36-4c3446bef2c8" providerId="ADAL" clId="{66725D04-7957-4E8B-8251-911A7F80CE25}" dt="2023-09-09T08:36:23.980" v="2476"/>
        <pc:sldMkLst>
          <pc:docMk/>
          <pc:sldMk cId="4063851658" sldId="2147374924"/>
        </pc:sldMkLst>
        <pc:spChg chg="mod">
          <ac:chgData name="Parth P Ved" userId="4b0ec5b8-7ef9-4dc0-8d36-4c3446bef2c8" providerId="ADAL" clId="{66725D04-7957-4E8B-8251-911A7F80CE25}" dt="2023-09-09T08:34:49.762" v="2420"/>
          <ac:spMkLst>
            <pc:docMk/>
            <pc:sldMk cId="4063851658" sldId="2147374924"/>
            <ac:spMk id="2" creationId="{DEF09EF4-86D6-9E03-B2A5-F97B5B5F14FD}"/>
          </ac:spMkLst>
        </pc:spChg>
        <pc:spChg chg="add del mod">
          <ac:chgData name="Parth P Ved" userId="4b0ec5b8-7ef9-4dc0-8d36-4c3446bef2c8" providerId="ADAL" clId="{66725D04-7957-4E8B-8251-911A7F80CE25}" dt="2023-09-09T08:34:59.561" v="2422"/>
          <ac:spMkLst>
            <pc:docMk/>
            <pc:sldMk cId="4063851658" sldId="2147374924"/>
            <ac:spMk id="3" creationId="{3275FF6B-8DDE-BEA5-649F-CFFD2F7D495C}"/>
          </ac:spMkLst>
        </pc:spChg>
        <pc:spChg chg="add del mod">
          <ac:chgData name="Parth P Ved" userId="4b0ec5b8-7ef9-4dc0-8d36-4c3446bef2c8" providerId="ADAL" clId="{66725D04-7957-4E8B-8251-911A7F80CE25}" dt="2023-09-09T08:34:59.561" v="2422"/>
          <ac:spMkLst>
            <pc:docMk/>
            <pc:sldMk cId="4063851658" sldId="2147374924"/>
            <ac:spMk id="4" creationId="{0DCEDFE9-A5A6-7B54-CC78-B82D58ACD0E8}"/>
          </ac:spMkLst>
        </pc:spChg>
        <pc:spChg chg="mod">
          <ac:chgData name="Parth P Ved" userId="4b0ec5b8-7ef9-4dc0-8d36-4c3446bef2c8" providerId="ADAL" clId="{66725D04-7957-4E8B-8251-911A7F80CE25}" dt="2023-09-09T08:34:57.080" v="2421"/>
          <ac:spMkLst>
            <pc:docMk/>
            <pc:sldMk cId="4063851658" sldId="2147374924"/>
            <ac:spMk id="8" creationId="{F6CCCC18-3694-257A-EE9D-02386F2710A4}"/>
          </ac:spMkLst>
        </pc:spChg>
        <pc:spChg chg="mod">
          <ac:chgData name="Parth P Ved" userId="4b0ec5b8-7ef9-4dc0-8d36-4c3446bef2c8" providerId="ADAL" clId="{66725D04-7957-4E8B-8251-911A7F80CE25}" dt="2023-09-09T08:34:57.080" v="2421"/>
          <ac:spMkLst>
            <pc:docMk/>
            <pc:sldMk cId="4063851658" sldId="2147374924"/>
            <ac:spMk id="9" creationId="{03C47BCF-A1D0-041B-6139-E04BA9E1823D}"/>
          </ac:spMkLst>
        </pc:spChg>
        <pc:spChg chg="mod">
          <ac:chgData name="Parth P Ved" userId="4b0ec5b8-7ef9-4dc0-8d36-4c3446bef2c8" providerId="ADAL" clId="{66725D04-7957-4E8B-8251-911A7F80CE25}" dt="2023-09-09T08:34:57.080" v="2421"/>
          <ac:spMkLst>
            <pc:docMk/>
            <pc:sldMk cId="4063851658" sldId="2147374924"/>
            <ac:spMk id="10" creationId="{6DDAC8DD-D621-A828-AA40-85C5B9F007EE}"/>
          </ac:spMkLst>
        </pc:spChg>
        <pc:spChg chg="mod">
          <ac:chgData name="Parth P Ved" userId="4b0ec5b8-7ef9-4dc0-8d36-4c3446bef2c8" providerId="ADAL" clId="{66725D04-7957-4E8B-8251-911A7F80CE25}" dt="2023-09-09T08:34:57.080" v="2421"/>
          <ac:spMkLst>
            <pc:docMk/>
            <pc:sldMk cId="4063851658" sldId="2147374924"/>
            <ac:spMk id="11" creationId="{C6C7EDA1-C29E-906D-EDFD-33F3FDAB9557}"/>
          </ac:spMkLst>
        </pc:spChg>
        <pc:spChg chg="mod">
          <ac:chgData name="Parth P Ved" userId="4b0ec5b8-7ef9-4dc0-8d36-4c3446bef2c8" providerId="ADAL" clId="{66725D04-7957-4E8B-8251-911A7F80CE25}" dt="2023-09-09T08:34:57.080" v="2421"/>
          <ac:spMkLst>
            <pc:docMk/>
            <pc:sldMk cId="4063851658" sldId="2147374924"/>
            <ac:spMk id="12" creationId="{A005AA8A-7435-E83F-5282-2300A530362C}"/>
          </ac:spMkLst>
        </pc:spChg>
        <pc:spChg chg="mod">
          <ac:chgData name="Parth P Ved" userId="4b0ec5b8-7ef9-4dc0-8d36-4c3446bef2c8" providerId="ADAL" clId="{66725D04-7957-4E8B-8251-911A7F80CE25}" dt="2023-09-09T08:34:57.080" v="2421"/>
          <ac:spMkLst>
            <pc:docMk/>
            <pc:sldMk cId="4063851658" sldId="2147374924"/>
            <ac:spMk id="13" creationId="{590369F3-8CAF-4163-F038-8E586BF8E3C9}"/>
          </ac:spMkLst>
        </pc:spChg>
        <pc:spChg chg="mod">
          <ac:chgData name="Parth P Ved" userId="4b0ec5b8-7ef9-4dc0-8d36-4c3446bef2c8" providerId="ADAL" clId="{66725D04-7957-4E8B-8251-911A7F80CE25}" dt="2023-09-09T08:34:57.080" v="2421"/>
          <ac:spMkLst>
            <pc:docMk/>
            <pc:sldMk cId="4063851658" sldId="2147374924"/>
            <ac:spMk id="14" creationId="{4C86587A-6DC0-A637-89B8-8E6DF4BE63CB}"/>
          </ac:spMkLst>
        </pc:spChg>
        <pc:spChg chg="mod">
          <ac:chgData name="Parth P Ved" userId="4b0ec5b8-7ef9-4dc0-8d36-4c3446bef2c8" providerId="ADAL" clId="{66725D04-7957-4E8B-8251-911A7F80CE25}" dt="2023-09-09T08:34:57.080" v="2421"/>
          <ac:spMkLst>
            <pc:docMk/>
            <pc:sldMk cId="4063851658" sldId="2147374924"/>
            <ac:spMk id="15" creationId="{FF2CF4D4-D9FF-3104-2250-FF9F58DAC8F7}"/>
          </ac:spMkLst>
        </pc:spChg>
        <pc:spChg chg="mod">
          <ac:chgData name="Parth P Ved" userId="4b0ec5b8-7ef9-4dc0-8d36-4c3446bef2c8" providerId="ADAL" clId="{66725D04-7957-4E8B-8251-911A7F80CE25}" dt="2023-09-09T08:34:57.080" v="2421"/>
          <ac:spMkLst>
            <pc:docMk/>
            <pc:sldMk cId="4063851658" sldId="2147374924"/>
            <ac:spMk id="16" creationId="{995BEF14-901C-AD5E-8009-AE7481F609DD}"/>
          </ac:spMkLst>
        </pc:spChg>
        <pc:spChg chg="mod">
          <ac:chgData name="Parth P Ved" userId="4b0ec5b8-7ef9-4dc0-8d36-4c3446bef2c8" providerId="ADAL" clId="{66725D04-7957-4E8B-8251-911A7F80CE25}" dt="2023-09-09T08:34:57.080" v="2421"/>
          <ac:spMkLst>
            <pc:docMk/>
            <pc:sldMk cId="4063851658" sldId="2147374924"/>
            <ac:spMk id="17" creationId="{FB66532A-51D3-7F68-E92C-56B6D09A390B}"/>
          </ac:spMkLst>
        </pc:spChg>
        <pc:spChg chg="mod">
          <ac:chgData name="Parth P Ved" userId="4b0ec5b8-7ef9-4dc0-8d36-4c3446bef2c8" providerId="ADAL" clId="{66725D04-7957-4E8B-8251-911A7F80CE25}" dt="2023-09-09T08:34:57.080" v="2421"/>
          <ac:spMkLst>
            <pc:docMk/>
            <pc:sldMk cId="4063851658" sldId="2147374924"/>
            <ac:spMk id="18" creationId="{B9863860-7D46-9118-36C1-1C375EAAC88D}"/>
          </ac:spMkLst>
        </pc:spChg>
        <pc:spChg chg="mod">
          <ac:chgData name="Parth P Ved" userId="4b0ec5b8-7ef9-4dc0-8d36-4c3446bef2c8" providerId="ADAL" clId="{66725D04-7957-4E8B-8251-911A7F80CE25}" dt="2023-09-09T08:34:57.080" v="2421"/>
          <ac:spMkLst>
            <pc:docMk/>
            <pc:sldMk cId="4063851658" sldId="2147374924"/>
            <ac:spMk id="19" creationId="{B17CC3AC-B882-8243-7B2E-2AC0E7CE1630}"/>
          </ac:spMkLst>
        </pc:spChg>
        <pc:spChg chg="mod">
          <ac:chgData name="Parth P Ved" userId="4b0ec5b8-7ef9-4dc0-8d36-4c3446bef2c8" providerId="ADAL" clId="{66725D04-7957-4E8B-8251-911A7F80CE25}" dt="2023-09-09T08:34:57.080" v="2421"/>
          <ac:spMkLst>
            <pc:docMk/>
            <pc:sldMk cId="4063851658" sldId="2147374924"/>
            <ac:spMk id="20" creationId="{37F6E742-7125-4CF0-4833-F56268B798D5}"/>
          </ac:spMkLst>
        </pc:spChg>
        <pc:spChg chg="mod">
          <ac:chgData name="Parth P Ved" userId="4b0ec5b8-7ef9-4dc0-8d36-4c3446bef2c8" providerId="ADAL" clId="{66725D04-7957-4E8B-8251-911A7F80CE25}" dt="2023-09-09T08:34:57.080" v="2421"/>
          <ac:spMkLst>
            <pc:docMk/>
            <pc:sldMk cId="4063851658" sldId="2147374924"/>
            <ac:spMk id="21" creationId="{3A4DF24A-2A20-F45F-5037-672AD46947DE}"/>
          </ac:spMkLst>
        </pc:spChg>
        <pc:spChg chg="mod">
          <ac:chgData name="Parth P Ved" userId="4b0ec5b8-7ef9-4dc0-8d36-4c3446bef2c8" providerId="ADAL" clId="{66725D04-7957-4E8B-8251-911A7F80CE25}" dt="2023-09-09T08:34:57.080" v="2421"/>
          <ac:spMkLst>
            <pc:docMk/>
            <pc:sldMk cId="4063851658" sldId="2147374924"/>
            <ac:spMk id="22" creationId="{13F07494-F719-BDC7-3DD9-32FC0178D365}"/>
          </ac:spMkLst>
        </pc:spChg>
        <pc:spChg chg="mod">
          <ac:chgData name="Parth P Ved" userId="4b0ec5b8-7ef9-4dc0-8d36-4c3446bef2c8" providerId="ADAL" clId="{66725D04-7957-4E8B-8251-911A7F80CE25}" dt="2023-09-09T08:34:57.080" v="2421"/>
          <ac:spMkLst>
            <pc:docMk/>
            <pc:sldMk cId="4063851658" sldId="2147374924"/>
            <ac:spMk id="23" creationId="{03D8AC39-8D4D-FD41-2556-D2020BAB6CFF}"/>
          </ac:spMkLst>
        </pc:spChg>
        <pc:spChg chg="mod">
          <ac:chgData name="Parth P Ved" userId="4b0ec5b8-7ef9-4dc0-8d36-4c3446bef2c8" providerId="ADAL" clId="{66725D04-7957-4E8B-8251-911A7F80CE25}" dt="2023-09-09T08:34:57.080" v="2421"/>
          <ac:spMkLst>
            <pc:docMk/>
            <pc:sldMk cId="4063851658" sldId="2147374924"/>
            <ac:spMk id="24" creationId="{2AD2ADF1-326E-9BFE-8C10-D25A17BA6B65}"/>
          </ac:spMkLst>
        </pc:spChg>
        <pc:spChg chg="mod">
          <ac:chgData name="Parth P Ved" userId="4b0ec5b8-7ef9-4dc0-8d36-4c3446bef2c8" providerId="ADAL" clId="{66725D04-7957-4E8B-8251-911A7F80CE25}" dt="2023-09-09T08:34:57.080" v="2421"/>
          <ac:spMkLst>
            <pc:docMk/>
            <pc:sldMk cId="4063851658" sldId="2147374924"/>
            <ac:spMk id="25" creationId="{6E1EB3DD-F178-4AB9-D08D-3250231C6794}"/>
          </ac:spMkLst>
        </pc:spChg>
        <pc:spChg chg="mod">
          <ac:chgData name="Parth P Ved" userId="4b0ec5b8-7ef9-4dc0-8d36-4c3446bef2c8" providerId="ADAL" clId="{66725D04-7957-4E8B-8251-911A7F80CE25}" dt="2023-09-09T08:34:57.080" v="2421"/>
          <ac:spMkLst>
            <pc:docMk/>
            <pc:sldMk cId="4063851658" sldId="2147374924"/>
            <ac:spMk id="26" creationId="{A811E650-59BB-9460-9511-BFB60CE3D142}"/>
          </ac:spMkLst>
        </pc:spChg>
        <pc:spChg chg="mod">
          <ac:chgData name="Parth P Ved" userId="4b0ec5b8-7ef9-4dc0-8d36-4c3446bef2c8" providerId="ADAL" clId="{66725D04-7957-4E8B-8251-911A7F80CE25}" dt="2023-09-09T08:34:57.080" v="2421"/>
          <ac:spMkLst>
            <pc:docMk/>
            <pc:sldMk cId="4063851658" sldId="2147374924"/>
            <ac:spMk id="27" creationId="{23774674-3420-EBBA-91CD-45E39937BAC1}"/>
          </ac:spMkLst>
        </pc:spChg>
        <pc:spChg chg="mod">
          <ac:chgData name="Parth P Ved" userId="4b0ec5b8-7ef9-4dc0-8d36-4c3446bef2c8" providerId="ADAL" clId="{66725D04-7957-4E8B-8251-911A7F80CE25}" dt="2023-09-09T08:34:57.080" v="2421"/>
          <ac:spMkLst>
            <pc:docMk/>
            <pc:sldMk cId="4063851658" sldId="2147374924"/>
            <ac:spMk id="28" creationId="{AB73376B-7878-BEF9-26F3-A03AF88F6283}"/>
          </ac:spMkLst>
        </pc:spChg>
        <pc:spChg chg="add del mod">
          <ac:chgData name="Parth P Ved" userId="4b0ec5b8-7ef9-4dc0-8d36-4c3446bef2c8" providerId="ADAL" clId="{66725D04-7957-4E8B-8251-911A7F80CE25}" dt="2023-09-09T08:34:59.561" v="2422"/>
          <ac:spMkLst>
            <pc:docMk/>
            <pc:sldMk cId="4063851658" sldId="2147374924"/>
            <ac:spMk id="29" creationId="{4D615A37-9CB9-60E1-A2CE-6A02B5071D65}"/>
          </ac:spMkLst>
        </pc:spChg>
        <pc:spChg chg="add del mod">
          <ac:chgData name="Parth P Ved" userId="4b0ec5b8-7ef9-4dc0-8d36-4c3446bef2c8" providerId="ADAL" clId="{66725D04-7957-4E8B-8251-911A7F80CE25}" dt="2023-09-09T08:34:59.561" v="2422"/>
          <ac:spMkLst>
            <pc:docMk/>
            <pc:sldMk cId="4063851658" sldId="2147374924"/>
            <ac:spMk id="30" creationId="{DB35F713-4BE8-729B-D680-3A4C4EBAA40F}"/>
          </ac:spMkLst>
        </pc:spChg>
        <pc:spChg chg="add del mod">
          <ac:chgData name="Parth P Ved" userId="4b0ec5b8-7ef9-4dc0-8d36-4c3446bef2c8" providerId="ADAL" clId="{66725D04-7957-4E8B-8251-911A7F80CE25}" dt="2023-09-09T08:34:59.561" v="2422"/>
          <ac:spMkLst>
            <pc:docMk/>
            <pc:sldMk cId="4063851658" sldId="2147374924"/>
            <ac:spMk id="31" creationId="{D12A4ED6-8840-5DEC-1827-C840D87EA36A}"/>
          </ac:spMkLst>
        </pc:spChg>
        <pc:spChg chg="add mod topLvl">
          <ac:chgData name="Parth P Ved" userId="4b0ec5b8-7ef9-4dc0-8d36-4c3446bef2c8" providerId="ADAL" clId="{66725D04-7957-4E8B-8251-911A7F80CE25}" dt="2023-09-09T08:35:26.831" v="2429" actId="165"/>
          <ac:spMkLst>
            <pc:docMk/>
            <pc:sldMk cId="4063851658" sldId="2147374924"/>
            <ac:spMk id="2306" creationId="{3BA86FC9-6C24-5BB5-1BD6-0013862A6D40}"/>
          </ac:spMkLst>
        </pc:spChg>
        <pc:spChg chg="add mod topLvl">
          <ac:chgData name="Parth P Ved" userId="4b0ec5b8-7ef9-4dc0-8d36-4c3446bef2c8" providerId="ADAL" clId="{66725D04-7957-4E8B-8251-911A7F80CE25}" dt="2023-09-09T08:35:26.831" v="2429" actId="165"/>
          <ac:spMkLst>
            <pc:docMk/>
            <pc:sldMk cId="4063851658" sldId="2147374924"/>
            <ac:spMk id="2307" creationId="{709C078A-ACC0-3F00-95BE-4E0667589307}"/>
          </ac:spMkLst>
        </pc:spChg>
        <pc:spChg chg="mod">
          <ac:chgData name="Parth P Ved" userId="4b0ec5b8-7ef9-4dc0-8d36-4c3446bef2c8" providerId="ADAL" clId="{66725D04-7957-4E8B-8251-911A7F80CE25}" dt="2023-09-09T08:35:26.831" v="2429" actId="165"/>
          <ac:spMkLst>
            <pc:docMk/>
            <pc:sldMk cId="4063851658" sldId="2147374924"/>
            <ac:spMk id="2311" creationId="{FCC045CD-41D3-4F5C-36EC-2E0556151DDD}"/>
          </ac:spMkLst>
        </pc:spChg>
        <pc:spChg chg="mod">
          <ac:chgData name="Parth P Ved" userId="4b0ec5b8-7ef9-4dc0-8d36-4c3446bef2c8" providerId="ADAL" clId="{66725D04-7957-4E8B-8251-911A7F80CE25}" dt="2023-09-09T08:35:26.831" v="2429" actId="165"/>
          <ac:spMkLst>
            <pc:docMk/>
            <pc:sldMk cId="4063851658" sldId="2147374924"/>
            <ac:spMk id="2312" creationId="{FC477880-C52A-F7EA-ED9C-79A2DA72BF9A}"/>
          </ac:spMkLst>
        </pc:spChg>
        <pc:spChg chg="mod">
          <ac:chgData name="Parth P Ved" userId="4b0ec5b8-7ef9-4dc0-8d36-4c3446bef2c8" providerId="ADAL" clId="{66725D04-7957-4E8B-8251-911A7F80CE25}" dt="2023-09-09T08:35:26.831" v="2429" actId="165"/>
          <ac:spMkLst>
            <pc:docMk/>
            <pc:sldMk cId="4063851658" sldId="2147374924"/>
            <ac:spMk id="2313" creationId="{9D33F97A-4D50-4D58-8E3F-026F72B966BE}"/>
          </ac:spMkLst>
        </pc:spChg>
        <pc:spChg chg="mod">
          <ac:chgData name="Parth P Ved" userId="4b0ec5b8-7ef9-4dc0-8d36-4c3446bef2c8" providerId="ADAL" clId="{66725D04-7957-4E8B-8251-911A7F80CE25}" dt="2023-09-09T08:35:26.831" v="2429" actId="165"/>
          <ac:spMkLst>
            <pc:docMk/>
            <pc:sldMk cId="4063851658" sldId="2147374924"/>
            <ac:spMk id="2314" creationId="{03D762A6-E66F-89A3-CCA0-FFA583353B2C}"/>
          </ac:spMkLst>
        </pc:spChg>
        <pc:spChg chg="mod">
          <ac:chgData name="Parth P Ved" userId="4b0ec5b8-7ef9-4dc0-8d36-4c3446bef2c8" providerId="ADAL" clId="{66725D04-7957-4E8B-8251-911A7F80CE25}" dt="2023-09-09T08:35:26.831" v="2429" actId="165"/>
          <ac:spMkLst>
            <pc:docMk/>
            <pc:sldMk cId="4063851658" sldId="2147374924"/>
            <ac:spMk id="2315" creationId="{4C6E17B8-BD37-DAA6-CE81-018081DAC4C4}"/>
          </ac:spMkLst>
        </pc:spChg>
        <pc:spChg chg="mod">
          <ac:chgData name="Parth P Ved" userId="4b0ec5b8-7ef9-4dc0-8d36-4c3446bef2c8" providerId="ADAL" clId="{66725D04-7957-4E8B-8251-911A7F80CE25}" dt="2023-09-09T08:35:26.831" v="2429" actId="165"/>
          <ac:spMkLst>
            <pc:docMk/>
            <pc:sldMk cId="4063851658" sldId="2147374924"/>
            <ac:spMk id="2316" creationId="{D1E5BB24-6D1A-9288-1DCB-4BD324F8957F}"/>
          </ac:spMkLst>
        </pc:spChg>
        <pc:spChg chg="del">
          <ac:chgData name="Parth P Ved" userId="4b0ec5b8-7ef9-4dc0-8d36-4c3446bef2c8" providerId="ADAL" clId="{66725D04-7957-4E8B-8251-911A7F80CE25}" dt="2023-09-09T08:34:43.835" v="2417" actId="478"/>
          <ac:spMkLst>
            <pc:docMk/>
            <pc:sldMk cId="4063851658" sldId="2147374924"/>
            <ac:spMk id="2317" creationId="{947F1378-BB45-BBE8-9D4F-E7762449AD7C}"/>
          </ac:spMkLst>
        </pc:spChg>
        <pc:spChg chg="del">
          <ac:chgData name="Parth P Ved" userId="4b0ec5b8-7ef9-4dc0-8d36-4c3446bef2c8" providerId="ADAL" clId="{66725D04-7957-4E8B-8251-911A7F80CE25}" dt="2023-09-09T08:34:43.835" v="2417" actId="478"/>
          <ac:spMkLst>
            <pc:docMk/>
            <pc:sldMk cId="4063851658" sldId="2147374924"/>
            <ac:spMk id="2349" creationId="{80A9ADEE-8667-497E-ACDC-F70797A94D36}"/>
          </ac:spMkLst>
        </pc:spChg>
        <pc:spChg chg="del">
          <ac:chgData name="Parth P Ved" userId="4b0ec5b8-7ef9-4dc0-8d36-4c3446bef2c8" providerId="ADAL" clId="{66725D04-7957-4E8B-8251-911A7F80CE25}" dt="2023-09-09T08:34:43.835" v="2417" actId="478"/>
          <ac:spMkLst>
            <pc:docMk/>
            <pc:sldMk cId="4063851658" sldId="2147374924"/>
            <ac:spMk id="2368" creationId="{5E7E67BE-6787-0E20-9594-EDBA18BDAE62}"/>
          </ac:spMkLst>
        </pc:spChg>
        <pc:spChg chg="mod">
          <ac:chgData name="Parth P Ved" userId="4b0ec5b8-7ef9-4dc0-8d36-4c3446bef2c8" providerId="ADAL" clId="{66725D04-7957-4E8B-8251-911A7F80CE25}" dt="2023-09-09T08:35:26.831" v="2429" actId="165"/>
          <ac:spMkLst>
            <pc:docMk/>
            <pc:sldMk cId="4063851658" sldId="2147374924"/>
            <ac:spMk id="2369" creationId="{0583505F-2865-246E-0379-E621F53D5932}"/>
          </ac:spMkLst>
        </pc:spChg>
        <pc:spChg chg="mod">
          <ac:chgData name="Parth P Ved" userId="4b0ec5b8-7ef9-4dc0-8d36-4c3446bef2c8" providerId="ADAL" clId="{66725D04-7957-4E8B-8251-911A7F80CE25}" dt="2023-09-09T08:35:35.184" v="2435" actId="403"/>
          <ac:spMkLst>
            <pc:docMk/>
            <pc:sldMk cId="4063851658" sldId="2147374924"/>
            <ac:spMk id="2370" creationId="{1FC1708B-CA71-E2B6-347B-5175DBE7894E}"/>
          </ac:spMkLst>
        </pc:spChg>
        <pc:spChg chg="mod">
          <ac:chgData name="Parth P Ved" userId="4b0ec5b8-7ef9-4dc0-8d36-4c3446bef2c8" providerId="ADAL" clId="{66725D04-7957-4E8B-8251-911A7F80CE25}" dt="2023-09-09T08:36:23.980" v="2476"/>
          <ac:spMkLst>
            <pc:docMk/>
            <pc:sldMk cId="4063851658" sldId="2147374924"/>
            <ac:spMk id="2371" creationId="{D8E3FC39-EE89-A457-34F7-B9A16105F077}"/>
          </ac:spMkLst>
        </pc:spChg>
        <pc:spChg chg="mod">
          <ac:chgData name="Parth P Ved" userId="4b0ec5b8-7ef9-4dc0-8d36-4c3446bef2c8" providerId="ADAL" clId="{66725D04-7957-4E8B-8251-911A7F80CE25}" dt="2023-09-09T08:35:26.831" v="2429" actId="165"/>
          <ac:spMkLst>
            <pc:docMk/>
            <pc:sldMk cId="4063851658" sldId="2147374924"/>
            <ac:spMk id="2372" creationId="{CAE62D73-225E-15FE-64FB-D07D66DDEC5C}"/>
          </ac:spMkLst>
        </pc:spChg>
        <pc:spChg chg="mod">
          <ac:chgData name="Parth P Ved" userId="4b0ec5b8-7ef9-4dc0-8d36-4c3446bef2c8" providerId="ADAL" clId="{66725D04-7957-4E8B-8251-911A7F80CE25}" dt="2023-09-09T08:35:26.831" v="2429" actId="165"/>
          <ac:spMkLst>
            <pc:docMk/>
            <pc:sldMk cId="4063851658" sldId="2147374924"/>
            <ac:spMk id="2373" creationId="{A6AD0D94-553F-5729-C487-45C055C99918}"/>
          </ac:spMkLst>
        </pc:spChg>
        <pc:spChg chg="mod">
          <ac:chgData name="Parth P Ved" userId="4b0ec5b8-7ef9-4dc0-8d36-4c3446bef2c8" providerId="ADAL" clId="{66725D04-7957-4E8B-8251-911A7F80CE25}" dt="2023-09-09T08:36:01.814" v="2453" actId="403"/>
          <ac:spMkLst>
            <pc:docMk/>
            <pc:sldMk cId="4063851658" sldId="2147374924"/>
            <ac:spMk id="2374" creationId="{08A1AE7C-7FD3-C163-DEB2-E9EC347239DD}"/>
          </ac:spMkLst>
        </pc:spChg>
        <pc:spChg chg="mod">
          <ac:chgData name="Parth P Ved" userId="4b0ec5b8-7ef9-4dc0-8d36-4c3446bef2c8" providerId="ADAL" clId="{66725D04-7957-4E8B-8251-911A7F80CE25}" dt="2023-09-09T08:35:26.831" v="2429" actId="165"/>
          <ac:spMkLst>
            <pc:docMk/>
            <pc:sldMk cId="4063851658" sldId="2147374924"/>
            <ac:spMk id="2375" creationId="{5E2266F3-DEEF-5884-D47A-BBDE38BA6E32}"/>
          </ac:spMkLst>
        </pc:spChg>
        <pc:spChg chg="mod">
          <ac:chgData name="Parth P Ved" userId="4b0ec5b8-7ef9-4dc0-8d36-4c3446bef2c8" providerId="ADAL" clId="{66725D04-7957-4E8B-8251-911A7F80CE25}" dt="2023-09-09T08:35:26.831" v="2429" actId="165"/>
          <ac:spMkLst>
            <pc:docMk/>
            <pc:sldMk cId="4063851658" sldId="2147374924"/>
            <ac:spMk id="2376" creationId="{7BBAA56B-1E8F-B01C-9470-2A9BCE0AADB5}"/>
          </ac:spMkLst>
        </pc:spChg>
        <pc:spChg chg="mod">
          <ac:chgData name="Parth P Ved" userId="4b0ec5b8-7ef9-4dc0-8d36-4c3446bef2c8" providerId="ADAL" clId="{66725D04-7957-4E8B-8251-911A7F80CE25}" dt="2023-09-09T08:35:47.042" v="2440" actId="403"/>
          <ac:spMkLst>
            <pc:docMk/>
            <pc:sldMk cId="4063851658" sldId="2147374924"/>
            <ac:spMk id="2377" creationId="{654B5968-0989-298C-E700-185B6F65258F}"/>
          </ac:spMkLst>
        </pc:spChg>
        <pc:spChg chg="mod">
          <ac:chgData name="Parth P Ved" userId="4b0ec5b8-7ef9-4dc0-8d36-4c3446bef2c8" providerId="ADAL" clId="{66725D04-7957-4E8B-8251-911A7F80CE25}" dt="2023-09-09T08:36:04.905" v="2457" actId="403"/>
          <ac:spMkLst>
            <pc:docMk/>
            <pc:sldMk cId="4063851658" sldId="2147374924"/>
            <ac:spMk id="2378" creationId="{ADB008AE-ABC2-7BB8-8202-C55A5E238778}"/>
          </ac:spMkLst>
        </pc:spChg>
        <pc:spChg chg="mod">
          <ac:chgData name="Parth P Ved" userId="4b0ec5b8-7ef9-4dc0-8d36-4c3446bef2c8" providerId="ADAL" clId="{66725D04-7957-4E8B-8251-911A7F80CE25}" dt="2023-09-09T08:35:26.831" v="2429" actId="165"/>
          <ac:spMkLst>
            <pc:docMk/>
            <pc:sldMk cId="4063851658" sldId="2147374924"/>
            <ac:spMk id="2379" creationId="{9BA9F173-3AF9-8009-D00B-847FE702733A}"/>
          </ac:spMkLst>
        </pc:spChg>
        <pc:spChg chg="mod">
          <ac:chgData name="Parth P Ved" userId="4b0ec5b8-7ef9-4dc0-8d36-4c3446bef2c8" providerId="ADAL" clId="{66725D04-7957-4E8B-8251-911A7F80CE25}" dt="2023-09-09T08:35:26.831" v="2429" actId="165"/>
          <ac:spMkLst>
            <pc:docMk/>
            <pc:sldMk cId="4063851658" sldId="2147374924"/>
            <ac:spMk id="2380" creationId="{6487C876-E255-232D-7E21-C564FEC99998}"/>
          </ac:spMkLst>
        </pc:spChg>
        <pc:spChg chg="mod">
          <ac:chgData name="Parth P Ved" userId="4b0ec5b8-7ef9-4dc0-8d36-4c3446bef2c8" providerId="ADAL" clId="{66725D04-7957-4E8B-8251-911A7F80CE25}" dt="2023-09-09T08:35:51.018" v="2441" actId="403"/>
          <ac:spMkLst>
            <pc:docMk/>
            <pc:sldMk cId="4063851658" sldId="2147374924"/>
            <ac:spMk id="2381" creationId="{F04594AD-6731-C9D7-BEC3-5188FF80DA56}"/>
          </ac:spMkLst>
        </pc:spChg>
        <pc:spChg chg="mod">
          <ac:chgData name="Parth P Ved" userId="4b0ec5b8-7ef9-4dc0-8d36-4c3446bef2c8" providerId="ADAL" clId="{66725D04-7957-4E8B-8251-911A7F80CE25}" dt="2023-09-09T08:36:08.806" v="2461" actId="403"/>
          <ac:spMkLst>
            <pc:docMk/>
            <pc:sldMk cId="4063851658" sldId="2147374924"/>
            <ac:spMk id="2382" creationId="{6E02ADF2-C148-2463-48B5-806F2229D895}"/>
          </ac:spMkLst>
        </pc:spChg>
        <pc:spChg chg="mod">
          <ac:chgData name="Parth P Ved" userId="4b0ec5b8-7ef9-4dc0-8d36-4c3446bef2c8" providerId="ADAL" clId="{66725D04-7957-4E8B-8251-911A7F80CE25}" dt="2023-09-09T08:35:26.831" v="2429" actId="165"/>
          <ac:spMkLst>
            <pc:docMk/>
            <pc:sldMk cId="4063851658" sldId="2147374924"/>
            <ac:spMk id="2383" creationId="{AA0572C6-ACFD-92C9-7130-1B3B561C3F49}"/>
          </ac:spMkLst>
        </pc:spChg>
        <pc:spChg chg="add mod topLvl">
          <ac:chgData name="Parth P Ved" userId="4b0ec5b8-7ef9-4dc0-8d36-4c3446bef2c8" providerId="ADAL" clId="{66725D04-7957-4E8B-8251-911A7F80CE25}" dt="2023-09-09T08:35:26.831" v="2429" actId="165"/>
          <ac:spMkLst>
            <pc:docMk/>
            <pc:sldMk cId="4063851658" sldId="2147374924"/>
            <ac:spMk id="2384" creationId="{DD5BED4E-4143-6071-4953-0ACEE4C102C6}"/>
          </ac:spMkLst>
        </pc:spChg>
        <pc:spChg chg="add mod topLvl">
          <ac:chgData name="Parth P Ved" userId="4b0ec5b8-7ef9-4dc0-8d36-4c3446bef2c8" providerId="ADAL" clId="{66725D04-7957-4E8B-8251-911A7F80CE25}" dt="2023-09-09T08:35:26.831" v="2429" actId="165"/>
          <ac:spMkLst>
            <pc:docMk/>
            <pc:sldMk cId="4063851658" sldId="2147374924"/>
            <ac:spMk id="2385" creationId="{BA391C7A-531F-483F-48BA-69D145601676}"/>
          </ac:spMkLst>
        </pc:spChg>
        <pc:spChg chg="add mod topLvl">
          <ac:chgData name="Parth P Ved" userId="4b0ec5b8-7ef9-4dc0-8d36-4c3446bef2c8" providerId="ADAL" clId="{66725D04-7957-4E8B-8251-911A7F80CE25}" dt="2023-09-09T08:35:54.865" v="2445" actId="403"/>
          <ac:spMkLst>
            <pc:docMk/>
            <pc:sldMk cId="4063851658" sldId="2147374924"/>
            <ac:spMk id="2386" creationId="{12B938EB-2E01-16F9-8F1F-0BDFAE54BDDA}"/>
          </ac:spMkLst>
        </pc:spChg>
        <pc:grpChg chg="add del mod">
          <ac:chgData name="Parth P Ved" userId="4b0ec5b8-7ef9-4dc0-8d36-4c3446bef2c8" providerId="ADAL" clId="{66725D04-7957-4E8B-8251-911A7F80CE25}" dt="2023-09-09T08:34:59.561" v="2422"/>
          <ac:grpSpMkLst>
            <pc:docMk/>
            <pc:sldMk cId="4063851658" sldId="2147374924"/>
            <ac:grpSpMk id="5" creationId="{746C219A-C177-3849-C052-4B8CCFD41AEB}"/>
          </ac:grpSpMkLst>
        </pc:grpChg>
        <pc:grpChg chg="add mod topLvl">
          <ac:chgData name="Parth P Ved" userId="4b0ec5b8-7ef9-4dc0-8d36-4c3446bef2c8" providerId="ADAL" clId="{66725D04-7957-4E8B-8251-911A7F80CE25}" dt="2023-09-09T08:35:31.459" v="2431" actId="1076"/>
          <ac:grpSpMkLst>
            <pc:docMk/>
            <pc:sldMk cId="4063851658" sldId="2147374924"/>
            <ac:grpSpMk id="2308" creationId="{0B60214D-2831-0465-C690-08191E454C09}"/>
          </ac:grpSpMkLst>
        </pc:grpChg>
        <pc:grpChg chg="del">
          <ac:chgData name="Parth P Ved" userId="4b0ec5b8-7ef9-4dc0-8d36-4c3446bef2c8" providerId="ADAL" clId="{66725D04-7957-4E8B-8251-911A7F80CE25}" dt="2023-09-09T08:34:43.835" v="2417" actId="478"/>
          <ac:grpSpMkLst>
            <pc:docMk/>
            <pc:sldMk cId="4063851658" sldId="2147374924"/>
            <ac:grpSpMk id="2318" creationId="{0B119652-B663-812C-3588-647485E66A61}"/>
          </ac:grpSpMkLst>
        </pc:grpChg>
        <pc:grpChg chg="del">
          <ac:chgData name="Parth P Ved" userId="4b0ec5b8-7ef9-4dc0-8d36-4c3446bef2c8" providerId="ADAL" clId="{66725D04-7957-4E8B-8251-911A7F80CE25}" dt="2023-09-09T08:34:43.835" v="2417" actId="478"/>
          <ac:grpSpMkLst>
            <pc:docMk/>
            <pc:sldMk cId="4063851658" sldId="2147374924"/>
            <ac:grpSpMk id="2350" creationId="{843EAAAD-8E3A-9B88-4713-6706A74854BC}"/>
          </ac:grpSpMkLst>
        </pc:grpChg>
        <pc:grpChg chg="add del mod">
          <ac:chgData name="Parth P Ved" userId="4b0ec5b8-7ef9-4dc0-8d36-4c3446bef2c8" providerId="ADAL" clId="{66725D04-7957-4E8B-8251-911A7F80CE25}" dt="2023-09-09T08:35:26.831" v="2429" actId="165"/>
          <ac:grpSpMkLst>
            <pc:docMk/>
            <pc:sldMk cId="4063851658" sldId="2147374924"/>
            <ac:grpSpMk id="2391" creationId="{C59D792D-2AD8-649E-22AE-D4DBD4165E55}"/>
          </ac:grpSpMkLst>
        </pc:grpChg>
        <pc:graphicFrameChg chg="del">
          <ac:chgData name="Parth P Ved" userId="4b0ec5b8-7ef9-4dc0-8d36-4c3446bef2c8" providerId="ADAL" clId="{66725D04-7957-4E8B-8251-911A7F80CE25}" dt="2023-09-09T08:34:43.835" v="2417" actId="478"/>
          <ac:graphicFrameMkLst>
            <pc:docMk/>
            <pc:sldMk cId="4063851658" sldId="2147374924"/>
            <ac:graphicFrameMk id="2367" creationId="{05594FCE-F8BD-74E2-6110-DA281949E4A5}"/>
          </ac:graphicFrameMkLst>
        </pc:graphicFrameChg>
        <pc:cxnChg chg="mod">
          <ac:chgData name="Parth P Ved" userId="4b0ec5b8-7ef9-4dc0-8d36-4c3446bef2c8" providerId="ADAL" clId="{66725D04-7957-4E8B-8251-911A7F80CE25}" dt="2023-09-09T08:34:57.080" v="2421"/>
          <ac:cxnSpMkLst>
            <pc:docMk/>
            <pc:sldMk cId="4063851658" sldId="2147374924"/>
            <ac:cxnSpMk id="6" creationId="{55184721-19D7-9F14-8148-4CC0068A9A06}"/>
          </ac:cxnSpMkLst>
        </pc:cxnChg>
        <pc:cxnChg chg="mod">
          <ac:chgData name="Parth P Ved" userId="4b0ec5b8-7ef9-4dc0-8d36-4c3446bef2c8" providerId="ADAL" clId="{66725D04-7957-4E8B-8251-911A7F80CE25}" dt="2023-09-09T08:34:57.080" v="2421"/>
          <ac:cxnSpMkLst>
            <pc:docMk/>
            <pc:sldMk cId="4063851658" sldId="2147374924"/>
            <ac:cxnSpMk id="7" creationId="{39639180-C366-E208-46D3-1CE150EA9C1E}"/>
          </ac:cxnSpMkLst>
        </pc:cxnChg>
        <pc:cxnChg chg="add del mod">
          <ac:chgData name="Parth P Ved" userId="4b0ec5b8-7ef9-4dc0-8d36-4c3446bef2c8" providerId="ADAL" clId="{66725D04-7957-4E8B-8251-911A7F80CE25}" dt="2023-09-09T08:34:59.561" v="2422"/>
          <ac:cxnSpMkLst>
            <pc:docMk/>
            <pc:sldMk cId="4063851658" sldId="2147374924"/>
            <ac:cxnSpMk id="2304" creationId="{9BFB381B-1F82-65F1-3052-B5C6A32FF632}"/>
          </ac:cxnSpMkLst>
        </pc:cxnChg>
        <pc:cxnChg chg="add del mod">
          <ac:chgData name="Parth P Ved" userId="4b0ec5b8-7ef9-4dc0-8d36-4c3446bef2c8" providerId="ADAL" clId="{66725D04-7957-4E8B-8251-911A7F80CE25}" dt="2023-09-09T08:34:59.561" v="2422"/>
          <ac:cxnSpMkLst>
            <pc:docMk/>
            <pc:sldMk cId="4063851658" sldId="2147374924"/>
            <ac:cxnSpMk id="2305" creationId="{80DA3DC0-44B1-22BD-852A-2689704BAC94}"/>
          </ac:cxnSpMkLst>
        </pc:cxnChg>
        <pc:cxnChg chg="mod">
          <ac:chgData name="Parth P Ved" userId="4b0ec5b8-7ef9-4dc0-8d36-4c3446bef2c8" providerId="ADAL" clId="{66725D04-7957-4E8B-8251-911A7F80CE25}" dt="2023-09-09T08:35:26.831" v="2429" actId="165"/>
          <ac:cxnSpMkLst>
            <pc:docMk/>
            <pc:sldMk cId="4063851658" sldId="2147374924"/>
            <ac:cxnSpMk id="2309" creationId="{E92A647C-5E27-5222-C758-936459EC3CC0}"/>
          </ac:cxnSpMkLst>
        </pc:cxnChg>
        <pc:cxnChg chg="mod">
          <ac:chgData name="Parth P Ved" userId="4b0ec5b8-7ef9-4dc0-8d36-4c3446bef2c8" providerId="ADAL" clId="{66725D04-7957-4E8B-8251-911A7F80CE25}" dt="2023-09-09T08:35:26.831" v="2429" actId="165"/>
          <ac:cxnSpMkLst>
            <pc:docMk/>
            <pc:sldMk cId="4063851658" sldId="2147374924"/>
            <ac:cxnSpMk id="2310" creationId="{65472385-0340-B897-5BFC-E50C46FB87EA}"/>
          </ac:cxnSpMkLst>
        </pc:cxnChg>
        <pc:cxnChg chg="del">
          <ac:chgData name="Parth P Ved" userId="4b0ec5b8-7ef9-4dc0-8d36-4c3446bef2c8" providerId="ADAL" clId="{66725D04-7957-4E8B-8251-911A7F80CE25}" dt="2023-09-09T08:34:43.835" v="2417" actId="478"/>
          <ac:cxnSpMkLst>
            <pc:docMk/>
            <pc:sldMk cId="4063851658" sldId="2147374924"/>
            <ac:cxnSpMk id="2348" creationId="{CDFAA16B-FF2F-C9BD-8336-6C8BE7A3EA65}"/>
          </ac:cxnSpMkLst>
        </pc:cxnChg>
        <pc:cxnChg chg="add mod topLvl">
          <ac:chgData name="Parth P Ved" userId="4b0ec5b8-7ef9-4dc0-8d36-4c3446bef2c8" providerId="ADAL" clId="{66725D04-7957-4E8B-8251-911A7F80CE25}" dt="2023-09-09T08:35:26.831" v="2429" actId="165"/>
          <ac:cxnSpMkLst>
            <pc:docMk/>
            <pc:sldMk cId="4063851658" sldId="2147374924"/>
            <ac:cxnSpMk id="2387" creationId="{6D681504-824B-1060-2154-8F27F77481D9}"/>
          </ac:cxnSpMkLst>
        </pc:cxnChg>
        <pc:cxnChg chg="add mod topLvl">
          <ac:chgData name="Parth P Ved" userId="4b0ec5b8-7ef9-4dc0-8d36-4c3446bef2c8" providerId="ADAL" clId="{66725D04-7957-4E8B-8251-911A7F80CE25}" dt="2023-09-09T08:35:26.831" v="2429" actId="165"/>
          <ac:cxnSpMkLst>
            <pc:docMk/>
            <pc:sldMk cId="4063851658" sldId="2147374924"/>
            <ac:cxnSpMk id="2388" creationId="{1EA0EDAC-A3DF-6E33-F263-B3F42662C859}"/>
          </ac:cxnSpMkLst>
        </pc:cxnChg>
      </pc:sldChg>
      <pc:sldChg chg="addSp delSp modSp add mod">
        <pc:chgData name="Parth P Ved" userId="4b0ec5b8-7ef9-4dc0-8d36-4c3446bef2c8" providerId="ADAL" clId="{66725D04-7957-4E8B-8251-911A7F80CE25}" dt="2023-09-09T08:38:48.612" v="2564" actId="403"/>
        <pc:sldMkLst>
          <pc:docMk/>
          <pc:sldMk cId="599707424" sldId="2147374925"/>
        </pc:sldMkLst>
        <pc:spChg chg="mod">
          <ac:chgData name="Parth P Ved" userId="4b0ec5b8-7ef9-4dc0-8d36-4c3446bef2c8" providerId="ADAL" clId="{66725D04-7957-4E8B-8251-911A7F80CE25}" dt="2023-09-09T08:36:46.541" v="2481"/>
          <ac:spMkLst>
            <pc:docMk/>
            <pc:sldMk cId="599707424" sldId="2147374925"/>
            <ac:spMk id="2" creationId="{DEF09EF4-86D6-9E03-B2A5-F97B5B5F14FD}"/>
          </ac:spMkLst>
        </pc:spChg>
        <pc:spChg chg="add mod">
          <ac:chgData name="Parth P Ved" userId="4b0ec5b8-7ef9-4dc0-8d36-4c3446bef2c8" providerId="ADAL" clId="{66725D04-7957-4E8B-8251-911A7F80CE25}" dt="2023-09-09T08:36:53.179" v="2482"/>
          <ac:spMkLst>
            <pc:docMk/>
            <pc:sldMk cId="599707424" sldId="2147374925"/>
            <ac:spMk id="3" creationId="{4024A29F-BB60-4F99-E541-EF87C6D8655D}"/>
          </ac:spMkLst>
        </pc:spChg>
        <pc:spChg chg="add del mod">
          <ac:chgData name="Parth P Ved" userId="4b0ec5b8-7ef9-4dc0-8d36-4c3446bef2c8" providerId="ADAL" clId="{66725D04-7957-4E8B-8251-911A7F80CE25}" dt="2023-09-09T08:37:12.143" v="2484" actId="478"/>
          <ac:spMkLst>
            <pc:docMk/>
            <pc:sldMk cId="599707424" sldId="2147374925"/>
            <ac:spMk id="4" creationId="{7D0FF2F6-DE91-4C5E-D0AD-A7F0D04CF2F7}"/>
          </ac:spMkLst>
        </pc:spChg>
        <pc:spChg chg="add del mod">
          <ac:chgData name="Parth P Ved" userId="4b0ec5b8-7ef9-4dc0-8d36-4c3446bef2c8" providerId="ADAL" clId="{66725D04-7957-4E8B-8251-911A7F80CE25}" dt="2023-09-09T08:37:14.136" v="2485" actId="478"/>
          <ac:spMkLst>
            <pc:docMk/>
            <pc:sldMk cId="599707424" sldId="2147374925"/>
            <ac:spMk id="5" creationId="{5932276D-A0F5-54DC-C878-154FE76A8497}"/>
          </ac:spMkLst>
        </pc:spChg>
        <pc:spChg chg="mod">
          <ac:chgData name="Parth P Ved" userId="4b0ec5b8-7ef9-4dc0-8d36-4c3446bef2c8" providerId="ADAL" clId="{66725D04-7957-4E8B-8251-911A7F80CE25}" dt="2023-09-09T08:36:53.179" v="2482"/>
          <ac:spMkLst>
            <pc:docMk/>
            <pc:sldMk cId="599707424" sldId="2147374925"/>
            <ac:spMk id="8" creationId="{2373A883-C2C4-6EC8-1D60-41C015C7D3E5}"/>
          </ac:spMkLst>
        </pc:spChg>
        <pc:spChg chg="mod">
          <ac:chgData name="Parth P Ved" userId="4b0ec5b8-7ef9-4dc0-8d36-4c3446bef2c8" providerId="ADAL" clId="{66725D04-7957-4E8B-8251-911A7F80CE25}" dt="2023-09-09T08:36:53.179" v="2482"/>
          <ac:spMkLst>
            <pc:docMk/>
            <pc:sldMk cId="599707424" sldId="2147374925"/>
            <ac:spMk id="9" creationId="{F45EA0EB-D7D5-2AD4-06B1-70B9CB7E4AD1}"/>
          </ac:spMkLst>
        </pc:spChg>
        <pc:spChg chg="mod">
          <ac:chgData name="Parth P Ved" userId="4b0ec5b8-7ef9-4dc0-8d36-4c3446bef2c8" providerId="ADAL" clId="{66725D04-7957-4E8B-8251-911A7F80CE25}" dt="2023-09-09T08:36:53.179" v="2482"/>
          <ac:spMkLst>
            <pc:docMk/>
            <pc:sldMk cId="599707424" sldId="2147374925"/>
            <ac:spMk id="10" creationId="{A874E572-520C-41B7-DE44-E0BCEF2BD698}"/>
          </ac:spMkLst>
        </pc:spChg>
        <pc:spChg chg="mod">
          <ac:chgData name="Parth P Ved" userId="4b0ec5b8-7ef9-4dc0-8d36-4c3446bef2c8" providerId="ADAL" clId="{66725D04-7957-4E8B-8251-911A7F80CE25}" dt="2023-09-09T08:36:53.179" v="2482"/>
          <ac:spMkLst>
            <pc:docMk/>
            <pc:sldMk cId="599707424" sldId="2147374925"/>
            <ac:spMk id="11" creationId="{0875D7F0-EFEC-D724-A979-9CBF4E41D2DF}"/>
          </ac:spMkLst>
        </pc:spChg>
        <pc:spChg chg="mod">
          <ac:chgData name="Parth P Ved" userId="4b0ec5b8-7ef9-4dc0-8d36-4c3446bef2c8" providerId="ADAL" clId="{66725D04-7957-4E8B-8251-911A7F80CE25}" dt="2023-09-09T08:36:53.179" v="2482"/>
          <ac:spMkLst>
            <pc:docMk/>
            <pc:sldMk cId="599707424" sldId="2147374925"/>
            <ac:spMk id="12" creationId="{20F7BCEC-4B49-E048-8FC3-993FAA65735E}"/>
          </ac:spMkLst>
        </pc:spChg>
        <pc:spChg chg="mod">
          <ac:chgData name="Parth P Ved" userId="4b0ec5b8-7ef9-4dc0-8d36-4c3446bef2c8" providerId="ADAL" clId="{66725D04-7957-4E8B-8251-911A7F80CE25}" dt="2023-09-09T08:36:53.179" v="2482"/>
          <ac:spMkLst>
            <pc:docMk/>
            <pc:sldMk cId="599707424" sldId="2147374925"/>
            <ac:spMk id="13" creationId="{ADC69E6C-6ED3-A8B2-2E22-026960FA53BF}"/>
          </ac:spMkLst>
        </pc:spChg>
        <pc:spChg chg="mod">
          <ac:chgData name="Parth P Ved" userId="4b0ec5b8-7ef9-4dc0-8d36-4c3446bef2c8" providerId="ADAL" clId="{66725D04-7957-4E8B-8251-911A7F80CE25}" dt="2023-09-09T08:36:53.179" v="2482"/>
          <ac:spMkLst>
            <pc:docMk/>
            <pc:sldMk cId="599707424" sldId="2147374925"/>
            <ac:spMk id="14" creationId="{3F57934E-E4D7-2D9D-634D-C95561FF491A}"/>
          </ac:spMkLst>
        </pc:spChg>
        <pc:spChg chg="mod">
          <ac:chgData name="Parth P Ved" userId="4b0ec5b8-7ef9-4dc0-8d36-4c3446bef2c8" providerId="ADAL" clId="{66725D04-7957-4E8B-8251-911A7F80CE25}" dt="2023-09-09T08:36:53.179" v="2482"/>
          <ac:spMkLst>
            <pc:docMk/>
            <pc:sldMk cId="599707424" sldId="2147374925"/>
            <ac:spMk id="15" creationId="{9F6F5A1A-A5BB-4EC1-0DA6-8664837C21BE}"/>
          </ac:spMkLst>
        </pc:spChg>
        <pc:spChg chg="mod">
          <ac:chgData name="Parth P Ved" userId="4b0ec5b8-7ef9-4dc0-8d36-4c3446bef2c8" providerId="ADAL" clId="{66725D04-7957-4E8B-8251-911A7F80CE25}" dt="2023-09-09T08:36:53.179" v="2482"/>
          <ac:spMkLst>
            <pc:docMk/>
            <pc:sldMk cId="599707424" sldId="2147374925"/>
            <ac:spMk id="16" creationId="{6B38A0D7-775B-3B69-6CA9-16788CB640E1}"/>
          </ac:spMkLst>
        </pc:spChg>
        <pc:spChg chg="mod">
          <ac:chgData name="Parth P Ved" userId="4b0ec5b8-7ef9-4dc0-8d36-4c3446bef2c8" providerId="ADAL" clId="{66725D04-7957-4E8B-8251-911A7F80CE25}" dt="2023-09-09T08:36:53.179" v="2482"/>
          <ac:spMkLst>
            <pc:docMk/>
            <pc:sldMk cId="599707424" sldId="2147374925"/>
            <ac:spMk id="17" creationId="{9696CF9F-53AB-C1D1-DB93-5B1FD2B1A4D9}"/>
          </ac:spMkLst>
        </pc:spChg>
        <pc:spChg chg="mod">
          <ac:chgData name="Parth P Ved" userId="4b0ec5b8-7ef9-4dc0-8d36-4c3446bef2c8" providerId="ADAL" clId="{66725D04-7957-4E8B-8251-911A7F80CE25}" dt="2023-09-09T08:36:53.179" v="2482"/>
          <ac:spMkLst>
            <pc:docMk/>
            <pc:sldMk cId="599707424" sldId="2147374925"/>
            <ac:spMk id="18" creationId="{D7E11297-5BE6-5812-435B-399871381FFD}"/>
          </ac:spMkLst>
        </pc:spChg>
        <pc:spChg chg="mod">
          <ac:chgData name="Parth P Ved" userId="4b0ec5b8-7ef9-4dc0-8d36-4c3446bef2c8" providerId="ADAL" clId="{66725D04-7957-4E8B-8251-911A7F80CE25}" dt="2023-09-09T08:36:53.179" v="2482"/>
          <ac:spMkLst>
            <pc:docMk/>
            <pc:sldMk cId="599707424" sldId="2147374925"/>
            <ac:spMk id="19" creationId="{2230D943-C61B-7B35-8B70-AF39CE3A4B4B}"/>
          </ac:spMkLst>
        </pc:spChg>
        <pc:spChg chg="mod">
          <ac:chgData name="Parth P Ved" userId="4b0ec5b8-7ef9-4dc0-8d36-4c3446bef2c8" providerId="ADAL" clId="{66725D04-7957-4E8B-8251-911A7F80CE25}" dt="2023-09-09T08:36:53.179" v="2482"/>
          <ac:spMkLst>
            <pc:docMk/>
            <pc:sldMk cId="599707424" sldId="2147374925"/>
            <ac:spMk id="20" creationId="{76BBB582-64DD-B836-C4B1-9D37E4E76350}"/>
          </ac:spMkLst>
        </pc:spChg>
        <pc:spChg chg="mod">
          <ac:chgData name="Parth P Ved" userId="4b0ec5b8-7ef9-4dc0-8d36-4c3446bef2c8" providerId="ADAL" clId="{66725D04-7957-4E8B-8251-911A7F80CE25}" dt="2023-09-09T08:36:53.179" v="2482"/>
          <ac:spMkLst>
            <pc:docMk/>
            <pc:sldMk cId="599707424" sldId="2147374925"/>
            <ac:spMk id="21" creationId="{333FEF59-9EB9-1863-97F6-FC5EBCACA253}"/>
          </ac:spMkLst>
        </pc:spChg>
        <pc:spChg chg="mod">
          <ac:chgData name="Parth P Ved" userId="4b0ec5b8-7ef9-4dc0-8d36-4c3446bef2c8" providerId="ADAL" clId="{66725D04-7957-4E8B-8251-911A7F80CE25}" dt="2023-09-09T08:36:53.179" v="2482"/>
          <ac:spMkLst>
            <pc:docMk/>
            <pc:sldMk cId="599707424" sldId="2147374925"/>
            <ac:spMk id="22" creationId="{7C5DDD6B-1339-D667-D1FA-09A173A1269E}"/>
          </ac:spMkLst>
        </pc:spChg>
        <pc:spChg chg="add mod">
          <ac:chgData name="Parth P Ved" userId="4b0ec5b8-7ef9-4dc0-8d36-4c3446bef2c8" providerId="ADAL" clId="{66725D04-7957-4E8B-8251-911A7F80CE25}" dt="2023-09-09T08:36:53.179" v="2482"/>
          <ac:spMkLst>
            <pc:docMk/>
            <pc:sldMk cId="599707424" sldId="2147374925"/>
            <ac:spMk id="24" creationId="{63763282-A4D5-7B28-B1F5-A62A15F35513}"/>
          </ac:spMkLst>
        </pc:spChg>
        <pc:spChg chg="add mod">
          <ac:chgData name="Parth P Ved" userId="4b0ec5b8-7ef9-4dc0-8d36-4c3446bef2c8" providerId="ADAL" clId="{66725D04-7957-4E8B-8251-911A7F80CE25}" dt="2023-09-09T08:38:13.377" v="2505" actId="14100"/>
          <ac:spMkLst>
            <pc:docMk/>
            <pc:sldMk cId="599707424" sldId="2147374925"/>
            <ac:spMk id="25" creationId="{120B8E95-0D01-730A-ED18-CC4266210157}"/>
          </ac:spMkLst>
        </pc:spChg>
        <pc:spChg chg="mod">
          <ac:chgData name="Parth P Ved" userId="4b0ec5b8-7ef9-4dc0-8d36-4c3446bef2c8" providerId="ADAL" clId="{66725D04-7957-4E8B-8251-911A7F80CE25}" dt="2023-09-09T08:38:48.612" v="2564" actId="403"/>
          <ac:spMkLst>
            <pc:docMk/>
            <pc:sldMk cId="599707424" sldId="2147374925"/>
            <ac:spMk id="27" creationId="{0C798F94-6F65-F354-57D3-D919AF47637F}"/>
          </ac:spMkLst>
        </pc:spChg>
        <pc:spChg chg="mod">
          <ac:chgData name="Parth P Ved" userId="4b0ec5b8-7ef9-4dc0-8d36-4c3446bef2c8" providerId="ADAL" clId="{66725D04-7957-4E8B-8251-911A7F80CE25}" dt="2023-09-09T08:38:31.217" v="2559" actId="20577"/>
          <ac:spMkLst>
            <pc:docMk/>
            <pc:sldMk cId="599707424" sldId="2147374925"/>
            <ac:spMk id="28" creationId="{8C541DDA-744E-04B2-CEB3-536B8471F53D}"/>
          </ac:spMkLst>
        </pc:spChg>
        <pc:spChg chg="add mod">
          <ac:chgData name="Parth P Ved" userId="4b0ec5b8-7ef9-4dc0-8d36-4c3446bef2c8" providerId="ADAL" clId="{66725D04-7957-4E8B-8251-911A7F80CE25}" dt="2023-09-09T08:38:16.029" v="2506" actId="1076"/>
          <ac:spMkLst>
            <pc:docMk/>
            <pc:sldMk cId="599707424" sldId="2147374925"/>
            <ac:spMk id="29" creationId="{8A56BA22-9D7D-8598-56E4-E01BF1701F62}"/>
          </ac:spMkLst>
        </pc:spChg>
        <pc:spChg chg="add mod">
          <ac:chgData name="Parth P Ved" userId="4b0ec5b8-7ef9-4dc0-8d36-4c3446bef2c8" providerId="ADAL" clId="{66725D04-7957-4E8B-8251-911A7F80CE25}" dt="2023-09-09T08:38:06.434" v="2502" actId="403"/>
          <ac:spMkLst>
            <pc:docMk/>
            <pc:sldMk cId="599707424" sldId="2147374925"/>
            <ac:spMk id="31" creationId="{4EEC2AAC-C139-0F5E-538F-803049F7A730}"/>
          </ac:spMkLst>
        </pc:spChg>
        <pc:spChg chg="add mod">
          <ac:chgData name="Parth P Ved" userId="4b0ec5b8-7ef9-4dc0-8d36-4c3446bef2c8" providerId="ADAL" clId="{66725D04-7957-4E8B-8251-911A7F80CE25}" dt="2023-09-09T08:37:56.670" v="2496" actId="1076"/>
          <ac:spMkLst>
            <pc:docMk/>
            <pc:sldMk cId="599707424" sldId="2147374925"/>
            <ac:spMk id="2304" creationId="{15F7B636-58EA-6767-0387-5C6255381399}"/>
          </ac:spMkLst>
        </pc:spChg>
        <pc:spChg chg="del">
          <ac:chgData name="Parth P Ved" userId="4b0ec5b8-7ef9-4dc0-8d36-4c3446bef2c8" providerId="ADAL" clId="{66725D04-7957-4E8B-8251-911A7F80CE25}" dt="2023-09-09T08:36:39.267" v="2478" actId="478"/>
          <ac:spMkLst>
            <pc:docMk/>
            <pc:sldMk cId="599707424" sldId="2147374925"/>
            <ac:spMk id="2306" creationId="{3BA86FC9-6C24-5BB5-1BD6-0013862A6D40}"/>
          </ac:spMkLst>
        </pc:spChg>
        <pc:spChg chg="del">
          <ac:chgData name="Parth P Ved" userId="4b0ec5b8-7ef9-4dc0-8d36-4c3446bef2c8" providerId="ADAL" clId="{66725D04-7957-4E8B-8251-911A7F80CE25}" dt="2023-09-09T08:36:39.267" v="2478" actId="478"/>
          <ac:spMkLst>
            <pc:docMk/>
            <pc:sldMk cId="599707424" sldId="2147374925"/>
            <ac:spMk id="2307" creationId="{709C078A-ACC0-3F00-95BE-4E0667589307}"/>
          </ac:spMkLst>
        </pc:spChg>
        <pc:spChg chg="del">
          <ac:chgData name="Parth P Ved" userId="4b0ec5b8-7ef9-4dc0-8d36-4c3446bef2c8" providerId="ADAL" clId="{66725D04-7957-4E8B-8251-911A7F80CE25}" dt="2023-09-09T08:36:39.267" v="2478" actId="478"/>
          <ac:spMkLst>
            <pc:docMk/>
            <pc:sldMk cId="599707424" sldId="2147374925"/>
            <ac:spMk id="2384" creationId="{DD5BED4E-4143-6071-4953-0ACEE4C102C6}"/>
          </ac:spMkLst>
        </pc:spChg>
        <pc:spChg chg="del">
          <ac:chgData name="Parth P Ved" userId="4b0ec5b8-7ef9-4dc0-8d36-4c3446bef2c8" providerId="ADAL" clId="{66725D04-7957-4E8B-8251-911A7F80CE25}" dt="2023-09-09T08:36:39.267" v="2478" actId="478"/>
          <ac:spMkLst>
            <pc:docMk/>
            <pc:sldMk cId="599707424" sldId="2147374925"/>
            <ac:spMk id="2385" creationId="{BA391C7A-531F-483F-48BA-69D145601676}"/>
          </ac:spMkLst>
        </pc:spChg>
        <pc:spChg chg="del">
          <ac:chgData name="Parth P Ved" userId="4b0ec5b8-7ef9-4dc0-8d36-4c3446bef2c8" providerId="ADAL" clId="{66725D04-7957-4E8B-8251-911A7F80CE25}" dt="2023-09-09T08:36:39.267" v="2478" actId="478"/>
          <ac:spMkLst>
            <pc:docMk/>
            <pc:sldMk cId="599707424" sldId="2147374925"/>
            <ac:spMk id="2386" creationId="{12B938EB-2E01-16F9-8F1F-0BDFAE54BDDA}"/>
          </ac:spMkLst>
        </pc:spChg>
        <pc:grpChg chg="add mod">
          <ac:chgData name="Parth P Ved" userId="4b0ec5b8-7ef9-4dc0-8d36-4c3446bef2c8" providerId="ADAL" clId="{66725D04-7957-4E8B-8251-911A7F80CE25}" dt="2023-09-09T08:37:38.944" v="2491" actId="14100"/>
          <ac:grpSpMkLst>
            <pc:docMk/>
            <pc:sldMk cId="599707424" sldId="2147374925"/>
            <ac:grpSpMk id="6" creationId="{2246F49C-BD9A-B37F-9BBF-5A29C83E4051}"/>
          </ac:grpSpMkLst>
        </pc:grpChg>
        <pc:grpChg chg="mod">
          <ac:chgData name="Parth P Ved" userId="4b0ec5b8-7ef9-4dc0-8d36-4c3446bef2c8" providerId="ADAL" clId="{66725D04-7957-4E8B-8251-911A7F80CE25}" dt="2023-09-09T08:36:53.179" v="2482"/>
          <ac:grpSpMkLst>
            <pc:docMk/>
            <pc:sldMk cId="599707424" sldId="2147374925"/>
            <ac:grpSpMk id="7" creationId="{B59D0AD8-30AD-CBF0-0DDD-C3481B4E49FF}"/>
          </ac:grpSpMkLst>
        </pc:grpChg>
        <pc:grpChg chg="add mod">
          <ac:chgData name="Parth P Ved" userId="4b0ec5b8-7ef9-4dc0-8d36-4c3446bef2c8" providerId="ADAL" clId="{66725D04-7957-4E8B-8251-911A7F80CE25}" dt="2023-09-09T08:38:19.651" v="2507" actId="14100"/>
          <ac:grpSpMkLst>
            <pc:docMk/>
            <pc:sldMk cId="599707424" sldId="2147374925"/>
            <ac:grpSpMk id="26" creationId="{2786FF8E-780A-6DF4-A608-83851243AF11}"/>
          </ac:grpSpMkLst>
        </pc:grpChg>
        <pc:grpChg chg="del">
          <ac:chgData name="Parth P Ved" userId="4b0ec5b8-7ef9-4dc0-8d36-4c3446bef2c8" providerId="ADAL" clId="{66725D04-7957-4E8B-8251-911A7F80CE25}" dt="2023-09-09T08:36:39.267" v="2478" actId="478"/>
          <ac:grpSpMkLst>
            <pc:docMk/>
            <pc:sldMk cId="599707424" sldId="2147374925"/>
            <ac:grpSpMk id="2308" creationId="{0B60214D-2831-0465-C690-08191E454C09}"/>
          </ac:grpSpMkLst>
        </pc:grpChg>
        <pc:graphicFrameChg chg="add mod modGraphic">
          <ac:chgData name="Parth P Ved" userId="4b0ec5b8-7ef9-4dc0-8d36-4c3446bef2c8" providerId="ADAL" clId="{66725D04-7957-4E8B-8251-911A7F80CE25}" dt="2023-09-09T08:38:41.137" v="2561" actId="403"/>
          <ac:graphicFrameMkLst>
            <pc:docMk/>
            <pc:sldMk cId="599707424" sldId="2147374925"/>
            <ac:graphicFrameMk id="23" creationId="{8DC4B740-2D01-8F79-D5FB-E670470F000C}"/>
          </ac:graphicFrameMkLst>
        </pc:graphicFrameChg>
        <pc:cxnChg chg="add mod">
          <ac:chgData name="Parth P Ved" userId="4b0ec5b8-7ef9-4dc0-8d36-4c3446bef2c8" providerId="ADAL" clId="{66725D04-7957-4E8B-8251-911A7F80CE25}" dt="2023-09-09T08:37:52.228" v="2495" actId="14100"/>
          <ac:cxnSpMkLst>
            <pc:docMk/>
            <pc:sldMk cId="599707424" sldId="2147374925"/>
            <ac:cxnSpMk id="30" creationId="{A6598BCF-5237-D901-15D2-D0727E1CF311}"/>
          </ac:cxnSpMkLst>
        </pc:cxnChg>
        <pc:cxnChg chg="del">
          <ac:chgData name="Parth P Ved" userId="4b0ec5b8-7ef9-4dc0-8d36-4c3446bef2c8" providerId="ADAL" clId="{66725D04-7957-4E8B-8251-911A7F80CE25}" dt="2023-09-09T08:36:39.267" v="2478" actId="478"/>
          <ac:cxnSpMkLst>
            <pc:docMk/>
            <pc:sldMk cId="599707424" sldId="2147374925"/>
            <ac:cxnSpMk id="2387" creationId="{6D681504-824B-1060-2154-8F27F77481D9}"/>
          </ac:cxnSpMkLst>
        </pc:cxnChg>
        <pc:cxnChg chg="del">
          <ac:chgData name="Parth P Ved" userId="4b0ec5b8-7ef9-4dc0-8d36-4c3446bef2c8" providerId="ADAL" clId="{66725D04-7957-4E8B-8251-911A7F80CE25}" dt="2023-09-09T08:36:39.267" v="2478" actId="478"/>
          <ac:cxnSpMkLst>
            <pc:docMk/>
            <pc:sldMk cId="599707424" sldId="2147374925"/>
            <ac:cxnSpMk id="2388" creationId="{1EA0EDAC-A3DF-6E33-F263-B3F42662C859}"/>
          </ac:cxnSpMkLst>
        </pc:cxnChg>
      </pc:sldChg>
      <pc:sldChg chg="modSp add mod">
        <pc:chgData name="Parth P Ved" userId="4b0ec5b8-7ef9-4dc0-8d36-4c3446bef2c8" providerId="ADAL" clId="{66725D04-7957-4E8B-8251-911A7F80CE25}" dt="2023-09-09T08:40:33.391" v="2580" actId="20577"/>
        <pc:sldMkLst>
          <pc:docMk/>
          <pc:sldMk cId="1393768013" sldId="2147374926"/>
        </pc:sldMkLst>
        <pc:spChg chg="mod">
          <ac:chgData name="Parth P Ved" userId="4b0ec5b8-7ef9-4dc0-8d36-4c3446bef2c8" providerId="ADAL" clId="{66725D04-7957-4E8B-8251-911A7F80CE25}" dt="2023-09-09T08:40:31.461" v="2578" actId="20577"/>
          <ac:spMkLst>
            <pc:docMk/>
            <pc:sldMk cId="1393768013" sldId="2147374926"/>
            <ac:spMk id="2" creationId="{650ACC24-8488-43C0-9A0A-195C0E6ED0D1}"/>
          </ac:spMkLst>
        </pc:spChg>
        <pc:spChg chg="mod">
          <ac:chgData name="Parth P Ved" userId="4b0ec5b8-7ef9-4dc0-8d36-4c3446bef2c8" providerId="ADAL" clId="{66725D04-7957-4E8B-8251-911A7F80CE25}" dt="2023-09-09T08:40:33.391" v="2580" actId="20577"/>
          <ac:spMkLst>
            <pc:docMk/>
            <pc:sldMk cId="1393768013" sldId="2147374926"/>
            <ac:spMk id="3" creationId="{561E47C9-B240-494C-9E62-B493CF52B358}"/>
          </ac:spMkLst>
        </pc:spChg>
      </pc:sldChg>
      <pc:sldChg chg="add del">
        <pc:chgData name="Parth P Ved" userId="4b0ec5b8-7ef9-4dc0-8d36-4c3446bef2c8" providerId="ADAL" clId="{66725D04-7957-4E8B-8251-911A7F80CE25}" dt="2023-09-09T08:40:27.339" v="2566"/>
        <pc:sldMkLst>
          <pc:docMk/>
          <pc:sldMk cId="2118042865" sldId="2147374926"/>
        </pc:sldMkLst>
      </pc:sldChg>
      <pc:sldChg chg="addSp delSp modSp add mod">
        <pc:chgData name="Parth P Ved" userId="4b0ec5b8-7ef9-4dc0-8d36-4c3446bef2c8" providerId="ADAL" clId="{66725D04-7957-4E8B-8251-911A7F80CE25}" dt="2023-09-09T08:42:55.818" v="2629" actId="208"/>
        <pc:sldMkLst>
          <pc:docMk/>
          <pc:sldMk cId="3495493331" sldId="2147374927"/>
        </pc:sldMkLst>
        <pc:spChg chg="mod">
          <ac:chgData name="Parth P Ved" userId="4b0ec5b8-7ef9-4dc0-8d36-4c3446bef2c8" providerId="ADAL" clId="{66725D04-7957-4E8B-8251-911A7F80CE25}" dt="2023-09-09T08:41:16.047" v="2597" actId="20577"/>
          <ac:spMkLst>
            <pc:docMk/>
            <pc:sldMk cId="3495493331" sldId="2147374927"/>
            <ac:spMk id="2" creationId="{DEF09EF4-86D6-9E03-B2A5-F97B5B5F14FD}"/>
          </ac:spMkLst>
        </pc:spChg>
        <pc:spChg chg="add del mod">
          <ac:chgData name="Parth P Ved" userId="4b0ec5b8-7ef9-4dc0-8d36-4c3446bef2c8" providerId="ADAL" clId="{66725D04-7957-4E8B-8251-911A7F80CE25}" dt="2023-09-09T08:41:29.285" v="2599"/>
          <ac:spMkLst>
            <pc:docMk/>
            <pc:sldMk cId="3495493331" sldId="2147374927"/>
            <ac:spMk id="3" creationId="{52B0A481-D3F4-71A8-CB41-EF5B4831B4AF}"/>
          </ac:spMkLst>
        </pc:spChg>
        <pc:spChg chg="mod">
          <ac:chgData name="Parth P Ved" userId="4b0ec5b8-7ef9-4dc0-8d36-4c3446bef2c8" providerId="ADAL" clId="{66725D04-7957-4E8B-8251-911A7F80CE25}" dt="2023-09-09T08:41:27.870" v="2598"/>
          <ac:spMkLst>
            <pc:docMk/>
            <pc:sldMk cId="3495493331" sldId="2147374927"/>
            <ac:spMk id="5" creationId="{5464FF2E-46FC-573F-2B25-D98B7C56454C}"/>
          </ac:spMkLst>
        </pc:spChg>
        <pc:spChg chg="mod">
          <ac:chgData name="Parth P Ved" userId="4b0ec5b8-7ef9-4dc0-8d36-4c3446bef2c8" providerId="ADAL" clId="{66725D04-7957-4E8B-8251-911A7F80CE25}" dt="2023-09-09T08:41:27.870" v="2598"/>
          <ac:spMkLst>
            <pc:docMk/>
            <pc:sldMk cId="3495493331" sldId="2147374927"/>
            <ac:spMk id="6" creationId="{9D1C1339-1496-3567-71BC-34F276143DE0}"/>
          </ac:spMkLst>
        </pc:spChg>
        <pc:spChg chg="mod">
          <ac:chgData name="Parth P Ved" userId="4b0ec5b8-7ef9-4dc0-8d36-4c3446bef2c8" providerId="ADAL" clId="{66725D04-7957-4E8B-8251-911A7F80CE25}" dt="2023-09-09T08:41:27.870" v="2598"/>
          <ac:spMkLst>
            <pc:docMk/>
            <pc:sldMk cId="3495493331" sldId="2147374927"/>
            <ac:spMk id="7" creationId="{2EB417D1-1C07-179B-C476-8F667394B3E9}"/>
          </ac:spMkLst>
        </pc:spChg>
        <pc:spChg chg="mod">
          <ac:chgData name="Parth P Ved" userId="4b0ec5b8-7ef9-4dc0-8d36-4c3446bef2c8" providerId="ADAL" clId="{66725D04-7957-4E8B-8251-911A7F80CE25}" dt="2023-09-09T08:41:27.870" v="2598"/>
          <ac:spMkLst>
            <pc:docMk/>
            <pc:sldMk cId="3495493331" sldId="2147374927"/>
            <ac:spMk id="8" creationId="{1786B331-C50C-94BC-A6D2-7CB22467FBE1}"/>
          </ac:spMkLst>
        </pc:spChg>
        <pc:spChg chg="mod">
          <ac:chgData name="Parth P Ved" userId="4b0ec5b8-7ef9-4dc0-8d36-4c3446bef2c8" providerId="ADAL" clId="{66725D04-7957-4E8B-8251-911A7F80CE25}" dt="2023-09-09T08:41:27.870" v="2598"/>
          <ac:spMkLst>
            <pc:docMk/>
            <pc:sldMk cId="3495493331" sldId="2147374927"/>
            <ac:spMk id="9" creationId="{44DDC0C7-7ABF-450E-579D-C85BDE16F5D9}"/>
          </ac:spMkLst>
        </pc:spChg>
        <pc:spChg chg="mod">
          <ac:chgData name="Parth P Ved" userId="4b0ec5b8-7ef9-4dc0-8d36-4c3446bef2c8" providerId="ADAL" clId="{66725D04-7957-4E8B-8251-911A7F80CE25}" dt="2023-09-09T08:41:27.870" v="2598"/>
          <ac:spMkLst>
            <pc:docMk/>
            <pc:sldMk cId="3495493331" sldId="2147374927"/>
            <ac:spMk id="10" creationId="{F3864E94-D25C-DF9E-47CE-FECED7EC00A4}"/>
          </ac:spMkLst>
        </pc:spChg>
        <pc:spChg chg="mod">
          <ac:chgData name="Parth P Ved" userId="4b0ec5b8-7ef9-4dc0-8d36-4c3446bef2c8" providerId="ADAL" clId="{66725D04-7957-4E8B-8251-911A7F80CE25}" dt="2023-09-09T08:41:27.870" v="2598"/>
          <ac:spMkLst>
            <pc:docMk/>
            <pc:sldMk cId="3495493331" sldId="2147374927"/>
            <ac:spMk id="11" creationId="{2EAE85C9-9242-F845-0889-E3FA0C94C361}"/>
          </ac:spMkLst>
        </pc:spChg>
        <pc:spChg chg="mod">
          <ac:chgData name="Parth P Ved" userId="4b0ec5b8-7ef9-4dc0-8d36-4c3446bef2c8" providerId="ADAL" clId="{66725D04-7957-4E8B-8251-911A7F80CE25}" dt="2023-09-09T08:41:27.870" v="2598"/>
          <ac:spMkLst>
            <pc:docMk/>
            <pc:sldMk cId="3495493331" sldId="2147374927"/>
            <ac:spMk id="12" creationId="{1C5AE2CD-C2A2-8D32-11E5-71CB03BCB37A}"/>
          </ac:spMkLst>
        </pc:spChg>
        <pc:spChg chg="mod">
          <ac:chgData name="Parth P Ved" userId="4b0ec5b8-7ef9-4dc0-8d36-4c3446bef2c8" providerId="ADAL" clId="{66725D04-7957-4E8B-8251-911A7F80CE25}" dt="2023-09-09T08:41:27.870" v="2598"/>
          <ac:spMkLst>
            <pc:docMk/>
            <pc:sldMk cId="3495493331" sldId="2147374927"/>
            <ac:spMk id="13" creationId="{84328D0F-DBAA-1EB4-6DC1-CB9029E97733}"/>
          </ac:spMkLst>
        </pc:spChg>
        <pc:spChg chg="mod">
          <ac:chgData name="Parth P Ved" userId="4b0ec5b8-7ef9-4dc0-8d36-4c3446bef2c8" providerId="ADAL" clId="{66725D04-7957-4E8B-8251-911A7F80CE25}" dt="2023-09-09T08:41:27.870" v="2598"/>
          <ac:spMkLst>
            <pc:docMk/>
            <pc:sldMk cId="3495493331" sldId="2147374927"/>
            <ac:spMk id="14" creationId="{45D3F54D-D8D1-1851-5BE3-30F038ECA0C1}"/>
          </ac:spMkLst>
        </pc:spChg>
        <pc:spChg chg="mod">
          <ac:chgData name="Parth P Ved" userId="4b0ec5b8-7ef9-4dc0-8d36-4c3446bef2c8" providerId="ADAL" clId="{66725D04-7957-4E8B-8251-911A7F80CE25}" dt="2023-09-09T08:41:27.870" v="2598"/>
          <ac:spMkLst>
            <pc:docMk/>
            <pc:sldMk cId="3495493331" sldId="2147374927"/>
            <ac:spMk id="15" creationId="{1F3D40F7-568D-D25E-7714-171705440673}"/>
          </ac:spMkLst>
        </pc:spChg>
        <pc:spChg chg="mod">
          <ac:chgData name="Parth P Ved" userId="4b0ec5b8-7ef9-4dc0-8d36-4c3446bef2c8" providerId="ADAL" clId="{66725D04-7957-4E8B-8251-911A7F80CE25}" dt="2023-09-09T08:41:27.870" v="2598"/>
          <ac:spMkLst>
            <pc:docMk/>
            <pc:sldMk cId="3495493331" sldId="2147374927"/>
            <ac:spMk id="16" creationId="{994A30A9-0E03-A560-6EB6-EAD087FFB6E2}"/>
          </ac:spMkLst>
        </pc:spChg>
        <pc:spChg chg="mod">
          <ac:chgData name="Parth P Ved" userId="4b0ec5b8-7ef9-4dc0-8d36-4c3446bef2c8" providerId="ADAL" clId="{66725D04-7957-4E8B-8251-911A7F80CE25}" dt="2023-09-09T08:41:27.870" v="2598"/>
          <ac:spMkLst>
            <pc:docMk/>
            <pc:sldMk cId="3495493331" sldId="2147374927"/>
            <ac:spMk id="17" creationId="{746D8317-ECF9-9917-1289-3BC3F9685EDD}"/>
          </ac:spMkLst>
        </pc:spChg>
        <pc:spChg chg="mod">
          <ac:chgData name="Parth P Ved" userId="4b0ec5b8-7ef9-4dc0-8d36-4c3446bef2c8" providerId="ADAL" clId="{66725D04-7957-4E8B-8251-911A7F80CE25}" dt="2023-09-09T08:41:27.870" v="2598"/>
          <ac:spMkLst>
            <pc:docMk/>
            <pc:sldMk cId="3495493331" sldId="2147374927"/>
            <ac:spMk id="18" creationId="{680AA607-F1A5-F50A-4C61-5621B65EECE5}"/>
          </ac:spMkLst>
        </pc:spChg>
        <pc:spChg chg="mod">
          <ac:chgData name="Parth P Ved" userId="4b0ec5b8-7ef9-4dc0-8d36-4c3446bef2c8" providerId="ADAL" clId="{66725D04-7957-4E8B-8251-911A7F80CE25}" dt="2023-09-09T08:41:27.870" v="2598"/>
          <ac:spMkLst>
            <pc:docMk/>
            <pc:sldMk cId="3495493331" sldId="2147374927"/>
            <ac:spMk id="19" creationId="{8AC19EA5-90FF-BA47-B376-B02E27399AC2}"/>
          </ac:spMkLst>
        </pc:spChg>
        <pc:spChg chg="mod">
          <ac:chgData name="Parth P Ved" userId="4b0ec5b8-7ef9-4dc0-8d36-4c3446bef2c8" providerId="ADAL" clId="{66725D04-7957-4E8B-8251-911A7F80CE25}" dt="2023-09-09T08:41:27.870" v="2598"/>
          <ac:spMkLst>
            <pc:docMk/>
            <pc:sldMk cId="3495493331" sldId="2147374927"/>
            <ac:spMk id="20" creationId="{FD00A6EF-739A-99E7-35C6-6F363B9EA65F}"/>
          </ac:spMkLst>
        </pc:spChg>
        <pc:spChg chg="add del mod">
          <ac:chgData name="Parth P Ved" userId="4b0ec5b8-7ef9-4dc0-8d36-4c3446bef2c8" providerId="ADAL" clId="{66725D04-7957-4E8B-8251-911A7F80CE25}" dt="2023-09-09T08:41:29.285" v="2599"/>
          <ac:spMkLst>
            <pc:docMk/>
            <pc:sldMk cId="3495493331" sldId="2147374927"/>
            <ac:spMk id="21" creationId="{DEF805A6-A526-D7A0-E434-933215113314}"/>
          </ac:spMkLst>
        </pc:spChg>
        <pc:spChg chg="add mod">
          <ac:chgData name="Parth P Ved" userId="4b0ec5b8-7ef9-4dc0-8d36-4c3446bef2c8" providerId="ADAL" clId="{66725D04-7957-4E8B-8251-911A7F80CE25}" dt="2023-09-09T08:41:57.049" v="2610" actId="20577"/>
          <ac:spMkLst>
            <pc:docMk/>
            <pc:sldMk cId="3495493331" sldId="2147374927"/>
            <ac:spMk id="22" creationId="{221D350B-2681-580A-98B3-4CB39BEFFEB3}"/>
          </ac:spMkLst>
        </pc:spChg>
        <pc:spChg chg="mod topLvl">
          <ac:chgData name="Parth P Ved" userId="4b0ec5b8-7ef9-4dc0-8d36-4c3446bef2c8" providerId="ADAL" clId="{66725D04-7957-4E8B-8251-911A7F80CE25}" dt="2023-09-09T08:42:49.260" v="2628" actId="165"/>
          <ac:spMkLst>
            <pc:docMk/>
            <pc:sldMk cId="3495493331" sldId="2147374927"/>
            <ac:spMk id="24" creationId="{1DD2252F-9E4E-9A3A-942A-7DFE3871F354}"/>
          </ac:spMkLst>
        </pc:spChg>
        <pc:spChg chg="mod topLvl">
          <ac:chgData name="Parth P Ved" userId="4b0ec5b8-7ef9-4dc0-8d36-4c3446bef2c8" providerId="ADAL" clId="{66725D04-7957-4E8B-8251-911A7F80CE25}" dt="2023-09-09T08:42:55.818" v="2629" actId="208"/>
          <ac:spMkLst>
            <pc:docMk/>
            <pc:sldMk cId="3495493331" sldId="2147374927"/>
            <ac:spMk id="25" creationId="{9C614B77-2AB5-DC8A-8778-D53324B9140E}"/>
          </ac:spMkLst>
        </pc:spChg>
        <pc:spChg chg="mod topLvl">
          <ac:chgData name="Parth P Ved" userId="4b0ec5b8-7ef9-4dc0-8d36-4c3446bef2c8" providerId="ADAL" clId="{66725D04-7957-4E8B-8251-911A7F80CE25}" dt="2023-09-09T08:42:49.260" v="2628" actId="165"/>
          <ac:spMkLst>
            <pc:docMk/>
            <pc:sldMk cId="3495493331" sldId="2147374927"/>
            <ac:spMk id="26" creationId="{9447143A-4B02-D732-BFB5-1682FB9152E6}"/>
          </ac:spMkLst>
        </pc:spChg>
        <pc:spChg chg="mod topLvl">
          <ac:chgData name="Parth P Ved" userId="4b0ec5b8-7ef9-4dc0-8d36-4c3446bef2c8" providerId="ADAL" clId="{66725D04-7957-4E8B-8251-911A7F80CE25}" dt="2023-09-09T08:42:49.260" v="2628" actId="165"/>
          <ac:spMkLst>
            <pc:docMk/>
            <pc:sldMk cId="3495493331" sldId="2147374927"/>
            <ac:spMk id="27" creationId="{F6E633EB-E76A-B9D6-4581-622C61A57218}"/>
          </ac:spMkLst>
        </pc:spChg>
        <pc:spChg chg="mod topLvl">
          <ac:chgData name="Parth P Ved" userId="4b0ec5b8-7ef9-4dc0-8d36-4c3446bef2c8" providerId="ADAL" clId="{66725D04-7957-4E8B-8251-911A7F80CE25}" dt="2023-09-09T08:42:49.260" v="2628" actId="165"/>
          <ac:spMkLst>
            <pc:docMk/>
            <pc:sldMk cId="3495493331" sldId="2147374927"/>
            <ac:spMk id="28" creationId="{CCED4A09-DBA2-0AC6-EF1C-3B64606C5A81}"/>
          </ac:spMkLst>
        </pc:spChg>
        <pc:spChg chg="mod topLvl">
          <ac:chgData name="Parth P Ved" userId="4b0ec5b8-7ef9-4dc0-8d36-4c3446bef2c8" providerId="ADAL" clId="{66725D04-7957-4E8B-8251-911A7F80CE25}" dt="2023-09-09T08:42:49.260" v="2628" actId="165"/>
          <ac:spMkLst>
            <pc:docMk/>
            <pc:sldMk cId="3495493331" sldId="2147374927"/>
            <ac:spMk id="29" creationId="{BADE0874-C4DB-0D43-7417-294678B704D9}"/>
          </ac:spMkLst>
        </pc:spChg>
        <pc:spChg chg="mod topLvl">
          <ac:chgData name="Parth P Ved" userId="4b0ec5b8-7ef9-4dc0-8d36-4c3446bef2c8" providerId="ADAL" clId="{66725D04-7957-4E8B-8251-911A7F80CE25}" dt="2023-09-09T08:42:49.260" v="2628" actId="165"/>
          <ac:spMkLst>
            <pc:docMk/>
            <pc:sldMk cId="3495493331" sldId="2147374927"/>
            <ac:spMk id="30" creationId="{CC8B1B31-F097-9833-EE88-A54F390E4F7D}"/>
          </ac:spMkLst>
        </pc:spChg>
        <pc:spChg chg="mod topLvl">
          <ac:chgData name="Parth P Ved" userId="4b0ec5b8-7ef9-4dc0-8d36-4c3446bef2c8" providerId="ADAL" clId="{66725D04-7957-4E8B-8251-911A7F80CE25}" dt="2023-09-09T08:42:49.260" v="2628" actId="165"/>
          <ac:spMkLst>
            <pc:docMk/>
            <pc:sldMk cId="3495493331" sldId="2147374927"/>
            <ac:spMk id="31" creationId="{91CA9C59-58DC-BEFA-26EF-D79DA5712CD8}"/>
          </ac:spMkLst>
        </pc:spChg>
        <pc:spChg chg="mod topLvl">
          <ac:chgData name="Parth P Ved" userId="4b0ec5b8-7ef9-4dc0-8d36-4c3446bef2c8" providerId="ADAL" clId="{66725D04-7957-4E8B-8251-911A7F80CE25}" dt="2023-09-09T08:42:49.260" v="2628" actId="165"/>
          <ac:spMkLst>
            <pc:docMk/>
            <pc:sldMk cId="3495493331" sldId="2147374927"/>
            <ac:spMk id="2304" creationId="{85A71982-A8FA-4A30-4172-20944CD52A43}"/>
          </ac:spMkLst>
        </pc:spChg>
        <pc:spChg chg="mod topLvl">
          <ac:chgData name="Parth P Ved" userId="4b0ec5b8-7ef9-4dc0-8d36-4c3446bef2c8" providerId="ADAL" clId="{66725D04-7957-4E8B-8251-911A7F80CE25}" dt="2023-09-09T08:42:49.260" v="2628" actId="165"/>
          <ac:spMkLst>
            <pc:docMk/>
            <pc:sldMk cId="3495493331" sldId="2147374927"/>
            <ac:spMk id="2305" creationId="{BBB7BB88-268B-4149-A34F-D00192D64F9D}"/>
          </ac:spMkLst>
        </pc:spChg>
        <pc:spChg chg="del">
          <ac:chgData name="Parth P Ved" userId="4b0ec5b8-7ef9-4dc0-8d36-4c3446bef2c8" providerId="ADAL" clId="{66725D04-7957-4E8B-8251-911A7F80CE25}" dt="2023-09-09T08:40:44.753" v="2584" actId="478"/>
          <ac:spMkLst>
            <pc:docMk/>
            <pc:sldMk cId="3495493331" sldId="2147374927"/>
            <ac:spMk id="2306" creationId="{3BA86FC9-6C24-5BB5-1BD6-0013862A6D40}"/>
          </ac:spMkLst>
        </pc:spChg>
        <pc:spChg chg="del">
          <ac:chgData name="Parth P Ved" userId="4b0ec5b8-7ef9-4dc0-8d36-4c3446bef2c8" providerId="ADAL" clId="{66725D04-7957-4E8B-8251-911A7F80CE25}" dt="2023-09-09T08:40:44.753" v="2584" actId="478"/>
          <ac:spMkLst>
            <pc:docMk/>
            <pc:sldMk cId="3495493331" sldId="2147374927"/>
            <ac:spMk id="2307" creationId="{709C078A-ACC0-3F00-95BE-4E0667589307}"/>
          </ac:spMkLst>
        </pc:spChg>
        <pc:spChg chg="mod topLvl">
          <ac:chgData name="Parth P Ved" userId="4b0ec5b8-7ef9-4dc0-8d36-4c3446bef2c8" providerId="ADAL" clId="{66725D04-7957-4E8B-8251-911A7F80CE25}" dt="2023-09-09T08:42:49.260" v="2628" actId="165"/>
          <ac:spMkLst>
            <pc:docMk/>
            <pc:sldMk cId="3495493331" sldId="2147374927"/>
            <ac:spMk id="2317" creationId="{63BE5DA2-6E3B-2042-8EA7-A1F1B353847D}"/>
          </ac:spMkLst>
        </pc:spChg>
        <pc:spChg chg="mod topLvl">
          <ac:chgData name="Parth P Ved" userId="4b0ec5b8-7ef9-4dc0-8d36-4c3446bef2c8" providerId="ADAL" clId="{66725D04-7957-4E8B-8251-911A7F80CE25}" dt="2023-09-09T08:42:49.260" v="2628" actId="165"/>
          <ac:spMkLst>
            <pc:docMk/>
            <pc:sldMk cId="3495493331" sldId="2147374927"/>
            <ac:spMk id="2318" creationId="{EA88B24B-66D3-0FD9-B19A-0BD3723355FE}"/>
          </ac:spMkLst>
        </pc:spChg>
        <pc:spChg chg="mod topLvl">
          <ac:chgData name="Parth P Ved" userId="4b0ec5b8-7ef9-4dc0-8d36-4c3446bef2c8" providerId="ADAL" clId="{66725D04-7957-4E8B-8251-911A7F80CE25}" dt="2023-09-09T08:42:49.260" v="2628" actId="165"/>
          <ac:spMkLst>
            <pc:docMk/>
            <pc:sldMk cId="3495493331" sldId="2147374927"/>
            <ac:spMk id="2319" creationId="{E43B8B86-FA9A-DB29-E3AB-C13908DBC541}"/>
          </ac:spMkLst>
        </pc:spChg>
        <pc:spChg chg="mod topLvl">
          <ac:chgData name="Parth P Ved" userId="4b0ec5b8-7ef9-4dc0-8d36-4c3446bef2c8" providerId="ADAL" clId="{66725D04-7957-4E8B-8251-911A7F80CE25}" dt="2023-09-09T08:42:49.260" v="2628" actId="165"/>
          <ac:spMkLst>
            <pc:docMk/>
            <pc:sldMk cId="3495493331" sldId="2147374927"/>
            <ac:spMk id="2320" creationId="{358080B7-C385-1A98-79AC-F25AE4AAB5F5}"/>
          </ac:spMkLst>
        </pc:spChg>
        <pc:spChg chg="mod topLvl">
          <ac:chgData name="Parth P Ved" userId="4b0ec5b8-7ef9-4dc0-8d36-4c3446bef2c8" providerId="ADAL" clId="{66725D04-7957-4E8B-8251-911A7F80CE25}" dt="2023-09-09T08:42:49.260" v="2628" actId="165"/>
          <ac:spMkLst>
            <pc:docMk/>
            <pc:sldMk cId="3495493331" sldId="2147374927"/>
            <ac:spMk id="2321" creationId="{25BF8DBB-C494-9205-81C3-7F3716028BB7}"/>
          </ac:spMkLst>
        </pc:spChg>
        <pc:spChg chg="mod topLvl">
          <ac:chgData name="Parth P Ved" userId="4b0ec5b8-7ef9-4dc0-8d36-4c3446bef2c8" providerId="ADAL" clId="{66725D04-7957-4E8B-8251-911A7F80CE25}" dt="2023-09-09T08:42:49.260" v="2628" actId="165"/>
          <ac:spMkLst>
            <pc:docMk/>
            <pc:sldMk cId="3495493331" sldId="2147374927"/>
            <ac:spMk id="2322" creationId="{B381C568-71BA-C00C-767B-A2BE7FC541A8}"/>
          </ac:spMkLst>
        </pc:spChg>
        <pc:spChg chg="add mod">
          <ac:chgData name="Parth P Ved" userId="4b0ec5b8-7ef9-4dc0-8d36-4c3446bef2c8" providerId="ADAL" clId="{66725D04-7957-4E8B-8251-911A7F80CE25}" dt="2023-09-09T08:41:47.159" v="2604" actId="1076"/>
          <ac:spMkLst>
            <pc:docMk/>
            <pc:sldMk cId="3495493331" sldId="2147374927"/>
            <ac:spMk id="2323" creationId="{3CB1E7AB-18B4-3909-A3D1-CA14593D1DB9}"/>
          </ac:spMkLst>
        </pc:spChg>
        <pc:spChg chg="del">
          <ac:chgData name="Parth P Ved" userId="4b0ec5b8-7ef9-4dc0-8d36-4c3446bef2c8" providerId="ADAL" clId="{66725D04-7957-4E8B-8251-911A7F80CE25}" dt="2023-09-09T08:40:44.753" v="2584" actId="478"/>
          <ac:spMkLst>
            <pc:docMk/>
            <pc:sldMk cId="3495493331" sldId="2147374927"/>
            <ac:spMk id="2384" creationId="{DD5BED4E-4143-6071-4953-0ACEE4C102C6}"/>
          </ac:spMkLst>
        </pc:spChg>
        <pc:spChg chg="del">
          <ac:chgData name="Parth P Ved" userId="4b0ec5b8-7ef9-4dc0-8d36-4c3446bef2c8" providerId="ADAL" clId="{66725D04-7957-4E8B-8251-911A7F80CE25}" dt="2023-09-09T08:40:44.753" v="2584" actId="478"/>
          <ac:spMkLst>
            <pc:docMk/>
            <pc:sldMk cId="3495493331" sldId="2147374927"/>
            <ac:spMk id="2385" creationId="{BA391C7A-531F-483F-48BA-69D145601676}"/>
          </ac:spMkLst>
        </pc:spChg>
        <pc:spChg chg="del">
          <ac:chgData name="Parth P Ved" userId="4b0ec5b8-7ef9-4dc0-8d36-4c3446bef2c8" providerId="ADAL" clId="{66725D04-7957-4E8B-8251-911A7F80CE25}" dt="2023-09-09T08:40:44.753" v="2584" actId="478"/>
          <ac:spMkLst>
            <pc:docMk/>
            <pc:sldMk cId="3495493331" sldId="2147374927"/>
            <ac:spMk id="2386" creationId="{12B938EB-2E01-16F9-8F1F-0BDFAE54BDDA}"/>
          </ac:spMkLst>
        </pc:spChg>
        <pc:grpChg chg="add del mod">
          <ac:chgData name="Parth P Ved" userId="4b0ec5b8-7ef9-4dc0-8d36-4c3446bef2c8" providerId="ADAL" clId="{66725D04-7957-4E8B-8251-911A7F80CE25}" dt="2023-09-09T08:41:29.285" v="2599"/>
          <ac:grpSpMkLst>
            <pc:docMk/>
            <pc:sldMk cId="3495493331" sldId="2147374927"/>
            <ac:grpSpMk id="4" creationId="{2C2487D2-351E-C6F3-31CA-C215932ADE8D}"/>
          </ac:grpSpMkLst>
        </pc:grpChg>
        <pc:grpChg chg="add del mod">
          <ac:chgData name="Parth P Ved" userId="4b0ec5b8-7ef9-4dc0-8d36-4c3446bef2c8" providerId="ADAL" clId="{66725D04-7957-4E8B-8251-911A7F80CE25}" dt="2023-09-09T08:42:49.260" v="2628" actId="165"/>
          <ac:grpSpMkLst>
            <pc:docMk/>
            <pc:sldMk cId="3495493331" sldId="2147374927"/>
            <ac:grpSpMk id="23" creationId="{CDC9903E-B651-F421-2CA5-6FB812009D9A}"/>
          </ac:grpSpMkLst>
        </pc:grpChg>
        <pc:grpChg chg="del">
          <ac:chgData name="Parth P Ved" userId="4b0ec5b8-7ef9-4dc0-8d36-4c3446bef2c8" providerId="ADAL" clId="{66725D04-7957-4E8B-8251-911A7F80CE25}" dt="2023-09-09T08:40:44.753" v="2584" actId="478"/>
          <ac:grpSpMkLst>
            <pc:docMk/>
            <pc:sldMk cId="3495493331" sldId="2147374927"/>
            <ac:grpSpMk id="2308" creationId="{0B60214D-2831-0465-C690-08191E454C09}"/>
          </ac:grpSpMkLst>
        </pc:grpChg>
        <pc:cxnChg chg="del">
          <ac:chgData name="Parth P Ved" userId="4b0ec5b8-7ef9-4dc0-8d36-4c3446bef2c8" providerId="ADAL" clId="{66725D04-7957-4E8B-8251-911A7F80CE25}" dt="2023-09-09T08:40:44.753" v="2584" actId="478"/>
          <ac:cxnSpMkLst>
            <pc:docMk/>
            <pc:sldMk cId="3495493331" sldId="2147374927"/>
            <ac:cxnSpMk id="2387" creationId="{6D681504-824B-1060-2154-8F27F77481D9}"/>
          </ac:cxnSpMkLst>
        </pc:cxnChg>
        <pc:cxnChg chg="del">
          <ac:chgData name="Parth P Ved" userId="4b0ec5b8-7ef9-4dc0-8d36-4c3446bef2c8" providerId="ADAL" clId="{66725D04-7957-4E8B-8251-911A7F80CE25}" dt="2023-09-09T08:40:44.753" v="2584" actId="478"/>
          <ac:cxnSpMkLst>
            <pc:docMk/>
            <pc:sldMk cId="3495493331" sldId="2147374927"/>
            <ac:cxnSpMk id="2388" creationId="{1EA0EDAC-A3DF-6E33-F263-B3F42662C859}"/>
          </ac:cxnSpMkLst>
        </pc:cxnChg>
      </pc:sldChg>
      <pc:sldChg chg="add del">
        <pc:chgData name="Parth P Ved" userId="4b0ec5b8-7ef9-4dc0-8d36-4c3446bef2c8" providerId="ADAL" clId="{66725D04-7957-4E8B-8251-911A7F80CE25}" dt="2023-09-09T08:40:42.541" v="2582"/>
        <pc:sldMkLst>
          <pc:docMk/>
          <pc:sldMk cId="3823839030" sldId="2147374927"/>
        </pc:sldMkLst>
      </pc:sldChg>
      <pc:sldMasterChg chg="modSldLayout">
        <pc:chgData name="Parth P Ved" userId="4b0ec5b8-7ef9-4dc0-8d36-4c3446bef2c8" providerId="ADAL" clId="{66725D04-7957-4E8B-8251-911A7F80CE25}" dt="2023-09-09T08:08:57.828" v="2263" actId="478"/>
        <pc:sldMasterMkLst>
          <pc:docMk/>
          <pc:sldMasterMk cId="1403592524" sldId="2147483661"/>
        </pc:sldMasterMkLst>
        <pc:sldLayoutChg chg="delSp">
          <pc:chgData name="Parth P Ved" userId="4b0ec5b8-7ef9-4dc0-8d36-4c3446bef2c8" providerId="ADAL" clId="{66725D04-7957-4E8B-8251-911A7F80CE25}" dt="2023-09-09T08:08:57.828" v="2263" actId="478"/>
          <pc:sldLayoutMkLst>
            <pc:docMk/>
            <pc:sldMasterMk cId="1403592524" sldId="2147483661"/>
            <pc:sldLayoutMk cId="4160744743" sldId="2147483664"/>
          </pc:sldLayoutMkLst>
          <pc:grpChg chg="del">
            <ac:chgData name="Parth P Ved" userId="4b0ec5b8-7ef9-4dc0-8d36-4c3446bef2c8" providerId="ADAL" clId="{66725D04-7957-4E8B-8251-911A7F80CE25}" dt="2023-09-09T08:08:57.828" v="2263" actId="478"/>
            <ac:grpSpMkLst>
              <pc:docMk/>
              <pc:sldMasterMk cId="1403592524" sldId="2147483661"/>
              <pc:sldLayoutMk cId="4160744743" sldId="2147483664"/>
              <ac:grpSpMk id="82" creationId="{A63454B3-EB4E-450A-98AA-6B5943D89732}"/>
            </ac:grpSpMkLst>
          </pc:grpChg>
        </pc:sldLayoutChg>
      </pc:sldMasterChg>
      <pc:sldMasterChg chg="delSp">
        <pc:chgData name="Parth P Ved" userId="4b0ec5b8-7ef9-4dc0-8d36-4c3446bef2c8" providerId="ADAL" clId="{66725D04-7957-4E8B-8251-911A7F80CE25}" dt="2023-09-09T08:09:25.111" v="2264" actId="478"/>
        <pc:sldMasterMkLst>
          <pc:docMk/>
          <pc:sldMasterMk cId="2828161216" sldId="2147483700"/>
        </pc:sldMasterMkLst>
        <pc:grpChg chg="del">
          <ac:chgData name="Parth P Ved" userId="4b0ec5b8-7ef9-4dc0-8d36-4c3446bef2c8" providerId="ADAL" clId="{66725D04-7957-4E8B-8251-911A7F80CE25}" dt="2023-09-09T08:09:25.111" v="2264" actId="478"/>
          <ac:grpSpMkLst>
            <pc:docMk/>
            <pc:sldMasterMk cId="2828161216" sldId="2147483700"/>
            <ac:grpSpMk id="11" creationId="{3CDF1934-D2B2-4AA9-8EA1-1E5186579043}"/>
          </ac:grpSpMkLst>
        </pc:grpChg>
      </pc:sldMasterChg>
    </pc:docChg>
  </pc:docChgLst>
  <pc:docChgLst>
    <pc:chgData name="Swapnil Raichandani" userId="857b48b4-3170-4a46-9423-b0f8bf67f14a" providerId="ADAL" clId="{378B5EED-8B03-49EB-B2BD-E9726B866780}"/>
    <pc:docChg chg="undo redo custSel addSld delSld modSld sldOrd">
      <pc:chgData name="Swapnil Raichandani" userId="857b48b4-3170-4a46-9423-b0f8bf67f14a" providerId="ADAL" clId="{378B5EED-8B03-49EB-B2BD-E9726B866780}" dt="2023-08-04T11:41:09.592" v="1149" actId="478"/>
      <pc:docMkLst>
        <pc:docMk/>
      </pc:docMkLst>
      <pc:sldChg chg="modSp add mod ord">
        <pc:chgData name="Swapnil Raichandani" userId="857b48b4-3170-4a46-9423-b0f8bf67f14a" providerId="ADAL" clId="{378B5EED-8B03-49EB-B2BD-E9726B866780}" dt="2023-08-04T11:29:25.956" v="1043" actId="20577"/>
        <pc:sldMkLst>
          <pc:docMk/>
          <pc:sldMk cId="1142519127" sldId="318"/>
        </pc:sldMkLst>
        <pc:spChg chg="mod">
          <ac:chgData name="Swapnil Raichandani" userId="857b48b4-3170-4a46-9423-b0f8bf67f14a" providerId="ADAL" clId="{378B5EED-8B03-49EB-B2BD-E9726B866780}" dt="2023-08-04T11:29:25.956" v="1043" actId="20577"/>
          <ac:spMkLst>
            <pc:docMk/>
            <pc:sldMk cId="1142519127" sldId="318"/>
            <ac:spMk id="2" creationId="{997C2208-A571-4571-AA77-28945D5CB7B2}"/>
          </ac:spMkLst>
        </pc:spChg>
      </pc:sldChg>
      <pc:sldChg chg="modSp mod">
        <pc:chgData name="Swapnil Raichandani" userId="857b48b4-3170-4a46-9423-b0f8bf67f14a" providerId="ADAL" clId="{378B5EED-8B03-49EB-B2BD-E9726B866780}" dt="2023-08-04T06:52:15.136" v="21" actId="1036"/>
        <pc:sldMkLst>
          <pc:docMk/>
          <pc:sldMk cId="3452608626" sldId="4871"/>
        </pc:sldMkLst>
        <pc:spChg chg="mod">
          <ac:chgData name="Swapnil Raichandani" userId="857b48b4-3170-4a46-9423-b0f8bf67f14a" providerId="ADAL" clId="{378B5EED-8B03-49EB-B2BD-E9726B866780}" dt="2023-08-04T06:52:03.816" v="0" actId="6549"/>
          <ac:spMkLst>
            <pc:docMk/>
            <pc:sldMk cId="3452608626" sldId="4871"/>
            <ac:spMk id="2" creationId="{E47AE8C5-C012-2C09-DD87-F703936B6295}"/>
          </ac:spMkLst>
        </pc:spChg>
        <pc:spChg chg="mod">
          <ac:chgData name="Swapnil Raichandani" userId="857b48b4-3170-4a46-9423-b0f8bf67f14a" providerId="ADAL" clId="{378B5EED-8B03-49EB-B2BD-E9726B866780}" dt="2023-08-04T06:52:15.136" v="21" actId="1036"/>
          <ac:spMkLst>
            <pc:docMk/>
            <pc:sldMk cId="3452608626" sldId="4871"/>
            <ac:spMk id="4" creationId="{D01FCA7C-CE09-7AF8-8235-1C58D2DC694A}"/>
          </ac:spMkLst>
        </pc:spChg>
        <pc:spChg chg="mod">
          <ac:chgData name="Swapnil Raichandani" userId="857b48b4-3170-4a46-9423-b0f8bf67f14a" providerId="ADAL" clId="{378B5EED-8B03-49EB-B2BD-E9726B866780}" dt="2023-08-04T06:52:15.136" v="21" actId="1036"/>
          <ac:spMkLst>
            <pc:docMk/>
            <pc:sldMk cId="3452608626" sldId="4871"/>
            <ac:spMk id="7" creationId="{8FBD0290-DE64-7AA7-B9AC-66F6EEEDA552}"/>
          </ac:spMkLst>
        </pc:spChg>
        <pc:grpChg chg="mod">
          <ac:chgData name="Swapnil Raichandani" userId="857b48b4-3170-4a46-9423-b0f8bf67f14a" providerId="ADAL" clId="{378B5EED-8B03-49EB-B2BD-E9726B866780}" dt="2023-08-04T06:52:15.136" v="21" actId="1036"/>
          <ac:grpSpMkLst>
            <pc:docMk/>
            <pc:sldMk cId="3452608626" sldId="4871"/>
            <ac:grpSpMk id="163" creationId="{3B0AE107-A130-FF19-38B0-E94EECC0B228}"/>
          </ac:grpSpMkLst>
        </pc:grpChg>
        <pc:grpChg chg="mod">
          <ac:chgData name="Swapnil Raichandani" userId="857b48b4-3170-4a46-9423-b0f8bf67f14a" providerId="ADAL" clId="{378B5EED-8B03-49EB-B2BD-E9726B866780}" dt="2023-08-04T06:52:15.136" v="21" actId="1036"/>
          <ac:grpSpMkLst>
            <pc:docMk/>
            <pc:sldMk cId="3452608626" sldId="4871"/>
            <ac:grpSpMk id="184" creationId="{A473008E-4BDF-BFD2-6690-22FD0D8CD2AD}"/>
          </ac:grpSpMkLst>
        </pc:grpChg>
        <pc:grpChg chg="mod">
          <ac:chgData name="Swapnil Raichandani" userId="857b48b4-3170-4a46-9423-b0f8bf67f14a" providerId="ADAL" clId="{378B5EED-8B03-49EB-B2BD-E9726B866780}" dt="2023-08-04T06:52:15.136" v="21" actId="1036"/>
          <ac:grpSpMkLst>
            <pc:docMk/>
            <pc:sldMk cId="3452608626" sldId="4871"/>
            <ac:grpSpMk id="197" creationId="{FCD47587-59B9-C73A-C631-36F4FA605D0D}"/>
          </ac:grpSpMkLst>
        </pc:grpChg>
        <pc:grpChg chg="mod">
          <ac:chgData name="Swapnil Raichandani" userId="857b48b4-3170-4a46-9423-b0f8bf67f14a" providerId="ADAL" clId="{378B5EED-8B03-49EB-B2BD-E9726B866780}" dt="2023-08-04T06:52:15.136" v="21" actId="1036"/>
          <ac:grpSpMkLst>
            <pc:docMk/>
            <pc:sldMk cId="3452608626" sldId="4871"/>
            <ac:grpSpMk id="218" creationId="{BD7B9DD1-617A-1E9D-657A-D4E346DB23CB}"/>
          </ac:grpSpMkLst>
        </pc:grpChg>
      </pc:sldChg>
      <pc:sldChg chg="addSp delSp modSp new mod">
        <pc:chgData name="Swapnil Raichandani" userId="857b48b4-3170-4a46-9423-b0f8bf67f14a" providerId="ADAL" clId="{378B5EED-8B03-49EB-B2BD-E9726B866780}" dt="2023-08-04T08:15:26.073" v="230" actId="207"/>
        <pc:sldMkLst>
          <pc:docMk/>
          <pc:sldMk cId="3295215869" sldId="4872"/>
        </pc:sldMkLst>
        <pc:spChg chg="del">
          <ac:chgData name="Swapnil Raichandani" userId="857b48b4-3170-4a46-9423-b0f8bf67f14a" providerId="ADAL" clId="{378B5EED-8B03-49EB-B2BD-E9726B866780}" dt="2023-08-04T08:05:36.629" v="63" actId="478"/>
          <ac:spMkLst>
            <pc:docMk/>
            <pc:sldMk cId="3295215869" sldId="4872"/>
            <ac:spMk id="2" creationId="{382CF6A0-18FB-27B2-3271-38A474D7BDC4}"/>
          </ac:spMkLst>
        </pc:spChg>
        <pc:spChg chg="add mod">
          <ac:chgData name="Swapnil Raichandani" userId="857b48b4-3170-4a46-9423-b0f8bf67f14a" providerId="ADAL" clId="{378B5EED-8B03-49EB-B2BD-E9726B866780}" dt="2023-08-04T07:29:00.775" v="62" actId="20577"/>
          <ac:spMkLst>
            <pc:docMk/>
            <pc:sldMk cId="3295215869" sldId="4872"/>
            <ac:spMk id="3" creationId="{AFEF6CE6-1CBD-9E0D-02B4-15C7128B1C36}"/>
          </ac:spMkLst>
        </pc:spChg>
        <pc:spChg chg="add del mod">
          <ac:chgData name="Swapnil Raichandani" userId="857b48b4-3170-4a46-9423-b0f8bf67f14a" providerId="ADAL" clId="{378B5EED-8B03-49EB-B2BD-E9726B866780}" dt="2023-08-04T08:05:41.373" v="67"/>
          <ac:spMkLst>
            <pc:docMk/>
            <pc:sldMk cId="3295215869" sldId="4872"/>
            <ac:spMk id="4" creationId="{4C56FEF6-6E95-48D0-6903-DA2AA7DD9165}"/>
          </ac:spMkLst>
        </pc:spChg>
        <pc:spChg chg="add del mod">
          <ac:chgData name="Swapnil Raichandani" userId="857b48b4-3170-4a46-9423-b0f8bf67f14a" providerId="ADAL" clId="{378B5EED-8B03-49EB-B2BD-E9726B866780}" dt="2023-08-04T08:05:41.373" v="67"/>
          <ac:spMkLst>
            <pc:docMk/>
            <pc:sldMk cId="3295215869" sldId="4872"/>
            <ac:spMk id="5" creationId="{596AC9EB-B3E4-4932-2C13-9ABEDF973227}"/>
          </ac:spMkLst>
        </pc:spChg>
        <pc:spChg chg="add del mod">
          <ac:chgData name="Swapnil Raichandani" userId="857b48b4-3170-4a46-9423-b0f8bf67f14a" providerId="ADAL" clId="{378B5EED-8B03-49EB-B2BD-E9726B866780}" dt="2023-08-04T08:05:41.373" v="67"/>
          <ac:spMkLst>
            <pc:docMk/>
            <pc:sldMk cId="3295215869" sldId="4872"/>
            <ac:spMk id="6" creationId="{78B7DE1F-8C2C-BD10-31AE-7DF1D8EE9BDF}"/>
          </ac:spMkLst>
        </pc:spChg>
        <pc:spChg chg="mod">
          <ac:chgData name="Swapnil Raichandani" userId="857b48b4-3170-4a46-9423-b0f8bf67f14a" providerId="ADAL" clId="{378B5EED-8B03-49EB-B2BD-E9726B866780}" dt="2023-08-04T08:05:37.403" v="64"/>
          <ac:spMkLst>
            <pc:docMk/>
            <pc:sldMk cId="3295215869" sldId="4872"/>
            <ac:spMk id="8" creationId="{1D7A5070-8536-786A-4F59-1154BF6E7AF8}"/>
          </ac:spMkLst>
        </pc:spChg>
        <pc:spChg chg="mod">
          <ac:chgData name="Swapnil Raichandani" userId="857b48b4-3170-4a46-9423-b0f8bf67f14a" providerId="ADAL" clId="{378B5EED-8B03-49EB-B2BD-E9726B866780}" dt="2023-08-04T08:05:37.403" v="64"/>
          <ac:spMkLst>
            <pc:docMk/>
            <pc:sldMk cId="3295215869" sldId="4872"/>
            <ac:spMk id="9" creationId="{88C243FE-EA68-7290-197F-FD4115693C48}"/>
          </ac:spMkLst>
        </pc:spChg>
        <pc:spChg chg="mod">
          <ac:chgData name="Swapnil Raichandani" userId="857b48b4-3170-4a46-9423-b0f8bf67f14a" providerId="ADAL" clId="{378B5EED-8B03-49EB-B2BD-E9726B866780}" dt="2023-08-04T08:05:37.403" v="64"/>
          <ac:spMkLst>
            <pc:docMk/>
            <pc:sldMk cId="3295215869" sldId="4872"/>
            <ac:spMk id="12" creationId="{029F0FF4-AD78-5483-99C5-C54171DA94C3}"/>
          </ac:spMkLst>
        </pc:spChg>
        <pc:spChg chg="mod">
          <ac:chgData name="Swapnil Raichandani" userId="857b48b4-3170-4a46-9423-b0f8bf67f14a" providerId="ADAL" clId="{378B5EED-8B03-49EB-B2BD-E9726B866780}" dt="2023-08-04T08:05:37.403" v="64"/>
          <ac:spMkLst>
            <pc:docMk/>
            <pc:sldMk cId="3295215869" sldId="4872"/>
            <ac:spMk id="13" creationId="{94F4870F-D517-AF0F-C6C5-45CF98B2FFF2}"/>
          </ac:spMkLst>
        </pc:spChg>
        <pc:spChg chg="mod">
          <ac:chgData name="Swapnil Raichandani" userId="857b48b4-3170-4a46-9423-b0f8bf67f14a" providerId="ADAL" clId="{378B5EED-8B03-49EB-B2BD-E9726B866780}" dt="2023-08-04T08:05:37.403" v="64"/>
          <ac:spMkLst>
            <pc:docMk/>
            <pc:sldMk cId="3295215869" sldId="4872"/>
            <ac:spMk id="16" creationId="{A15F3E29-7662-424A-6AD0-55A4CC9B10A8}"/>
          </ac:spMkLst>
        </pc:spChg>
        <pc:spChg chg="mod">
          <ac:chgData name="Swapnil Raichandani" userId="857b48b4-3170-4a46-9423-b0f8bf67f14a" providerId="ADAL" clId="{378B5EED-8B03-49EB-B2BD-E9726B866780}" dt="2023-08-04T08:05:37.403" v="64"/>
          <ac:spMkLst>
            <pc:docMk/>
            <pc:sldMk cId="3295215869" sldId="4872"/>
            <ac:spMk id="17" creationId="{71B7B75D-A05D-5529-5784-4095B337C225}"/>
          </ac:spMkLst>
        </pc:spChg>
        <pc:spChg chg="add del mod">
          <ac:chgData name="Swapnil Raichandani" userId="857b48b4-3170-4a46-9423-b0f8bf67f14a" providerId="ADAL" clId="{378B5EED-8B03-49EB-B2BD-E9726B866780}" dt="2023-08-04T08:05:41.373" v="67"/>
          <ac:spMkLst>
            <pc:docMk/>
            <pc:sldMk cId="3295215869" sldId="4872"/>
            <ac:spMk id="19" creationId="{7F7BB2BA-48FC-094C-96EE-96B5A93F17BD}"/>
          </ac:spMkLst>
        </pc:spChg>
        <pc:spChg chg="add del mod">
          <ac:chgData name="Swapnil Raichandani" userId="857b48b4-3170-4a46-9423-b0f8bf67f14a" providerId="ADAL" clId="{378B5EED-8B03-49EB-B2BD-E9726B866780}" dt="2023-08-04T08:05:41.373" v="67"/>
          <ac:spMkLst>
            <pc:docMk/>
            <pc:sldMk cId="3295215869" sldId="4872"/>
            <ac:spMk id="20" creationId="{DA9C9ED5-CC9B-CCAF-3663-E288767EEC2E}"/>
          </ac:spMkLst>
        </pc:spChg>
        <pc:spChg chg="add mod">
          <ac:chgData name="Swapnil Raichandani" userId="857b48b4-3170-4a46-9423-b0f8bf67f14a" providerId="ADAL" clId="{378B5EED-8B03-49EB-B2BD-E9726B866780}" dt="2023-08-04T08:15:26.073" v="230" actId="207"/>
          <ac:spMkLst>
            <pc:docMk/>
            <pc:sldMk cId="3295215869" sldId="4872"/>
            <ac:spMk id="21" creationId="{9624A37E-057E-B62E-5930-7D5DDE0EB981}"/>
          </ac:spMkLst>
        </pc:spChg>
        <pc:spChg chg="add mod">
          <ac:chgData name="Swapnil Raichandani" userId="857b48b4-3170-4a46-9423-b0f8bf67f14a" providerId="ADAL" clId="{378B5EED-8B03-49EB-B2BD-E9726B866780}" dt="2023-08-04T08:14:49.792" v="222" actId="207"/>
          <ac:spMkLst>
            <pc:docMk/>
            <pc:sldMk cId="3295215869" sldId="4872"/>
            <ac:spMk id="22" creationId="{03C31852-D904-6A76-78A0-5BBB5216337D}"/>
          </ac:spMkLst>
        </pc:spChg>
        <pc:spChg chg="add del mod">
          <ac:chgData name="Swapnil Raichandani" userId="857b48b4-3170-4a46-9423-b0f8bf67f14a" providerId="ADAL" clId="{378B5EED-8B03-49EB-B2BD-E9726B866780}" dt="2023-08-04T08:06:40.635" v="94" actId="478"/>
          <ac:spMkLst>
            <pc:docMk/>
            <pc:sldMk cId="3295215869" sldId="4872"/>
            <ac:spMk id="23" creationId="{D8641632-271A-C1D0-2873-D2A203DDEABB}"/>
          </ac:spMkLst>
        </pc:spChg>
        <pc:spChg chg="mod">
          <ac:chgData name="Swapnil Raichandani" userId="857b48b4-3170-4a46-9423-b0f8bf67f14a" providerId="ADAL" clId="{378B5EED-8B03-49EB-B2BD-E9726B866780}" dt="2023-08-04T08:10:25.532" v="175" actId="1076"/>
          <ac:spMkLst>
            <pc:docMk/>
            <pc:sldMk cId="3295215869" sldId="4872"/>
            <ac:spMk id="25" creationId="{AC11C971-4841-3314-2DF6-35B24FB6A504}"/>
          </ac:spMkLst>
        </pc:spChg>
        <pc:spChg chg="mod">
          <ac:chgData name="Swapnil Raichandani" userId="857b48b4-3170-4a46-9423-b0f8bf67f14a" providerId="ADAL" clId="{378B5EED-8B03-49EB-B2BD-E9726B866780}" dt="2023-08-04T08:10:21.251" v="174" actId="255"/>
          <ac:spMkLst>
            <pc:docMk/>
            <pc:sldMk cId="3295215869" sldId="4872"/>
            <ac:spMk id="26" creationId="{D3A513A9-A4A7-610D-673F-BCFC085ED42A}"/>
          </ac:spMkLst>
        </pc:spChg>
        <pc:spChg chg="mod">
          <ac:chgData name="Swapnil Raichandani" userId="857b48b4-3170-4a46-9423-b0f8bf67f14a" providerId="ADAL" clId="{378B5EED-8B03-49EB-B2BD-E9726B866780}" dt="2023-08-04T08:13:22.803" v="210" actId="207"/>
          <ac:spMkLst>
            <pc:docMk/>
            <pc:sldMk cId="3295215869" sldId="4872"/>
            <ac:spMk id="29" creationId="{50B41668-62AD-17D0-06A6-63E1F4F8707B}"/>
          </ac:spMkLst>
        </pc:spChg>
        <pc:spChg chg="mod">
          <ac:chgData name="Swapnil Raichandani" userId="857b48b4-3170-4a46-9423-b0f8bf67f14a" providerId="ADAL" clId="{378B5EED-8B03-49EB-B2BD-E9726B866780}" dt="2023-08-04T08:13:22.803" v="210" actId="207"/>
          <ac:spMkLst>
            <pc:docMk/>
            <pc:sldMk cId="3295215869" sldId="4872"/>
            <ac:spMk id="30" creationId="{F9D9141B-B37B-415C-4C7C-0E0CF12208F5}"/>
          </ac:spMkLst>
        </pc:spChg>
        <pc:spChg chg="mod">
          <ac:chgData name="Swapnil Raichandani" userId="857b48b4-3170-4a46-9423-b0f8bf67f14a" providerId="ADAL" clId="{378B5EED-8B03-49EB-B2BD-E9726B866780}" dt="2023-08-04T08:05:41.381" v="68"/>
          <ac:spMkLst>
            <pc:docMk/>
            <pc:sldMk cId="3295215869" sldId="4872"/>
            <ac:spMk id="33" creationId="{6582C01F-78FB-34CE-60ED-1F1872F9A2A0}"/>
          </ac:spMkLst>
        </pc:spChg>
        <pc:spChg chg="mod">
          <ac:chgData name="Swapnil Raichandani" userId="857b48b4-3170-4a46-9423-b0f8bf67f14a" providerId="ADAL" clId="{378B5EED-8B03-49EB-B2BD-E9726B866780}" dt="2023-08-04T08:06:38.537" v="92" actId="6549"/>
          <ac:spMkLst>
            <pc:docMk/>
            <pc:sldMk cId="3295215869" sldId="4872"/>
            <ac:spMk id="34" creationId="{6E4E9148-1418-5E69-1C2F-289083CF279F}"/>
          </ac:spMkLst>
        </pc:spChg>
        <pc:spChg chg="add mod">
          <ac:chgData name="Swapnil Raichandani" userId="857b48b4-3170-4a46-9423-b0f8bf67f14a" providerId="ADAL" clId="{378B5EED-8B03-49EB-B2BD-E9726B866780}" dt="2023-08-04T08:15:25.813" v="229" actId="207"/>
          <ac:spMkLst>
            <pc:docMk/>
            <pc:sldMk cId="3295215869" sldId="4872"/>
            <ac:spMk id="36" creationId="{F0BC1140-FAAC-5831-2836-EFA3FB4971F3}"/>
          </ac:spMkLst>
        </pc:spChg>
        <pc:spChg chg="add mod">
          <ac:chgData name="Swapnil Raichandani" userId="857b48b4-3170-4a46-9423-b0f8bf67f14a" providerId="ADAL" clId="{378B5EED-8B03-49EB-B2BD-E9726B866780}" dt="2023-08-04T08:15:25.571" v="228" actId="207"/>
          <ac:spMkLst>
            <pc:docMk/>
            <pc:sldMk cId="3295215869" sldId="4872"/>
            <ac:spMk id="37" creationId="{771737BA-DDB2-0F72-6F8F-87D8EE3A8F5B}"/>
          </ac:spMkLst>
        </pc:spChg>
        <pc:spChg chg="add del mod">
          <ac:chgData name="Swapnil Raichandani" userId="857b48b4-3170-4a46-9423-b0f8bf67f14a" providerId="ADAL" clId="{378B5EED-8B03-49EB-B2BD-E9726B866780}" dt="2023-08-04T08:06:26.355" v="89"/>
          <ac:spMkLst>
            <pc:docMk/>
            <pc:sldMk cId="3295215869" sldId="4872"/>
            <ac:spMk id="38" creationId="{361C1856-E688-9F4C-4352-47625494AAD4}"/>
          </ac:spMkLst>
        </pc:spChg>
        <pc:spChg chg="mod">
          <ac:chgData name="Swapnil Raichandani" userId="857b48b4-3170-4a46-9423-b0f8bf67f14a" providerId="ADAL" clId="{378B5EED-8B03-49EB-B2BD-E9726B866780}" dt="2023-08-04T08:06:24.107" v="86"/>
          <ac:spMkLst>
            <pc:docMk/>
            <pc:sldMk cId="3295215869" sldId="4872"/>
            <ac:spMk id="40" creationId="{376FD5EF-A580-1828-AF74-6E3A05EBE6C5}"/>
          </ac:spMkLst>
        </pc:spChg>
        <pc:spChg chg="mod">
          <ac:chgData name="Swapnil Raichandani" userId="857b48b4-3170-4a46-9423-b0f8bf67f14a" providerId="ADAL" clId="{378B5EED-8B03-49EB-B2BD-E9726B866780}" dt="2023-08-04T08:06:24.107" v="86"/>
          <ac:spMkLst>
            <pc:docMk/>
            <pc:sldMk cId="3295215869" sldId="4872"/>
            <ac:spMk id="41" creationId="{5A76656E-D5F7-C4F4-0188-3B2D7915AA37}"/>
          </ac:spMkLst>
        </pc:spChg>
        <pc:spChg chg="add del mod">
          <ac:chgData name="Swapnil Raichandani" userId="857b48b4-3170-4a46-9423-b0f8bf67f14a" providerId="ADAL" clId="{378B5EED-8B03-49EB-B2BD-E9726B866780}" dt="2023-08-04T08:06:26.355" v="89"/>
          <ac:spMkLst>
            <pc:docMk/>
            <pc:sldMk cId="3295215869" sldId="4872"/>
            <ac:spMk id="43" creationId="{E5EA11FA-9509-2DCA-C662-FEBB7BE6C14C}"/>
          </ac:spMkLst>
        </pc:spChg>
        <pc:spChg chg="add mod">
          <ac:chgData name="Swapnil Raichandani" userId="857b48b4-3170-4a46-9423-b0f8bf67f14a" providerId="ADAL" clId="{378B5EED-8B03-49EB-B2BD-E9726B866780}" dt="2023-08-04T08:14:45.882" v="221" actId="207"/>
          <ac:spMkLst>
            <pc:docMk/>
            <pc:sldMk cId="3295215869" sldId="4872"/>
            <ac:spMk id="44" creationId="{7DCD1069-A6F1-5DDE-9B84-85EA9446AA49}"/>
          </ac:spMkLst>
        </pc:spChg>
        <pc:spChg chg="mod">
          <ac:chgData name="Swapnil Raichandani" userId="857b48b4-3170-4a46-9423-b0f8bf67f14a" providerId="ADAL" clId="{378B5EED-8B03-49EB-B2BD-E9726B866780}" dt="2023-08-04T08:11:47.558" v="203" actId="1076"/>
          <ac:spMkLst>
            <pc:docMk/>
            <pc:sldMk cId="3295215869" sldId="4872"/>
            <ac:spMk id="46" creationId="{238F6754-7111-13DE-887B-68743A098ED2}"/>
          </ac:spMkLst>
        </pc:spChg>
        <pc:spChg chg="mod">
          <ac:chgData name="Swapnil Raichandani" userId="857b48b4-3170-4a46-9423-b0f8bf67f14a" providerId="ADAL" clId="{378B5EED-8B03-49EB-B2BD-E9726B866780}" dt="2023-08-04T08:11:42.370" v="202" actId="2711"/>
          <ac:spMkLst>
            <pc:docMk/>
            <pc:sldMk cId="3295215869" sldId="4872"/>
            <ac:spMk id="47" creationId="{36A1FD29-400A-4070-50A9-CF8AD59DDE1F}"/>
          </ac:spMkLst>
        </pc:spChg>
        <pc:spChg chg="add mod">
          <ac:chgData name="Swapnil Raichandani" userId="857b48b4-3170-4a46-9423-b0f8bf67f14a" providerId="ADAL" clId="{378B5EED-8B03-49EB-B2BD-E9726B866780}" dt="2023-08-04T08:15:25.295" v="227" actId="207"/>
          <ac:spMkLst>
            <pc:docMk/>
            <pc:sldMk cId="3295215869" sldId="4872"/>
            <ac:spMk id="49" creationId="{534489F4-479F-3856-FCE9-B806D3BF3143}"/>
          </ac:spMkLst>
        </pc:spChg>
        <pc:spChg chg="add mod">
          <ac:chgData name="Swapnil Raichandani" userId="857b48b4-3170-4a46-9423-b0f8bf67f14a" providerId="ADAL" clId="{378B5EED-8B03-49EB-B2BD-E9726B866780}" dt="2023-08-04T08:12:58.969" v="206"/>
          <ac:spMkLst>
            <pc:docMk/>
            <pc:sldMk cId="3295215869" sldId="4872"/>
            <ac:spMk id="50" creationId="{D63598B1-94D5-4C75-B055-661FCE97A6D2}"/>
          </ac:spMkLst>
        </pc:spChg>
        <pc:spChg chg="add mod">
          <ac:chgData name="Swapnil Raichandani" userId="857b48b4-3170-4a46-9423-b0f8bf67f14a" providerId="ADAL" clId="{378B5EED-8B03-49EB-B2BD-E9726B866780}" dt="2023-08-04T08:12:58.969" v="206"/>
          <ac:spMkLst>
            <pc:docMk/>
            <pc:sldMk cId="3295215869" sldId="4872"/>
            <ac:spMk id="51" creationId="{FEFE8D5C-18D9-E44A-1169-DDED1A0EFADB}"/>
          </ac:spMkLst>
        </pc:spChg>
        <pc:spChg chg="mod">
          <ac:chgData name="Swapnil Raichandani" userId="857b48b4-3170-4a46-9423-b0f8bf67f14a" providerId="ADAL" clId="{378B5EED-8B03-49EB-B2BD-E9726B866780}" dt="2023-08-04T08:12:58.969" v="206"/>
          <ac:spMkLst>
            <pc:docMk/>
            <pc:sldMk cId="3295215869" sldId="4872"/>
            <ac:spMk id="53" creationId="{281E6AB3-5086-80DF-4C1C-604203610536}"/>
          </ac:spMkLst>
        </pc:spChg>
        <pc:spChg chg="mod">
          <ac:chgData name="Swapnil Raichandani" userId="857b48b4-3170-4a46-9423-b0f8bf67f14a" providerId="ADAL" clId="{378B5EED-8B03-49EB-B2BD-E9726B866780}" dt="2023-08-04T08:12:58.969" v="206"/>
          <ac:spMkLst>
            <pc:docMk/>
            <pc:sldMk cId="3295215869" sldId="4872"/>
            <ac:spMk id="54" creationId="{C825B02F-E5C2-23C9-6F95-50F051D463D4}"/>
          </ac:spMkLst>
        </pc:spChg>
        <pc:spChg chg="mod">
          <ac:chgData name="Swapnil Raichandani" userId="857b48b4-3170-4a46-9423-b0f8bf67f14a" providerId="ADAL" clId="{378B5EED-8B03-49EB-B2BD-E9726B866780}" dt="2023-08-04T08:12:58.969" v="206"/>
          <ac:spMkLst>
            <pc:docMk/>
            <pc:sldMk cId="3295215869" sldId="4872"/>
            <ac:spMk id="55" creationId="{CD1A7471-4AE1-C147-6527-7ADFA570CB1D}"/>
          </ac:spMkLst>
        </pc:spChg>
        <pc:spChg chg="mod">
          <ac:chgData name="Swapnil Raichandani" userId="857b48b4-3170-4a46-9423-b0f8bf67f14a" providerId="ADAL" clId="{378B5EED-8B03-49EB-B2BD-E9726B866780}" dt="2023-08-04T08:12:58.969" v="206"/>
          <ac:spMkLst>
            <pc:docMk/>
            <pc:sldMk cId="3295215869" sldId="4872"/>
            <ac:spMk id="56" creationId="{D693D6DA-1FBF-32D3-65F2-EE9EF5C1C110}"/>
          </ac:spMkLst>
        </pc:spChg>
        <pc:spChg chg="mod">
          <ac:chgData name="Swapnil Raichandani" userId="857b48b4-3170-4a46-9423-b0f8bf67f14a" providerId="ADAL" clId="{378B5EED-8B03-49EB-B2BD-E9726B866780}" dt="2023-08-04T08:12:58.969" v="206"/>
          <ac:spMkLst>
            <pc:docMk/>
            <pc:sldMk cId="3295215869" sldId="4872"/>
            <ac:spMk id="57" creationId="{00D7334F-12B2-51EF-F6D2-0919FFFC6BBF}"/>
          </ac:spMkLst>
        </pc:spChg>
        <pc:spChg chg="mod">
          <ac:chgData name="Swapnil Raichandani" userId="857b48b4-3170-4a46-9423-b0f8bf67f14a" providerId="ADAL" clId="{378B5EED-8B03-49EB-B2BD-E9726B866780}" dt="2023-08-04T08:12:58.969" v="206"/>
          <ac:spMkLst>
            <pc:docMk/>
            <pc:sldMk cId="3295215869" sldId="4872"/>
            <ac:spMk id="59" creationId="{D1C23012-922E-BC6D-C18C-786265498832}"/>
          </ac:spMkLst>
        </pc:spChg>
        <pc:spChg chg="mod">
          <ac:chgData name="Swapnil Raichandani" userId="857b48b4-3170-4a46-9423-b0f8bf67f14a" providerId="ADAL" clId="{378B5EED-8B03-49EB-B2BD-E9726B866780}" dt="2023-08-04T08:12:58.969" v="206"/>
          <ac:spMkLst>
            <pc:docMk/>
            <pc:sldMk cId="3295215869" sldId="4872"/>
            <ac:spMk id="60" creationId="{C9A4D89A-3006-DC8B-4A6C-945EA0937B17}"/>
          </ac:spMkLst>
        </pc:spChg>
        <pc:spChg chg="mod">
          <ac:chgData name="Swapnil Raichandani" userId="857b48b4-3170-4a46-9423-b0f8bf67f14a" providerId="ADAL" clId="{378B5EED-8B03-49EB-B2BD-E9726B866780}" dt="2023-08-04T08:12:58.969" v="206"/>
          <ac:spMkLst>
            <pc:docMk/>
            <pc:sldMk cId="3295215869" sldId="4872"/>
            <ac:spMk id="62" creationId="{0A332EC7-3B13-9CC1-1EAB-3621CA807003}"/>
          </ac:spMkLst>
        </pc:spChg>
        <pc:spChg chg="mod">
          <ac:chgData name="Swapnil Raichandani" userId="857b48b4-3170-4a46-9423-b0f8bf67f14a" providerId="ADAL" clId="{378B5EED-8B03-49EB-B2BD-E9726B866780}" dt="2023-08-04T08:12:58.969" v="206"/>
          <ac:spMkLst>
            <pc:docMk/>
            <pc:sldMk cId="3295215869" sldId="4872"/>
            <ac:spMk id="63" creationId="{2F04B081-BB62-5AFA-B93E-8123E36585A4}"/>
          </ac:spMkLst>
        </pc:spChg>
        <pc:spChg chg="mod">
          <ac:chgData name="Swapnil Raichandani" userId="857b48b4-3170-4a46-9423-b0f8bf67f14a" providerId="ADAL" clId="{378B5EED-8B03-49EB-B2BD-E9726B866780}" dt="2023-08-04T08:12:58.969" v="206"/>
          <ac:spMkLst>
            <pc:docMk/>
            <pc:sldMk cId="3295215869" sldId="4872"/>
            <ac:spMk id="64" creationId="{5B05874D-D16E-48EF-8E3B-BF6788496601}"/>
          </ac:spMkLst>
        </pc:spChg>
        <pc:spChg chg="mod">
          <ac:chgData name="Swapnil Raichandani" userId="857b48b4-3170-4a46-9423-b0f8bf67f14a" providerId="ADAL" clId="{378B5EED-8B03-49EB-B2BD-E9726B866780}" dt="2023-08-04T08:12:58.969" v="206"/>
          <ac:spMkLst>
            <pc:docMk/>
            <pc:sldMk cId="3295215869" sldId="4872"/>
            <ac:spMk id="65" creationId="{D6A392EA-5F98-483D-75FB-3800469A22A9}"/>
          </ac:spMkLst>
        </pc:spChg>
        <pc:spChg chg="mod">
          <ac:chgData name="Swapnil Raichandani" userId="857b48b4-3170-4a46-9423-b0f8bf67f14a" providerId="ADAL" clId="{378B5EED-8B03-49EB-B2BD-E9726B866780}" dt="2023-08-04T08:12:58.969" v="206"/>
          <ac:spMkLst>
            <pc:docMk/>
            <pc:sldMk cId="3295215869" sldId="4872"/>
            <ac:spMk id="67" creationId="{52BA6B5D-076B-C724-DE0D-7286332A39F0}"/>
          </ac:spMkLst>
        </pc:spChg>
        <pc:spChg chg="mod">
          <ac:chgData name="Swapnil Raichandani" userId="857b48b4-3170-4a46-9423-b0f8bf67f14a" providerId="ADAL" clId="{378B5EED-8B03-49EB-B2BD-E9726B866780}" dt="2023-08-04T08:12:58.969" v="206"/>
          <ac:spMkLst>
            <pc:docMk/>
            <pc:sldMk cId="3295215869" sldId="4872"/>
            <ac:spMk id="68" creationId="{9DBF8527-888F-ED24-B6C9-62C708EA9CC6}"/>
          </ac:spMkLst>
        </pc:spChg>
        <pc:spChg chg="mod">
          <ac:chgData name="Swapnil Raichandani" userId="857b48b4-3170-4a46-9423-b0f8bf67f14a" providerId="ADAL" clId="{378B5EED-8B03-49EB-B2BD-E9726B866780}" dt="2023-08-04T08:12:58.969" v="206"/>
          <ac:spMkLst>
            <pc:docMk/>
            <pc:sldMk cId="3295215869" sldId="4872"/>
            <ac:spMk id="70" creationId="{E54CE4D3-0E11-6B8D-D10D-0818DBF87147}"/>
          </ac:spMkLst>
        </pc:spChg>
        <pc:spChg chg="mod">
          <ac:chgData name="Swapnil Raichandani" userId="857b48b4-3170-4a46-9423-b0f8bf67f14a" providerId="ADAL" clId="{378B5EED-8B03-49EB-B2BD-E9726B866780}" dt="2023-08-04T08:12:58.969" v="206"/>
          <ac:spMkLst>
            <pc:docMk/>
            <pc:sldMk cId="3295215869" sldId="4872"/>
            <ac:spMk id="71" creationId="{23554035-CAED-76B4-03DF-3D73EA4670F8}"/>
          </ac:spMkLst>
        </pc:spChg>
        <pc:spChg chg="mod">
          <ac:chgData name="Swapnil Raichandani" userId="857b48b4-3170-4a46-9423-b0f8bf67f14a" providerId="ADAL" clId="{378B5EED-8B03-49EB-B2BD-E9726B866780}" dt="2023-08-04T08:12:58.969" v="206"/>
          <ac:spMkLst>
            <pc:docMk/>
            <pc:sldMk cId="3295215869" sldId="4872"/>
            <ac:spMk id="72" creationId="{C03C2B2D-296A-727D-6F56-BD306DDAB9D6}"/>
          </ac:spMkLst>
        </pc:spChg>
        <pc:spChg chg="mod">
          <ac:chgData name="Swapnil Raichandani" userId="857b48b4-3170-4a46-9423-b0f8bf67f14a" providerId="ADAL" clId="{378B5EED-8B03-49EB-B2BD-E9726B866780}" dt="2023-08-04T08:12:58.969" v="206"/>
          <ac:spMkLst>
            <pc:docMk/>
            <pc:sldMk cId="3295215869" sldId="4872"/>
            <ac:spMk id="73" creationId="{7FC4AC94-4B4F-0115-292C-2115215817B4}"/>
          </ac:spMkLst>
        </pc:spChg>
        <pc:spChg chg="mod">
          <ac:chgData name="Swapnil Raichandani" userId="857b48b4-3170-4a46-9423-b0f8bf67f14a" providerId="ADAL" clId="{378B5EED-8B03-49EB-B2BD-E9726B866780}" dt="2023-08-04T08:12:58.969" v="206"/>
          <ac:spMkLst>
            <pc:docMk/>
            <pc:sldMk cId="3295215869" sldId="4872"/>
            <ac:spMk id="75" creationId="{51907938-5EEC-29AC-3CC2-8484EFC02913}"/>
          </ac:spMkLst>
        </pc:spChg>
        <pc:spChg chg="mod">
          <ac:chgData name="Swapnil Raichandani" userId="857b48b4-3170-4a46-9423-b0f8bf67f14a" providerId="ADAL" clId="{378B5EED-8B03-49EB-B2BD-E9726B866780}" dt="2023-08-04T08:12:58.969" v="206"/>
          <ac:spMkLst>
            <pc:docMk/>
            <pc:sldMk cId="3295215869" sldId="4872"/>
            <ac:spMk id="76" creationId="{B2E8F107-35D8-ED2A-C1F6-9F2D8D6CC896}"/>
          </ac:spMkLst>
        </pc:spChg>
        <pc:spChg chg="mod">
          <ac:chgData name="Swapnil Raichandani" userId="857b48b4-3170-4a46-9423-b0f8bf67f14a" providerId="ADAL" clId="{378B5EED-8B03-49EB-B2BD-E9726B866780}" dt="2023-08-04T08:12:58.969" v="206"/>
          <ac:spMkLst>
            <pc:docMk/>
            <pc:sldMk cId="3295215869" sldId="4872"/>
            <ac:spMk id="78" creationId="{536F592B-1CFA-7D99-1C3E-A927A8E0BE99}"/>
          </ac:spMkLst>
        </pc:spChg>
        <pc:spChg chg="mod">
          <ac:chgData name="Swapnil Raichandani" userId="857b48b4-3170-4a46-9423-b0f8bf67f14a" providerId="ADAL" clId="{378B5EED-8B03-49EB-B2BD-E9726B866780}" dt="2023-08-04T08:12:58.969" v="206"/>
          <ac:spMkLst>
            <pc:docMk/>
            <pc:sldMk cId="3295215869" sldId="4872"/>
            <ac:spMk id="79" creationId="{A13569CC-AF59-E7D5-458D-B5ADFF7CDA41}"/>
          </ac:spMkLst>
        </pc:spChg>
        <pc:spChg chg="mod">
          <ac:chgData name="Swapnil Raichandani" userId="857b48b4-3170-4a46-9423-b0f8bf67f14a" providerId="ADAL" clId="{378B5EED-8B03-49EB-B2BD-E9726B866780}" dt="2023-08-04T08:12:58.969" v="206"/>
          <ac:spMkLst>
            <pc:docMk/>
            <pc:sldMk cId="3295215869" sldId="4872"/>
            <ac:spMk id="80" creationId="{81DEF409-8297-2FA6-7200-A862EF43FD7A}"/>
          </ac:spMkLst>
        </pc:spChg>
        <pc:spChg chg="mod">
          <ac:chgData name="Swapnil Raichandani" userId="857b48b4-3170-4a46-9423-b0f8bf67f14a" providerId="ADAL" clId="{378B5EED-8B03-49EB-B2BD-E9726B866780}" dt="2023-08-04T08:12:58.969" v="206"/>
          <ac:spMkLst>
            <pc:docMk/>
            <pc:sldMk cId="3295215869" sldId="4872"/>
            <ac:spMk id="81" creationId="{8F71833A-E25E-9136-B041-C2F77B444DDC}"/>
          </ac:spMkLst>
        </pc:spChg>
        <pc:spChg chg="mod">
          <ac:chgData name="Swapnil Raichandani" userId="857b48b4-3170-4a46-9423-b0f8bf67f14a" providerId="ADAL" clId="{378B5EED-8B03-49EB-B2BD-E9726B866780}" dt="2023-08-04T08:12:58.969" v="206"/>
          <ac:spMkLst>
            <pc:docMk/>
            <pc:sldMk cId="3295215869" sldId="4872"/>
            <ac:spMk id="82" creationId="{004AEEE5-89C2-F495-AA9D-C4DF1B8ABCEF}"/>
          </ac:spMkLst>
        </pc:spChg>
        <pc:spChg chg="mod">
          <ac:chgData name="Swapnil Raichandani" userId="857b48b4-3170-4a46-9423-b0f8bf67f14a" providerId="ADAL" clId="{378B5EED-8B03-49EB-B2BD-E9726B866780}" dt="2023-08-04T08:12:58.969" v="206"/>
          <ac:spMkLst>
            <pc:docMk/>
            <pc:sldMk cId="3295215869" sldId="4872"/>
            <ac:spMk id="83" creationId="{1FA6B129-47BB-EBB6-7774-601F46DEB3C1}"/>
          </ac:spMkLst>
        </pc:spChg>
        <pc:spChg chg="mod">
          <ac:chgData name="Swapnil Raichandani" userId="857b48b4-3170-4a46-9423-b0f8bf67f14a" providerId="ADAL" clId="{378B5EED-8B03-49EB-B2BD-E9726B866780}" dt="2023-08-04T08:12:58.969" v="206"/>
          <ac:spMkLst>
            <pc:docMk/>
            <pc:sldMk cId="3295215869" sldId="4872"/>
            <ac:spMk id="85" creationId="{3209A052-F49D-1A52-6AA1-5DDF99AD664D}"/>
          </ac:spMkLst>
        </pc:spChg>
        <pc:spChg chg="mod">
          <ac:chgData name="Swapnil Raichandani" userId="857b48b4-3170-4a46-9423-b0f8bf67f14a" providerId="ADAL" clId="{378B5EED-8B03-49EB-B2BD-E9726B866780}" dt="2023-08-04T08:12:58.969" v="206"/>
          <ac:spMkLst>
            <pc:docMk/>
            <pc:sldMk cId="3295215869" sldId="4872"/>
            <ac:spMk id="86" creationId="{CB1BC05B-48CC-038F-8BCC-DCD4BDC37156}"/>
          </ac:spMkLst>
        </pc:spChg>
        <pc:grpChg chg="add del mod">
          <ac:chgData name="Swapnil Raichandani" userId="857b48b4-3170-4a46-9423-b0f8bf67f14a" providerId="ADAL" clId="{378B5EED-8B03-49EB-B2BD-E9726B866780}" dt="2023-08-04T08:05:41.373" v="67"/>
          <ac:grpSpMkLst>
            <pc:docMk/>
            <pc:sldMk cId="3295215869" sldId="4872"/>
            <ac:grpSpMk id="7" creationId="{0ED0988B-E513-AF0C-9A67-2236A9F5E073}"/>
          </ac:grpSpMkLst>
        </pc:grpChg>
        <pc:grpChg chg="add del mod">
          <ac:chgData name="Swapnil Raichandani" userId="857b48b4-3170-4a46-9423-b0f8bf67f14a" providerId="ADAL" clId="{378B5EED-8B03-49EB-B2BD-E9726B866780}" dt="2023-08-04T08:05:41.373" v="67"/>
          <ac:grpSpMkLst>
            <pc:docMk/>
            <pc:sldMk cId="3295215869" sldId="4872"/>
            <ac:grpSpMk id="11" creationId="{6C284385-1596-8E9B-9343-FF14E3EF3F9E}"/>
          </ac:grpSpMkLst>
        </pc:grpChg>
        <pc:grpChg chg="add del mod">
          <ac:chgData name="Swapnil Raichandani" userId="857b48b4-3170-4a46-9423-b0f8bf67f14a" providerId="ADAL" clId="{378B5EED-8B03-49EB-B2BD-E9726B866780}" dt="2023-08-04T08:05:41.373" v="67"/>
          <ac:grpSpMkLst>
            <pc:docMk/>
            <pc:sldMk cId="3295215869" sldId="4872"/>
            <ac:grpSpMk id="15" creationId="{03431A35-AE43-684E-464F-982400087ACA}"/>
          </ac:grpSpMkLst>
        </pc:grpChg>
        <pc:grpChg chg="add mod">
          <ac:chgData name="Swapnil Raichandani" userId="857b48b4-3170-4a46-9423-b0f8bf67f14a" providerId="ADAL" clId="{378B5EED-8B03-49EB-B2BD-E9726B866780}" dt="2023-08-04T08:05:44.444" v="85" actId="1038"/>
          <ac:grpSpMkLst>
            <pc:docMk/>
            <pc:sldMk cId="3295215869" sldId="4872"/>
            <ac:grpSpMk id="24" creationId="{E62B08B2-1150-7583-F377-2C37D36167AC}"/>
          </ac:grpSpMkLst>
        </pc:grpChg>
        <pc:grpChg chg="add mod">
          <ac:chgData name="Swapnil Raichandani" userId="857b48b4-3170-4a46-9423-b0f8bf67f14a" providerId="ADAL" clId="{378B5EED-8B03-49EB-B2BD-E9726B866780}" dt="2023-08-04T08:13:22.803" v="210" actId="207"/>
          <ac:grpSpMkLst>
            <pc:docMk/>
            <pc:sldMk cId="3295215869" sldId="4872"/>
            <ac:grpSpMk id="28" creationId="{0A6A868E-F0AD-7961-275E-7E9560C2EE44}"/>
          </ac:grpSpMkLst>
        </pc:grpChg>
        <pc:grpChg chg="add del mod">
          <ac:chgData name="Swapnil Raichandani" userId="857b48b4-3170-4a46-9423-b0f8bf67f14a" providerId="ADAL" clId="{378B5EED-8B03-49EB-B2BD-E9726B866780}" dt="2023-08-04T08:06:39.804" v="93" actId="478"/>
          <ac:grpSpMkLst>
            <pc:docMk/>
            <pc:sldMk cId="3295215869" sldId="4872"/>
            <ac:grpSpMk id="32" creationId="{5628864F-6355-2B49-FCDF-81EB68685A48}"/>
          </ac:grpSpMkLst>
        </pc:grpChg>
        <pc:grpChg chg="add del mod">
          <ac:chgData name="Swapnil Raichandani" userId="857b48b4-3170-4a46-9423-b0f8bf67f14a" providerId="ADAL" clId="{378B5EED-8B03-49EB-B2BD-E9726B866780}" dt="2023-08-04T08:06:26.355" v="89"/>
          <ac:grpSpMkLst>
            <pc:docMk/>
            <pc:sldMk cId="3295215869" sldId="4872"/>
            <ac:grpSpMk id="39" creationId="{39B5D1BF-3FDA-13E9-06FD-A646A8F23DAC}"/>
          </ac:grpSpMkLst>
        </pc:grpChg>
        <pc:grpChg chg="add mod">
          <ac:chgData name="Swapnil Raichandani" userId="857b48b4-3170-4a46-9423-b0f8bf67f14a" providerId="ADAL" clId="{378B5EED-8B03-49EB-B2BD-E9726B866780}" dt="2023-08-04T08:06:36.036" v="91" actId="1076"/>
          <ac:grpSpMkLst>
            <pc:docMk/>
            <pc:sldMk cId="3295215869" sldId="4872"/>
            <ac:grpSpMk id="45" creationId="{5C29321E-24FA-AF12-B725-B9958CA0AEA3}"/>
          </ac:grpSpMkLst>
        </pc:grpChg>
        <pc:grpChg chg="add del mod">
          <ac:chgData name="Swapnil Raichandani" userId="857b48b4-3170-4a46-9423-b0f8bf67f14a" providerId="ADAL" clId="{378B5EED-8B03-49EB-B2BD-E9726B866780}" dt="2023-08-04T08:13:09.784" v="208" actId="478"/>
          <ac:grpSpMkLst>
            <pc:docMk/>
            <pc:sldMk cId="3295215869" sldId="4872"/>
            <ac:grpSpMk id="52" creationId="{BF8F3CC1-730F-84EF-83C6-741EE0FD8E7C}"/>
          </ac:grpSpMkLst>
        </pc:grpChg>
        <pc:grpChg chg="mod">
          <ac:chgData name="Swapnil Raichandani" userId="857b48b4-3170-4a46-9423-b0f8bf67f14a" providerId="ADAL" clId="{378B5EED-8B03-49EB-B2BD-E9726B866780}" dt="2023-08-04T08:12:58.969" v="206"/>
          <ac:grpSpMkLst>
            <pc:docMk/>
            <pc:sldMk cId="3295215869" sldId="4872"/>
            <ac:grpSpMk id="58" creationId="{076F714D-A08A-7B80-E5E0-1E45D8233D66}"/>
          </ac:grpSpMkLst>
        </pc:grpChg>
        <pc:grpChg chg="add del mod">
          <ac:chgData name="Swapnil Raichandani" userId="857b48b4-3170-4a46-9423-b0f8bf67f14a" providerId="ADAL" clId="{378B5EED-8B03-49EB-B2BD-E9726B866780}" dt="2023-08-04T08:14:17.934" v="217" actId="478"/>
          <ac:grpSpMkLst>
            <pc:docMk/>
            <pc:sldMk cId="3295215869" sldId="4872"/>
            <ac:grpSpMk id="61" creationId="{08E94740-EB88-278F-511C-C97A0A91FC5E}"/>
          </ac:grpSpMkLst>
        </pc:grpChg>
        <pc:grpChg chg="mod">
          <ac:chgData name="Swapnil Raichandani" userId="857b48b4-3170-4a46-9423-b0f8bf67f14a" providerId="ADAL" clId="{378B5EED-8B03-49EB-B2BD-E9726B866780}" dt="2023-08-04T08:12:58.969" v="206"/>
          <ac:grpSpMkLst>
            <pc:docMk/>
            <pc:sldMk cId="3295215869" sldId="4872"/>
            <ac:grpSpMk id="66" creationId="{54FC0B06-FBFE-864F-06C7-6C3A1B6AC590}"/>
          </ac:grpSpMkLst>
        </pc:grpChg>
        <pc:grpChg chg="add del mod">
          <ac:chgData name="Swapnil Raichandani" userId="857b48b4-3170-4a46-9423-b0f8bf67f14a" providerId="ADAL" clId="{378B5EED-8B03-49EB-B2BD-E9726B866780}" dt="2023-08-04T08:14:18.506" v="218" actId="478"/>
          <ac:grpSpMkLst>
            <pc:docMk/>
            <pc:sldMk cId="3295215869" sldId="4872"/>
            <ac:grpSpMk id="69" creationId="{38DCF198-66A1-4A5F-C227-82A9A05DBDA8}"/>
          </ac:grpSpMkLst>
        </pc:grpChg>
        <pc:grpChg chg="mod">
          <ac:chgData name="Swapnil Raichandani" userId="857b48b4-3170-4a46-9423-b0f8bf67f14a" providerId="ADAL" clId="{378B5EED-8B03-49EB-B2BD-E9726B866780}" dt="2023-08-04T08:12:58.969" v="206"/>
          <ac:grpSpMkLst>
            <pc:docMk/>
            <pc:sldMk cId="3295215869" sldId="4872"/>
            <ac:grpSpMk id="74" creationId="{C639068E-B58E-5DC7-8B0A-A01FC8482CAC}"/>
          </ac:grpSpMkLst>
        </pc:grpChg>
        <pc:grpChg chg="add del mod">
          <ac:chgData name="Swapnil Raichandani" userId="857b48b4-3170-4a46-9423-b0f8bf67f14a" providerId="ADAL" clId="{378B5EED-8B03-49EB-B2BD-E9726B866780}" dt="2023-08-04T08:13:45.124" v="213" actId="478"/>
          <ac:grpSpMkLst>
            <pc:docMk/>
            <pc:sldMk cId="3295215869" sldId="4872"/>
            <ac:grpSpMk id="77" creationId="{175046B6-CAC6-3C6B-B1A8-2481B8DCD11B}"/>
          </ac:grpSpMkLst>
        </pc:grpChg>
        <pc:grpChg chg="mod">
          <ac:chgData name="Swapnil Raichandani" userId="857b48b4-3170-4a46-9423-b0f8bf67f14a" providerId="ADAL" clId="{378B5EED-8B03-49EB-B2BD-E9726B866780}" dt="2023-08-04T08:12:58.969" v="206"/>
          <ac:grpSpMkLst>
            <pc:docMk/>
            <pc:sldMk cId="3295215869" sldId="4872"/>
            <ac:grpSpMk id="84" creationId="{530A642E-EAAC-27AA-A2A0-2AC888EB91B3}"/>
          </ac:grpSpMkLst>
        </pc:grpChg>
        <pc:cxnChg chg="mod">
          <ac:chgData name="Swapnil Raichandani" userId="857b48b4-3170-4a46-9423-b0f8bf67f14a" providerId="ADAL" clId="{378B5EED-8B03-49EB-B2BD-E9726B866780}" dt="2023-08-04T08:05:37.403" v="64"/>
          <ac:cxnSpMkLst>
            <pc:docMk/>
            <pc:sldMk cId="3295215869" sldId="4872"/>
            <ac:cxnSpMk id="10" creationId="{04DDE7EE-B816-A408-72F2-E1598CF1B541}"/>
          </ac:cxnSpMkLst>
        </pc:cxnChg>
        <pc:cxnChg chg="mod">
          <ac:chgData name="Swapnil Raichandani" userId="857b48b4-3170-4a46-9423-b0f8bf67f14a" providerId="ADAL" clId="{378B5EED-8B03-49EB-B2BD-E9726B866780}" dt="2023-08-04T08:05:37.403" v="64"/>
          <ac:cxnSpMkLst>
            <pc:docMk/>
            <pc:sldMk cId="3295215869" sldId="4872"/>
            <ac:cxnSpMk id="14" creationId="{0C9B6875-80B9-6666-BBBA-D6A96DDED507}"/>
          </ac:cxnSpMkLst>
        </pc:cxnChg>
        <pc:cxnChg chg="mod">
          <ac:chgData name="Swapnil Raichandani" userId="857b48b4-3170-4a46-9423-b0f8bf67f14a" providerId="ADAL" clId="{378B5EED-8B03-49EB-B2BD-E9726B866780}" dt="2023-08-04T08:05:37.403" v="64"/>
          <ac:cxnSpMkLst>
            <pc:docMk/>
            <pc:sldMk cId="3295215869" sldId="4872"/>
            <ac:cxnSpMk id="18" creationId="{009C0A81-2735-5761-446B-27A2C5792AFD}"/>
          </ac:cxnSpMkLst>
        </pc:cxnChg>
        <pc:cxnChg chg="mod">
          <ac:chgData name="Swapnil Raichandani" userId="857b48b4-3170-4a46-9423-b0f8bf67f14a" providerId="ADAL" clId="{378B5EED-8B03-49EB-B2BD-E9726B866780}" dt="2023-08-04T08:05:41.381" v="68"/>
          <ac:cxnSpMkLst>
            <pc:docMk/>
            <pc:sldMk cId="3295215869" sldId="4872"/>
            <ac:cxnSpMk id="27" creationId="{260AD5F5-F863-90C5-2923-08CE0F3FBCCF}"/>
          </ac:cxnSpMkLst>
        </pc:cxnChg>
        <pc:cxnChg chg="mod">
          <ac:chgData name="Swapnil Raichandani" userId="857b48b4-3170-4a46-9423-b0f8bf67f14a" providerId="ADAL" clId="{378B5EED-8B03-49EB-B2BD-E9726B866780}" dt="2023-08-04T08:13:22.803" v="210" actId="207"/>
          <ac:cxnSpMkLst>
            <pc:docMk/>
            <pc:sldMk cId="3295215869" sldId="4872"/>
            <ac:cxnSpMk id="31" creationId="{CC50C88A-6592-37EF-A48F-E61F1D3381CB}"/>
          </ac:cxnSpMkLst>
        </pc:cxnChg>
        <pc:cxnChg chg="mod">
          <ac:chgData name="Swapnil Raichandani" userId="857b48b4-3170-4a46-9423-b0f8bf67f14a" providerId="ADAL" clId="{378B5EED-8B03-49EB-B2BD-E9726B866780}" dt="2023-08-04T08:05:41.381" v="68"/>
          <ac:cxnSpMkLst>
            <pc:docMk/>
            <pc:sldMk cId="3295215869" sldId="4872"/>
            <ac:cxnSpMk id="35" creationId="{99F37DCE-95E9-D190-CA9A-139D300AC487}"/>
          </ac:cxnSpMkLst>
        </pc:cxnChg>
        <pc:cxnChg chg="mod">
          <ac:chgData name="Swapnil Raichandani" userId="857b48b4-3170-4a46-9423-b0f8bf67f14a" providerId="ADAL" clId="{378B5EED-8B03-49EB-B2BD-E9726B866780}" dt="2023-08-04T08:06:24.107" v="86"/>
          <ac:cxnSpMkLst>
            <pc:docMk/>
            <pc:sldMk cId="3295215869" sldId="4872"/>
            <ac:cxnSpMk id="42" creationId="{1B14711F-2A14-C41E-A20E-D49CA0DDC3B2}"/>
          </ac:cxnSpMkLst>
        </pc:cxnChg>
        <pc:cxnChg chg="mod">
          <ac:chgData name="Swapnil Raichandani" userId="857b48b4-3170-4a46-9423-b0f8bf67f14a" providerId="ADAL" clId="{378B5EED-8B03-49EB-B2BD-E9726B866780}" dt="2023-08-04T08:06:26.359" v="90"/>
          <ac:cxnSpMkLst>
            <pc:docMk/>
            <pc:sldMk cId="3295215869" sldId="4872"/>
            <ac:cxnSpMk id="48" creationId="{60955051-8DF9-DEA6-E4B7-905244B5458D}"/>
          </ac:cxnSpMkLst>
        </pc:cxnChg>
      </pc:sldChg>
      <pc:sldChg chg="addSp delSp modSp new mod">
        <pc:chgData name="Swapnil Raichandani" userId="857b48b4-3170-4a46-9423-b0f8bf67f14a" providerId="ADAL" clId="{378B5EED-8B03-49EB-B2BD-E9726B866780}" dt="2023-08-04T08:32:07.708" v="467" actId="1076"/>
        <pc:sldMkLst>
          <pc:docMk/>
          <pc:sldMk cId="3324184534" sldId="4873"/>
        </pc:sldMkLst>
        <pc:spChg chg="del">
          <ac:chgData name="Swapnil Raichandani" userId="857b48b4-3170-4a46-9423-b0f8bf67f14a" providerId="ADAL" clId="{378B5EED-8B03-49EB-B2BD-E9726B866780}" dt="2023-08-04T08:18:54.798" v="233" actId="478"/>
          <ac:spMkLst>
            <pc:docMk/>
            <pc:sldMk cId="3324184534" sldId="4873"/>
            <ac:spMk id="2" creationId="{A6F3DC7A-4B8F-B8FD-795D-6F1ED6A12988}"/>
          </ac:spMkLst>
        </pc:spChg>
        <pc:spChg chg="add mod">
          <ac:chgData name="Swapnil Raichandani" userId="857b48b4-3170-4a46-9423-b0f8bf67f14a" providerId="ADAL" clId="{378B5EED-8B03-49EB-B2BD-E9726B866780}" dt="2023-08-04T08:32:07.708" v="467" actId="1076"/>
          <ac:spMkLst>
            <pc:docMk/>
            <pc:sldMk cId="3324184534" sldId="4873"/>
            <ac:spMk id="3" creationId="{BA4C4405-D422-229C-691E-805052D7CFFE}"/>
          </ac:spMkLst>
        </pc:spChg>
        <pc:spChg chg="add del mod">
          <ac:chgData name="Swapnil Raichandani" userId="857b48b4-3170-4a46-9423-b0f8bf67f14a" providerId="ADAL" clId="{378B5EED-8B03-49EB-B2BD-E9726B866780}" dt="2023-08-04T08:20:54.985" v="254" actId="478"/>
          <ac:spMkLst>
            <pc:docMk/>
            <pc:sldMk cId="3324184534" sldId="4873"/>
            <ac:spMk id="4" creationId="{7D786382-9D38-B12E-A25B-927AB1229812}"/>
          </ac:spMkLst>
        </pc:spChg>
        <pc:spChg chg="add mod">
          <ac:chgData name="Swapnil Raichandani" userId="857b48b4-3170-4a46-9423-b0f8bf67f14a" providerId="ADAL" clId="{378B5EED-8B03-49EB-B2BD-E9726B866780}" dt="2023-08-04T08:32:07.708" v="467" actId="1076"/>
          <ac:spMkLst>
            <pc:docMk/>
            <pc:sldMk cId="3324184534" sldId="4873"/>
            <ac:spMk id="5" creationId="{B4D1D7C9-47F6-34DA-B0A3-2EACBBE2F249}"/>
          </ac:spMkLst>
        </pc:spChg>
        <pc:spChg chg="add mod">
          <ac:chgData name="Swapnil Raichandani" userId="857b48b4-3170-4a46-9423-b0f8bf67f14a" providerId="ADAL" clId="{378B5EED-8B03-49EB-B2BD-E9726B866780}" dt="2023-08-04T08:19:22.561" v="239" actId="20577"/>
          <ac:spMkLst>
            <pc:docMk/>
            <pc:sldMk cId="3324184534" sldId="4873"/>
            <ac:spMk id="6" creationId="{90F55759-1492-9F02-0863-A08285FBE928}"/>
          </ac:spMkLst>
        </pc:spChg>
        <pc:spChg chg="add del mod">
          <ac:chgData name="Swapnil Raichandani" userId="857b48b4-3170-4a46-9423-b0f8bf67f14a" providerId="ADAL" clId="{378B5EED-8B03-49EB-B2BD-E9726B866780}" dt="2023-08-04T08:23:07.870" v="306"/>
          <ac:spMkLst>
            <pc:docMk/>
            <pc:sldMk cId="3324184534" sldId="4873"/>
            <ac:spMk id="7" creationId="{EAE11933-E9AC-1D5E-B3AC-5AA292861370}"/>
          </ac:spMkLst>
        </pc:spChg>
        <pc:spChg chg="add del mod">
          <ac:chgData name="Swapnil Raichandani" userId="857b48b4-3170-4a46-9423-b0f8bf67f14a" providerId="ADAL" clId="{378B5EED-8B03-49EB-B2BD-E9726B866780}" dt="2023-08-04T08:23:07.870" v="306"/>
          <ac:spMkLst>
            <pc:docMk/>
            <pc:sldMk cId="3324184534" sldId="4873"/>
            <ac:spMk id="8" creationId="{652D8B7A-6B61-BDA8-B3DC-95A321709636}"/>
          </ac:spMkLst>
        </pc:spChg>
        <pc:spChg chg="add del mod">
          <ac:chgData name="Swapnil Raichandani" userId="857b48b4-3170-4a46-9423-b0f8bf67f14a" providerId="ADAL" clId="{378B5EED-8B03-49EB-B2BD-E9726B866780}" dt="2023-08-04T08:23:07.870" v="306"/>
          <ac:spMkLst>
            <pc:docMk/>
            <pc:sldMk cId="3324184534" sldId="4873"/>
            <ac:spMk id="9" creationId="{ABF904C5-6700-E633-E212-256232BB23F7}"/>
          </ac:spMkLst>
        </pc:spChg>
        <pc:spChg chg="add del mod">
          <ac:chgData name="Swapnil Raichandani" userId="857b48b4-3170-4a46-9423-b0f8bf67f14a" providerId="ADAL" clId="{378B5EED-8B03-49EB-B2BD-E9726B866780}" dt="2023-08-04T08:23:07.870" v="306"/>
          <ac:spMkLst>
            <pc:docMk/>
            <pc:sldMk cId="3324184534" sldId="4873"/>
            <ac:spMk id="10" creationId="{B0C9FD92-FE3C-89CB-BB6B-B83500C82E3D}"/>
          </ac:spMkLst>
        </pc:spChg>
        <pc:spChg chg="add del mod">
          <ac:chgData name="Swapnil Raichandani" userId="857b48b4-3170-4a46-9423-b0f8bf67f14a" providerId="ADAL" clId="{378B5EED-8B03-49EB-B2BD-E9726B866780}" dt="2023-08-04T08:23:07.870" v="306"/>
          <ac:spMkLst>
            <pc:docMk/>
            <pc:sldMk cId="3324184534" sldId="4873"/>
            <ac:spMk id="11" creationId="{2B324ACB-24FE-B789-6939-FA1D1EBA57AC}"/>
          </ac:spMkLst>
        </pc:spChg>
        <pc:spChg chg="add del mod">
          <ac:chgData name="Swapnil Raichandani" userId="857b48b4-3170-4a46-9423-b0f8bf67f14a" providerId="ADAL" clId="{378B5EED-8B03-49EB-B2BD-E9726B866780}" dt="2023-08-04T08:23:07.870" v="306"/>
          <ac:spMkLst>
            <pc:docMk/>
            <pc:sldMk cId="3324184534" sldId="4873"/>
            <ac:spMk id="12" creationId="{6FEC5136-A5A7-A64B-27CD-02C61D4F6676}"/>
          </ac:spMkLst>
        </pc:spChg>
        <pc:spChg chg="add del mod">
          <ac:chgData name="Swapnil Raichandani" userId="857b48b4-3170-4a46-9423-b0f8bf67f14a" providerId="ADAL" clId="{378B5EED-8B03-49EB-B2BD-E9726B866780}" dt="2023-08-04T08:23:07.870" v="306"/>
          <ac:spMkLst>
            <pc:docMk/>
            <pc:sldMk cId="3324184534" sldId="4873"/>
            <ac:spMk id="13" creationId="{A4EEE71F-9440-72C7-0F06-1CECB2B11999}"/>
          </ac:spMkLst>
        </pc:spChg>
        <pc:spChg chg="add del mod">
          <ac:chgData name="Swapnil Raichandani" userId="857b48b4-3170-4a46-9423-b0f8bf67f14a" providerId="ADAL" clId="{378B5EED-8B03-49EB-B2BD-E9726B866780}" dt="2023-08-04T08:23:07.870" v="306"/>
          <ac:spMkLst>
            <pc:docMk/>
            <pc:sldMk cId="3324184534" sldId="4873"/>
            <ac:spMk id="14" creationId="{38F4DA7B-4018-CCE0-56B5-BC9A3E73EED4}"/>
          </ac:spMkLst>
        </pc:spChg>
        <pc:spChg chg="add del mod">
          <ac:chgData name="Swapnil Raichandani" userId="857b48b4-3170-4a46-9423-b0f8bf67f14a" providerId="ADAL" clId="{378B5EED-8B03-49EB-B2BD-E9726B866780}" dt="2023-08-04T08:23:07.870" v="306"/>
          <ac:spMkLst>
            <pc:docMk/>
            <pc:sldMk cId="3324184534" sldId="4873"/>
            <ac:spMk id="15" creationId="{72D3542A-B257-893C-C187-72552B11321C}"/>
          </ac:spMkLst>
        </pc:spChg>
        <pc:spChg chg="add del mod">
          <ac:chgData name="Swapnil Raichandani" userId="857b48b4-3170-4a46-9423-b0f8bf67f14a" providerId="ADAL" clId="{378B5EED-8B03-49EB-B2BD-E9726B866780}" dt="2023-08-04T08:23:07.870" v="306"/>
          <ac:spMkLst>
            <pc:docMk/>
            <pc:sldMk cId="3324184534" sldId="4873"/>
            <ac:spMk id="16" creationId="{48A58051-3B8D-7025-737D-FEEADF40E22B}"/>
          </ac:spMkLst>
        </pc:spChg>
        <pc:spChg chg="add del mod">
          <ac:chgData name="Swapnil Raichandani" userId="857b48b4-3170-4a46-9423-b0f8bf67f14a" providerId="ADAL" clId="{378B5EED-8B03-49EB-B2BD-E9726B866780}" dt="2023-08-04T08:23:07.870" v="306"/>
          <ac:spMkLst>
            <pc:docMk/>
            <pc:sldMk cId="3324184534" sldId="4873"/>
            <ac:spMk id="17" creationId="{9A7A941B-ACAE-4B6E-84DC-9A33BE38A89D}"/>
          </ac:spMkLst>
        </pc:spChg>
        <pc:spChg chg="add del mod">
          <ac:chgData name="Swapnil Raichandani" userId="857b48b4-3170-4a46-9423-b0f8bf67f14a" providerId="ADAL" clId="{378B5EED-8B03-49EB-B2BD-E9726B866780}" dt="2023-08-04T08:23:07.870" v="306"/>
          <ac:spMkLst>
            <pc:docMk/>
            <pc:sldMk cId="3324184534" sldId="4873"/>
            <ac:spMk id="18" creationId="{E3476E01-99EA-3AAC-DD09-33A194E8E044}"/>
          </ac:spMkLst>
        </pc:spChg>
        <pc:spChg chg="add del mod">
          <ac:chgData name="Swapnil Raichandani" userId="857b48b4-3170-4a46-9423-b0f8bf67f14a" providerId="ADAL" clId="{378B5EED-8B03-49EB-B2BD-E9726B866780}" dt="2023-08-04T08:23:07.870" v="306"/>
          <ac:spMkLst>
            <pc:docMk/>
            <pc:sldMk cId="3324184534" sldId="4873"/>
            <ac:spMk id="19" creationId="{FEC459ED-BF2F-283D-D4CF-C05CF8E2C67C}"/>
          </ac:spMkLst>
        </pc:spChg>
        <pc:spChg chg="add del mod">
          <ac:chgData name="Swapnil Raichandani" userId="857b48b4-3170-4a46-9423-b0f8bf67f14a" providerId="ADAL" clId="{378B5EED-8B03-49EB-B2BD-E9726B866780}" dt="2023-08-04T08:23:07.870" v="306"/>
          <ac:spMkLst>
            <pc:docMk/>
            <pc:sldMk cId="3324184534" sldId="4873"/>
            <ac:spMk id="20" creationId="{092C0CC0-9AB1-220A-C578-05A4F9673190}"/>
          </ac:spMkLst>
        </pc:spChg>
        <pc:spChg chg="add del mod">
          <ac:chgData name="Swapnil Raichandani" userId="857b48b4-3170-4a46-9423-b0f8bf67f14a" providerId="ADAL" clId="{378B5EED-8B03-49EB-B2BD-E9726B866780}" dt="2023-08-04T08:23:07.870" v="306"/>
          <ac:spMkLst>
            <pc:docMk/>
            <pc:sldMk cId="3324184534" sldId="4873"/>
            <ac:spMk id="21" creationId="{DC0BC260-3FD8-057E-6C62-B0524C7AC751}"/>
          </ac:spMkLst>
        </pc:spChg>
        <pc:spChg chg="add del mod">
          <ac:chgData name="Swapnil Raichandani" userId="857b48b4-3170-4a46-9423-b0f8bf67f14a" providerId="ADAL" clId="{378B5EED-8B03-49EB-B2BD-E9726B866780}" dt="2023-08-04T08:23:07.870" v="306"/>
          <ac:spMkLst>
            <pc:docMk/>
            <pc:sldMk cId="3324184534" sldId="4873"/>
            <ac:spMk id="22" creationId="{8330E0D2-D5F9-9B18-C963-50678AE50E83}"/>
          </ac:spMkLst>
        </pc:spChg>
        <pc:spChg chg="add del mod">
          <ac:chgData name="Swapnil Raichandani" userId="857b48b4-3170-4a46-9423-b0f8bf67f14a" providerId="ADAL" clId="{378B5EED-8B03-49EB-B2BD-E9726B866780}" dt="2023-08-04T08:23:07.870" v="306"/>
          <ac:spMkLst>
            <pc:docMk/>
            <pc:sldMk cId="3324184534" sldId="4873"/>
            <ac:spMk id="23" creationId="{7C7E5F4B-1A64-2BF7-E328-CBA4028EF503}"/>
          </ac:spMkLst>
        </pc:spChg>
        <pc:spChg chg="add del mod">
          <ac:chgData name="Swapnil Raichandani" userId="857b48b4-3170-4a46-9423-b0f8bf67f14a" providerId="ADAL" clId="{378B5EED-8B03-49EB-B2BD-E9726B866780}" dt="2023-08-04T08:23:07.870" v="306"/>
          <ac:spMkLst>
            <pc:docMk/>
            <pc:sldMk cId="3324184534" sldId="4873"/>
            <ac:spMk id="24" creationId="{110B9FF9-17BC-8D58-46F6-B66143B53016}"/>
          </ac:spMkLst>
        </pc:spChg>
        <pc:spChg chg="add del mod">
          <ac:chgData name="Swapnil Raichandani" userId="857b48b4-3170-4a46-9423-b0f8bf67f14a" providerId="ADAL" clId="{378B5EED-8B03-49EB-B2BD-E9726B866780}" dt="2023-08-04T08:23:07.870" v="306"/>
          <ac:spMkLst>
            <pc:docMk/>
            <pc:sldMk cId="3324184534" sldId="4873"/>
            <ac:spMk id="25" creationId="{92D4DCF0-8293-6DA9-F5A0-BC52D2D16ED3}"/>
          </ac:spMkLst>
        </pc:spChg>
        <pc:spChg chg="add del mod">
          <ac:chgData name="Swapnil Raichandani" userId="857b48b4-3170-4a46-9423-b0f8bf67f14a" providerId="ADAL" clId="{378B5EED-8B03-49EB-B2BD-E9726B866780}" dt="2023-08-04T08:23:07.870" v="306"/>
          <ac:spMkLst>
            <pc:docMk/>
            <pc:sldMk cId="3324184534" sldId="4873"/>
            <ac:spMk id="26" creationId="{621FE24E-DFDE-DD8D-DE7B-D839C8DD6AA2}"/>
          </ac:spMkLst>
        </pc:spChg>
        <pc:spChg chg="add del mod">
          <ac:chgData name="Swapnil Raichandani" userId="857b48b4-3170-4a46-9423-b0f8bf67f14a" providerId="ADAL" clId="{378B5EED-8B03-49EB-B2BD-E9726B866780}" dt="2023-08-04T08:23:07.870" v="306"/>
          <ac:spMkLst>
            <pc:docMk/>
            <pc:sldMk cId="3324184534" sldId="4873"/>
            <ac:spMk id="27" creationId="{932167D9-A948-FA04-11F0-31BF98E3E9B6}"/>
          </ac:spMkLst>
        </pc:spChg>
        <pc:spChg chg="add mod">
          <ac:chgData name="Swapnil Raichandani" userId="857b48b4-3170-4a46-9423-b0f8bf67f14a" providerId="ADAL" clId="{378B5EED-8B03-49EB-B2BD-E9726B866780}" dt="2023-08-04T08:23:51.664" v="313" actId="1076"/>
          <ac:spMkLst>
            <pc:docMk/>
            <pc:sldMk cId="3324184534" sldId="4873"/>
            <ac:spMk id="28" creationId="{0FDF84BD-0E5B-E33D-2CC8-52547465B990}"/>
          </ac:spMkLst>
        </pc:spChg>
        <pc:spChg chg="add mod">
          <ac:chgData name="Swapnil Raichandani" userId="857b48b4-3170-4a46-9423-b0f8bf67f14a" providerId="ADAL" clId="{378B5EED-8B03-49EB-B2BD-E9726B866780}" dt="2023-08-04T08:23:51.664" v="313" actId="1076"/>
          <ac:spMkLst>
            <pc:docMk/>
            <pc:sldMk cId="3324184534" sldId="4873"/>
            <ac:spMk id="29" creationId="{F32975CC-4EC5-0801-4BB8-28EA1B9B7FB7}"/>
          </ac:spMkLst>
        </pc:spChg>
        <pc:spChg chg="add mod">
          <ac:chgData name="Swapnil Raichandani" userId="857b48b4-3170-4a46-9423-b0f8bf67f14a" providerId="ADAL" clId="{378B5EED-8B03-49EB-B2BD-E9726B866780}" dt="2023-08-04T08:23:51.664" v="313" actId="1076"/>
          <ac:spMkLst>
            <pc:docMk/>
            <pc:sldMk cId="3324184534" sldId="4873"/>
            <ac:spMk id="30" creationId="{841A5629-287B-A713-2408-EC82BCB23F28}"/>
          </ac:spMkLst>
        </pc:spChg>
        <pc:spChg chg="add mod">
          <ac:chgData name="Swapnil Raichandani" userId="857b48b4-3170-4a46-9423-b0f8bf67f14a" providerId="ADAL" clId="{378B5EED-8B03-49EB-B2BD-E9726B866780}" dt="2023-08-04T08:23:51.664" v="313" actId="1076"/>
          <ac:spMkLst>
            <pc:docMk/>
            <pc:sldMk cId="3324184534" sldId="4873"/>
            <ac:spMk id="31" creationId="{DF7A5BCD-9EB7-FC6A-44CD-7D856A7C10FE}"/>
          </ac:spMkLst>
        </pc:spChg>
        <pc:spChg chg="add mod">
          <ac:chgData name="Swapnil Raichandani" userId="857b48b4-3170-4a46-9423-b0f8bf67f14a" providerId="ADAL" clId="{378B5EED-8B03-49EB-B2BD-E9726B866780}" dt="2023-08-04T08:23:51.664" v="313" actId="1076"/>
          <ac:spMkLst>
            <pc:docMk/>
            <pc:sldMk cId="3324184534" sldId="4873"/>
            <ac:spMk id="32" creationId="{C77BCA6A-1E18-435F-E91B-0B226E9229C4}"/>
          </ac:spMkLst>
        </pc:spChg>
        <pc:spChg chg="add mod">
          <ac:chgData name="Swapnil Raichandani" userId="857b48b4-3170-4a46-9423-b0f8bf67f14a" providerId="ADAL" clId="{378B5EED-8B03-49EB-B2BD-E9726B866780}" dt="2023-08-04T08:23:51.664" v="313" actId="1076"/>
          <ac:spMkLst>
            <pc:docMk/>
            <pc:sldMk cId="3324184534" sldId="4873"/>
            <ac:spMk id="33" creationId="{03128477-DD9B-F0A9-7808-30ECC7F02EAE}"/>
          </ac:spMkLst>
        </pc:spChg>
        <pc:spChg chg="add mod">
          <ac:chgData name="Swapnil Raichandani" userId="857b48b4-3170-4a46-9423-b0f8bf67f14a" providerId="ADAL" clId="{378B5EED-8B03-49EB-B2BD-E9726B866780}" dt="2023-08-04T08:23:51.664" v="313" actId="1076"/>
          <ac:spMkLst>
            <pc:docMk/>
            <pc:sldMk cId="3324184534" sldId="4873"/>
            <ac:spMk id="34" creationId="{5126BBD7-D0E4-25A4-F558-C0F1DF6C0BCE}"/>
          </ac:spMkLst>
        </pc:spChg>
        <pc:spChg chg="add mod">
          <ac:chgData name="Swapnil Raichandani" userId="857b48b4-3170-4a46-9423-b0f8bf67f14a" providerId="ADAL" clId="{378B5EED-8B03-49EB-B2BD-E9726B866780}" dt="2023-08-04T08:23:51.664" v="313" actId="1076"/>
          <ac:spMkLst>
            <pc:docMk/>
            <pc:sldMk cId="3324184534" sldId="4873"/>
            <ac:spMk id="35" creationId="{3A0C9C47-1C86-07C3-7DF3-E7DDFD3EF1F5}"/>
          </ac:spMkLst>
        </pc:spChg>
        <pc:spChg chg="add mod">
          <ac:chgData name="Swapnil Raichandani" userId="857b48b4-3170-4a46-9423-b0f8bf67f14a" providerId="ADAL" clId="{378B5EED-8B03-49EB-B2BD-E9726B866780}" dt="2023-08-04T08:23:51.664" v="313" actId="1076"/>
          <ac:spMkLst>
            <pc:docMk/>
            <pc:sldMk cId="3324184534" sldId="4873"/>
            <ac:spMk id="36" creationId="{3C49449E-EC7E-D719-FB87-46C4C3079949}"/>
          </ac:spMkLst>
        </pc:spChg>
        <pc:spChg chg="add mod">
          <ac:chgData name="Swapnil Raichandani" userId="857b48b4-3170-4a46-9423-b0f8bf67f14a" providerId="ADAL" clId="{378B5EED-8B03-49EB-B2BD-E9726B866780}" dt="2023-08-04T08:23:51.664" v="313" actId="1076"/>
          <ac:spMkLst>
            <pc:docMk/>
            <pc:sldMk cId="3324184534" sldId="4873"/>
            <ac:spMk id="37" creationId="{1C8E7DDD-68ED-EF94-DFDB-1E0881A3F5D0}"/>
          </ac:spMkLst>
        </pc:spChg>
        <pc:spChg chg="add mod">
          <ac:chgData name="Swapnil Raichandani" userId="857b48b4-3170-4a46-9423-b0f8bf67f14a" providerId="ADAL" clId="{378B5EED-8B03-49EB-B2BD-E9726B866780}" dt="2023-08-04T08:30:34.443" v="445" actId="207"/>
          <ac:spMkLst>
            <pc:docMk/>
            <pc:sldMk cId="3324184534" sldId="4873"/>
            <ac:spMk id="38" creationId="{442E3632-0A43-6D03-DAFD-CE27C510E7DC}"/>
          </ac:spMkLst>
        </pc:spChg>
        <pc:spChg chg="add mod">
          <ac:chgData name="Swapnil Raichandani" userId="857b48b4-3170-4a46-9423-b0f8bf67f14a" providerId="ADAL" clId="{378B5EED-8B03-49EB-B2BD-E9726B866780}" dt="2023-08-04T08:31:00.593" v="454" actId="1076"/>
          <ac:spMkLst>
            <pc:docMk/>
            <pc:sldMk cId="3324184534" sldId="4873"/>
            <ac:spMk id="39" creationId="{E0C2A74A-83C3-7A7C-20C7-DC8741BBE793}"/>
          </ac:spMkLst>
        </pc:spChg>
        <pc:spChg chg="add mod">
          <ac:chgData name="Swapnil Raichandani" userId="857b48b4-3170-4a46-9423-b0f8bf67f14a" providerId="ADAL" clId="{378B5EED-8B03-49EB-B2BD-E9726B866780}" dt="2023-08-04T08:31:07.143" v="455" actId="1076"/>
          <ac:spMkLst>
            <pc:docMk/>
            <pc:sldMk cId="3324184534" sldId="4873"/>
            <ac:spMk id="40" creationId="{B4590D65-21B1-51BE-EBF5-D8131E270385}"/>
          </ac:spMkLst>
        </pc:spChg>
        <pc:spChg chg="add mod">
          <ac:chgData name="Swapnil Raichandani" userId="857b48b4-3170-4a46-9423-b0f8bf67f14a" providerId="ADAL" clId="{378B5EED-8B03-49EB-B2BD-E9726B866780}" dt="2023-08-04T08:31:17.031" v="457" actId="1076"/>
          <ac:spMkLst>
            <pc:docMk/>
            <pc:sldMk cId="3324184534" sldId="4873"/>
            <ac:spMk id="41" creationId="{6E85571C-0F42-A29A-C22E-CA794ED40D52}"/>
          </ac:spMkLst>
        </pc:spChg>
        <pc:spChg chg="add mod">
          <ac:chgData name="Swapnil Raichandani" userId="857b48b4-3170-4a46-9423-b0f8bf67f14a" providerId="ADAL" clId="{378B5EED-8B03-49EB-B2BD-E9726B866780}" dt="2023-08-04T08:31:22.317" v="458" actId="1076"/>
          <ac:spMkLst>
            <pc:docMk/>
            <pc:sldMk cId="3324184534" sldId="4873"/>
            <ac:spMk id="42" creationId="{7B9066C9-290C-D840-6685-1AA039CCCF47}"/>
          </ac:spMkLst>
        </pc:spChg>
        <pc:spChg chg="add mod">
          <ac:chgData name="Swapnil Raichandani" userId="857b48b4-3170-4a46-9423-b0f8bf67f14a" providerId="ADAL" clId="{378B5EED-8B03-49EB-B2BD-E9726B866780}" dt="2023-08-04T08:30:14.189" v="443" actId="207"/>
          <ac:spMkLst>
            <pc:docMk/>
            <pc:sldMk cId="3324184534" sldId="4873"/>
            <ac:spMk id="43" creationId="{EECB366C-3102-A2DE-E6A1-2B68A3540E2C}"/>
          </ac:spMkLst>
        </pc:spChg>
        <pc:spChg chg="add mod">
          <ac:chgData name="Swapnil Raichandani" userId="857b48b4-3170-4a46-9423-b0f8bf67f14a" providerId="ADAL" clId="{378B5EED-8B03-49EB-B2BD-E9726B866780}" dt="2023-08-04T08:27:43.734" v="399" actId="1076"/>
          <ac:spMkLst>
            <pc:docMk/>
            <pc:sldMk cId="3324184534" sldId="4873"/>
            <ac:spMk id="44" creationId="{E7C6AB2D-C79B-64FD-0C1D-75BF3C76883F}"/>
          </ac:spMkLst>
        </pc:spChg>
        <pc:spChg chg="add mod">
          <ac:chgData name="Swapnil Raichandani" userId="857b48b4-3170-4a46-9423-b0f8bf67f14a" providerId="ADAL" clId="{378B5EED-8B03-49EB-B2BD-E9726B866780}" dt="2023-08-04T08:31:11.747" v="456" actId="1076"/>
          <ac:spMkLst>
            <pc:docMk/>
            <pc:sldMk cId="3324184534" sldId="4873"/>
            <ac:spMk id="45" creationId="{4E7E4519-DD44-7656-0892-35D363C1A55F}"/>
          </ac:spMkLst>
        </pc:spChg>
        <pc:spChg chg="add mod">
          <ac:chgData name="Swapnil Raichandani" userId="857b48b4-3170-4a46-9423-b0f8bf67f14a" providerId="ADAL" clId="{378B5EED-8B03-49EB-B2BD-E9726B866780}" dt="2023-08-04T08:30:29.587" v="444" actId="207"/>
          <ac:spMkLst>
            <pc:docMk/>
            <pc:sldMk cId="3324184534" sldId="4873"/>
            <ac:spMk id="46" creationId="{1FE7B7B3-3F87-AC7E-53E4-4CC2F8948CA0}"/>
          </ac:spMkLst>
        </pc:spChg>
        <pc:spChg chg="add del mod">
          <ac:chgData name="Swapnil Raichandani" userId="857b48b4-3170-4a46-9423-b0f8bf67f14a" providerId="ADAL" clId="{378B5EED-8B03-49EB-B2BD-E9726B866780}" dt="2023-08-04T08:23:51.664" v="313" actId="1076"/>
          <ac:spMkLst>
            <pc:docMk/>
            <pc:sldMk cId="3324184534" sldId="4873"/>
            <ac:spMk id="47" creationId="{466F35DC-0642-EDB9-D87D-29156CEB4EBA}"/>
          </ac:spMkLst>
        </pc:spChg>
        <pc:spChg chg="add del mod">
          <ac:chgData name="Swapnil Raichandani" userId="857b48b4-3170-4a46-9423-b0f8bf67f14a" providerId="ADAL" clId="{378B5EED-8B03-49EB-B2BD-E9726B866780}" dt="2023-08-04T08:24:37.831" v="328" actId="478"/>
          <ac:spMkLst>
            <pc:docMk/>
            <pc:sldMk cId="3324184534" sldId="4873"/>
            <ac:spMk id="48" creationId="{A29EA249-819E-A161-FFD8-FA4AEB860E6D}"/>
          </ac:spMkLst>
        </pc:spChg>
      </pc:sldChg>
      <pc:sldChg chg="addSp delSp modSp new mod ord">
        <pc:chgData name="Swapnil Raichandani" userId="857b48b4-3170-4a46-9423-b0f8bf67f14a" providerId="ADAL" clId="{378B5EED-8B03-49EB-B2BD-E9726B866780}" dt="2023-08-04T11:39:57.736" v="1121" actId="948"/>
        <pc:sldMkLst>
          <pc:docMk/>
          <pc:sldMk cId="916565778" sldId="4874"/>
        </pc:sldMkLst>
        <pc:spChg chg="mod">
          <ac:chgData name="Swapnil Raichandani" userId="857b48b4-3170-4a46-9423-b0f8bf67f14a" providerId="ADAL" clId="{378B5EED-8B03-49EB-B2BD-E9726B866780}" dt="2023-08-04T11:39:57.736" v="1121" actId="948"/>
          <ac:spMkLst>
            <pc:docMk/>
            <pc:sldMk cId="916565778" sldId="4874"/>
            <ac:spMk id="2" creationId="{8DD760C1-5707-39B7-FD08-FBDCEE85191C}"/>
          </ac:spMkLst>
        </pc:spChg>
        <pc:spChg chg="add mod">
          <ac:chgData name="Swapnil Raichandani" userId="857b48b4-3170-4a46-9423-b0f8bf67f14a" providerId="ADAL" clId="{378B5EED-8B03-49EB-B2BD-E9726B866780}" dt="2023-08-04T10:36:46.750" v="472"/>
          <ac:spMkLst>
            <pc:docMk/>
            <pc:sldMk cId="916565778" sldId="4874"/>
            <ac:spMk id="3" creationId="{C994091E-296F-FE4D-766C-89802AE41C39}"/>
          </ac:spMkLst>
        </pc:spChg>
        <pc:spChg chg="mod">
          <ac:chgData name="Swapnil Raichandani" userId="857b48b4-3170-4a46-9423-b0f8bf67f14a" providerId="ADAL" clId="{378B5EED-8B03-49EB-B2BD-E9726B866780}" dt="2023-08-04T10:39:26.556" v="507" actId="20577"/>
          <ac:spMkLst>
            <pc:docMk/>
            <pc:sldMk cId="916565778" sldId="4874"/>
            <ac:spMk id="5" creationId="{3A67FD51-0B3B-19FF-BAE9-637ADD9E6C9B}"/>
          </ac:spMkLst>
        </pc:spChg>
        <pc:spChg chg="mod">
          <ac:chgData name="Swapnil Raichandani" userId="857b48b4-3170-4a46-9423-b0f8bf67f14a" providerId="ADAL" clId="{378B5EED-8B03-49EB-B2BD-E9726B866780}" dt="2023-08-04T10:40:05.701" v="520" actId="6549"/>
          <ac:spMkLst>
            <pc:docMk/>
            <pc:sldMk cId="916565778" sldId="4874"/>
            <ac:spMk id="6" creationId="{432329E3-B176-B938-E387-25934B8BF49C}"/>
          </ac:spMkLst>
        </pc:spChg>
        <pc:spChg chg="mod">
          <ac:chgData name="Swapnil Raichandani" userId="857b48b4-3170-4a46-9423-b0f8bf67f14a" providerId="ADAL" clId="{378B5EED-8B03-49EB-B2BD-E9726B866780}" dt="2023-08-04T10:40:08.102" v="521" actId="6549"/>
          <ac:spMkLst>
            <pc:docMk/>
            <pc:sldMk cId="916565778" sldId="4874"/>
            <ac:spMk id="7" creationId="{ED8E99D1-A758-6D6D-35B3-D823BD88EAFB}"/>
          </ac:spMkLst>
        </pc:spChg>
        <pc:spChg chg="mod">
          <ac:chgData name="Swapnil Raichandani" userId="857b48b4-3170-4a46-9423-b0f8bf67f14a" providerId="ADAL" clId="{378B5EED-8B03-49EB-B2BD-E9726B866780}" dt="2023-08-04T10:40:10.762" v="522" actId="6549"/>
          <ac:spMkLst>
            <pc:docMk/>
            <pc:sldMk cId="916565778" sldId="4874"/>
            <ac:spMk id="8" creationId="{2810E8E7-693F-ECA6-B462-4A0669302F8B}"/>
          </ac:spMkLst>
        </pc:spChg>
        <pc:spChg chg="mod">
          <ac:chgData name="Swapnil Raichandani" userId="857b48b4-3170-4a46-9423-b0f8bf67f14a" providerId="ADAL" clId="{378B5EED-8B03-49EB-B2BD-E9726B866780}" dt="2023-08-04T10:40:13.256" v="523" actId="6549"/>
          <ac:spMkLst>
            <pc:docMk/>
            <pc:sldMk cId="916565778" sldId="4874"/>
            <ac:spMk id="9" creationId="{9FD37D12-0236-788F-DBEB-FC282714D641}"/>
          </ac:spMkLst>
        </pc:spChg>
        <pc:spChg chg="mod">
          <ac:chgData name="Swapnil Raichandani" userId="857b48b4-3170-4a46-9423-b0f8bf67f14a" providerId="ADAL" clId="{378B5EED-8B03-49EB-B2BD-E9726B866780}" dt="2023-08-04T10:40:23.587" v="528" actId="6549"/>
          <ac:spMkLst>
            <pc:docMk/>
            <pc:sldMk cId="916565778" sldId="4874"/>
            <ac:spMk id="10" creationId="{7421CE39-108A-6739-2E78-BEC91A6D930D}"/>
          </ac:spMkLst>
        </pc:spChg>
        <pc:spChg chg="mod">
          <ac:chgData name="Swapnil Raichandani" userId="857b48b4-3170-4a46-9423-b0f8bf67f14a" providerId="ADAL" clId="{378B5EED-8B03-49EB-B2BD-E9726B866780}" dt="2023-08-04T10:40:18.763" v="526" actId="6549"/>
          <ac:spMkLst>
            <pc:docMk/>
            <pc:sldMk cId="916565778" sldId="4874"/>
            <ac:spMk id="11" creationId="{F2BA6473-AB00-673A-BCDB-F7EDC1B05B93}"/>
          </ac:spMkLst>
        </pc:spChg>
        <pc:spChg chg="mod">
          <ac:chgData name="Swapnil Raichandani" userId="857b48b4-3170-4a46-9423-b0f8bf67f14a" providerId="ADAL" clId="{378B5EED-8B03-49EB-B2BD-E9726B866780}" dt="2023-08-04T10:40:16.377" v="525" actId="6549"/>
          <ac:spMkLst>
            <pc:docMk/>
            <pc:sldMk cId="916565778" sldId="4874"/>
            <ac:spMk id="12" creationId="{044FF2C3-8940-7D2F-13B6-065A80FAD54C}"/>
          </ac:spMkLst>
        </pc:spChg>
        <pc:spChg chg="mod">
          <ac:chgData name="Swapnil Raichandani" userId="857b48b4-3170-4a46-9423-b0f8bf67f14a" providerId="ADAL" clId="{378B5EED-8B03-49EB-B2BD-E9726B866780}" dt="2023-08-04T10:40:21.436" v="527" actId="6549"/>
          <ac:spMkLst>
            <pc:docMk/>
            <pc:sldMk cId="916565778" sldId="4874"/>
            <ac:spMk id="13" creationId="{452A54B3-9DC8-5DAA-CF5C-534938320E80}"/>
          </ac:spMkLst>
        </pc:spChg>
        <pc:spChg chg="mod">
          <ac:chgData name="Swapnil Raichandani" userId="857b48b4-3170-4a46-9423-b0f8bf67f14a" providerId="ADAL" clId="{378B5EED-8B03-49EB-B2BD-E9726B866780}" dt="2023-08-04T10:40:25.871" v="529" actId="6549"/>
          <ac:spMkLst>
            <pc:docMk/>
            <pc:sldMk cId="916565778" sldId="4874"/>
            <ac:spMk id="14" creationId="{853D7E8C-0F49-43FB-EBF5-00777FE60A2D}"/>
          </ac:spMkLst>
        </pc:spChg>
        <pc:spChg chg="mod">
          <ac:chgData name="Swapnil Raichandani" userId="857b48b4-3170-4a46-9423-b0f8bf67f14a" providerId="ADAL" clId="{378B5EED-8B03-49EB-B2BD-E9726B866780}" dt="2023-08-04T10:37:37.839" v="496"/>
          <ac:spMkLst>
            <pc:docMk/>
            <pc:sldMk cId="916565778" sldId="4874"/>
            <ac:spMk id="21" creationId="{D46F03CB-1BE3-7EBE-FDED-827D3E4E287C}"/>
          </ac:spMkLst>
        </pc:spChg>
        <pc:spChg chg="mod">
          <ac:chgData name="Swapnil Raichandani" userId="857b48b4-3170-4a46-9423-b0f8bf67f14a" providerId="ADAL" clId="{378B5EED-8B03-49EB-B2BD-E9726B866780}" dt="2023-08-04T10:37:37.839" v="496"/>
          <ac:spMkLst>
            <pc:docMk/>
            <pc:sldMk cId="916565778" sldId="4874"/>
            <ac:spMk id="22" creationId="{46611C15-65B1-9E7E-6F9E-645F486C8B33}"/>
          </ac:spMkLst>
        </pc:spChg>
        <pc:spChg chg="mod">
          <ac:chgData name="Swapnil Raichandani" userId="857b48b4-3170-4a46-9423-b0f8bf67f14a" providerId="ADAL" clId="{378B5EED-8B03-49EB-B2BD-E9726B866780}" dt="2023-08-04T10:37:37.839" v="496"/>
          <ac:spMkLst>
            <pc:docMk/>
            <pc:sldMk cId="916565778" sldId="4874"/>
            <ac:spMk id="23" creationId="{522C664D-6A7F-FFFD-9F9C-D63E772A1673}"/>
          </ac:spMkLst>
        </pc:spChg>
        <pc:spChg chg="mod">
          <ac:chgData name="Swapnil Raichandani" userId="857b48b4-3170-4a46-9423-b0f8bf67f14a" providerId="ADAL" clId="{378B5EED-8B03-49EB-B2BD-E9726B866780}" dt="2023-08-04T10:37:37.839" v="496"/>
          <ac:spMkLst>
            <pc:docMk/>
            <pc:sldMk cId="916565778" sldId="4874"/>
            <ac:spMk id="24" creationId="{01DD7F3E-8061-FC7E-67BA-D19BCB0ED1C1}"/>
          </ac:spMkLst>
        </pc:spChg>
        <pc:spChg chg="mod">
          <ac:chgData name="Swapnil Raichandani" userId="857b48b4-3170-4a46-9423-b0f8bf67f14a" providerId="ADAL" clId="{378B5EED-8B03-49EB-B2BD-E9726B866780}" dt="2023-08-04T10:37:37.839" v="496"/>
          <ac:spMkLst>
            <pc:docMk/>
            <pc:sldMk cId="916565778" sldId="4874"/>
            <ac:spMk id="25" creationId="{DDEC3025-756C-C792-DB86-EFA4DD412DAD}"/>
          </ac:spMkLst>
        </pc:spChg>
        <pc:spChg chg="mod">
          <ac:chgData name="Swapnil Raichandani" userId="857b48b4-3170-4a46-9423-b0f8bf67f14a" providerId="ADAL" clId="{378B5EED-8B03-49EB-B2BD-E9726B866780}" dt="2023-08-04T10:37:37.839" v="496"/>
          <ac:spMkLst>
            <pc:docMk/>
            <pc:sldMk cId="916565778" sldId="4874"/>
            <ac:spMk id="26" creationId="{956275C4-D60F-DBAB-BB9E-62D69059E8D4}"/>
          </ac:spMkLst>
        </pc:spChg>
        <pc:spChg chg="mod">
          <ac:chgData name="Swapnil Raichandani" userId="857b48b4-3170-4a46-9423-b0f8bf67f14a" providerId="ADAL" clId="{378B5EED-8B03-49EB-B2BD-E9726B866780}" dt="2023-08-04T10:37:37.839" v="496"/>
          <ac:spMkLst>
            <pc:docMk/>
            <pc:sldMk cId="916565778" sldId="4874"/>
            <ac:spMk id="27" creationId="{5AFD4CED-5F6F-10AA-77F0-22C608CAE786}"/>
          </ac:spMkLst>
        </pc:spChg>
        <pc:spChg chg="mod">
          <ac:chgData name="Swapnil Raichandani" userId="857b48b4-3170-4a46-9423-b0f8bf67f14a" providerId="ADAL" clId="{378B5EED-8B03-49EB-B2BD-E9726B866780}" dt="2023-08-04T10:37:37.839" v="496"/>
          <ac:spMkLst>
            <pc:docMk/>
            <pc:sldMk cId="916565778" sldId="4874"/>
            <ac:spMk id="28" creationId="{CDF9EF26-15FC-900F-8914-35680349432C}"/>
          </ac:spMkLst>
        </pc:spChg>
        <pc:spChg chg="mod">
          <ac:chgData name="Swapnil Raichandani" userId="857b48b4-3170-4a46-9423-b0f8bf67f14a" providerId="ADAL" clId="{378B5EED-8B03-49EB-B2BD-E9726B866780}" dt="2023-08-04T10:37:37.839" v="496"/>
          <ac:spMkLst>
            <pc:docMk/>
            <pc:sldMk cId="916565778" sldId="4874"/>
            <ac:spMk id="29" creationId="{81AB7E57-1572-CF7A-FB59-A7FFE4925E56}"/>
          </ac:spMkLst>
        </pc:spChg>
        <pc:spChg chg="mod">
          <ac:chgData name="Swapnil Raichandani" userId="857b48b4-3170-4a46-9423-b0f8bf67f14a" providerId="ADAL" clId="{378B5EED-8B03-49EB-B2BD-E9726B866780}" dt="2023-08-04T10:37:37.839" v="496"/>
          <ac:spMkLst>
            <pc:docMk/>
            <pc:sldMk cId="916565778" sldId="4874"/>
            <ac:spMk id="30" creationId="{32E13E77-EC1B-3F08-8FDE-5E96A91E21B3}"/>
          </ac:spMkLst>
        </pc:spChg>
        <pc:spChg chg="add mod">
          <ac:chgData name="Swapnil Raichandani" userId="857b48b4-3170-4a46-9423-b0f8bf67f14a" providerId="ADAL" clId="{378B5EED-8B03-49EB-B2BD-E9726B866780}" dt="2023-08-04T11:36:51.624" v="1061" actId="571"/>
          <ac:spMkLst>
            <pc:docMk/>
            <pc:sldMk cId="916565778" sldId="4874"/>
            <ac:spMk id="41" creationId="{C6AE229B-20D8-17ED-2B06-71F172A41605}"/>
          </ac:spMkLst>
        </pc:spChg>
        <pc:spChg chg="add mod">
          <ac:chgData name="Swapnil Raichandani" userId="857b48b4-3170-4a46-9423-b0f8bf67f14a" providerId="ADAL" clId="{378B5EED-8B03-49EB-B2BD-E9726B866780}" dt="2023-08-04T11:39:31.449" v="1108" actId="1076"/>
          <ac:spMkLst>
            <pc:docMk/>
            <pc:sldMk cId="916565778" sldId="4874"/>
            <ac:spMk id="42" creationId="{5D3ED879-6787-0FEA-54D5-947727066A95}"/>
          </ac:spMkLst>
        </pc:spChg>
        <pc:spChg chg="add mod">
          <ac:chgData name="Swapnil Raichandani" userId="857b48b4-3170-4a46-9423-b0f8bf67f14a" providerId="ADAL" clId="{378B5EED-8B03-49EB-B2BD-E9726B866780}" dt="2023-08-04T11:36:51.624" v="1061" actId="571"/>
          <ac:spMkLst>
            <pc:docMk/>
            <pc:sldMk cId="916565778" sldId="4874"/>
            <ac:spMk id="43" creationId="{3C880F32-66B1-0B92-9A52-DA7D8665A951}"/>
          </ac:spMkLst>
        </pc:spChg>
        <pc:spChg chg="add mod">
          <ac:chgData name="Swapnil Raichandani" userId="857b48b4-3170-4a46-9423-b0f8bf67f14a" providerId="ADAL" clId="{378B5EED-8B03-49EB-B2BD-E9726B866780}" dt="2023-08-04T11:36:51.624" v="1061" actId="571"/>
          <ac:spMkLst>
            <pc:docMk/>
            <pc:sldMk cId="916565778" sldId="4874"/>
            <ac:spMk id="44" creationId="{1F0E3ABC-F060-6562-6144-7432B731F7CA}"/>
          </ac:spMkLst>
        </pc:spChg>
        <pc:spChg chg="mod">
          <ac:chgData name="Swapnil Raichandani" userId="857b48b4-3170-4a46-9423-b0f8bf67f14a" providerId="ADAL" clId="{378B5EED-8B03-49EB-B2BD-E9726B866780}" dt="2023-08-04T10:39:38.536" v="511" actId="571"/>
          <ac:spMkLst>
            <pc:docMk/>
            <pc:sldMk cId="916565778" sldId="4874"/>
            <ac:spMk id="44" creationId="{B35D22EC-5EBC-474F-3547-9060FCC02BF5}"/>
          </ac:spMkLst>
        </pc:spChg>
        <pc:spChg chg="mod">
          <ac:chgData name="Swapnil Raichandani" userId="857b48b4-3170-4a46-9423-b0f8bf67f14a" providerId="ADAL" clId="{378B5EED-8B03-49EB-B2BD-E9726B866780}" dt="2023-08-04T10:39:38.536" v="511" actId="571"/>
          <ac:spMkLst>
            <pc:docMk/>
            <pc:sldMk cId="916565778" sldId="4874"/>
            <ac:spMk id="45" creationId="{3438F2A3-17CC-0F3A-30C9-3421235D0005}"/>
          </ac:spMkLst>
        </pc:spChg>
        <pc:spChg chg="add mod">
          <ac:chgData name="Swapnil Raichandani" userId="857b48b4-3170-4a46-9423-b0f8bf67f14a" providerId="ADAL" clId="{378B5EED-8B03-49EB-B2BD-E9726B866780}" dt="2023-08-04T11:36:51.624" v="1061" actId="571"/>
          <ac:spMkLst>
            <pc:docMk/>
            <pc:sldMk cId="916565778" sldId="4874"/>
            <ac:spMk id="45" creationId="{C9FB539D-9EF5-2817-7E4B-0954112D1E5A}"/>
          </ac:spMkLst>
        </pc:spChg>
        <pc:spChg chg="add mod">
          <ac:chgData name="Swapnil Raichandani" userId="857b48b4-3170-4a46-9423-b0f8bf67f14a" providerId="ADAL" clId="{378B5EED-8B03-49EB-B2BD-E9726B866780}" dt="2023-08-04T11:36:51.624" v="1061" actId="571"/>
          <ac:spMkLst>
            <pc:docMk/>
            <pc:sldMk cId="916565778" sldId="4874"/>
            <ac:spMk id="46" creationId="{2D894355-2FC3-9385-E277-BFFE56BB0454}"/>
          </ac:spMkLst>
        </pc:spChg>
        <pc:spChg chg="mod">
          <ac:chgData name="Swapnil Raichandani" userId="857b48b4-3170-4a46-9423-b0f8bf67f14a" providerId="ADAL" clId="{378B5EED-8B03-49EB-B2BD-E9726B866780}" dt="2023-08-04T10:39:38.536" v="511" actId="571"/>
          <ac:spMkLst>
            <pc:docMk/>
            <pc:sldMk cId="916565778" sldId="4874"/>
            <ac:spMk id="46" creationId="{53DD5AB8-2BF1-9634-626B-BD966E0171F7}"/>
          </ac:spMkLst>
        </pc:spChg>
        <pc:spChg chg="mod">
          <ac:chgData name="Swapnil Raichandani" userId="857b48b4-3170-4a46-9423-b0f8bf67f14a" providerId="ADAL" clId="{378B5EED-8B03-49EB-B2BD-E9726B866780}" dt="2023-08-04T10:39:38.536" v="511" actId="571"/>
          <ac:spMkLst>
            <pc:docMk/>
            <pc:sldMk cId="916565778" sldId="4874"/>
            <ac:spMk id="47" creationId="{14CD8756-75F6-48B5-EE68-B0241AAB8B7F}"/>
          </ac:spMkLst>
        </pc:spChg>
        <pc:spChg chg="add mod">
          <ac:chgData name="Swapnil Raichandani" userId="857b48b4-3170-4a46-9423-b0f8bf67f14a" providerId="ADAL" clId="{378B5EED-8B03-49EB-B2BD-E9726B866780}" dt="2023-08-04T11:39:00.642" v="1105" actId="571"/>
          <ac:spMkLst>
            <pc:docMk/>
            <pc:sldMk cId="916565778" sldId="4874"/>
            <ac:spMk id="47" creationId="{7F774FDF-F5F0-5CF9-0345-3EF8EF046150}"/>
          </ac:spMkLst>
        </pc:spChg>
        <pc:spChg chg="mod">
          <ac:chgData name="Swapnil Raichandani" userId="857b48b4-3170-4a46-9423-b0f8bf67f14a" providerId="ADAL" clId="{378B5EED-8B03-49EB-B2BD-E9726B866780}" dt="2023-08-04T10:39:38.536" v="511" actId="571"/>
          <ac:spMkLst>
            <pc:docMk/>
            <pc:sldMk cId="916565778" sldId="4874"/>
            <ac:spMk id="48" creationId="{53FAEA00-797C-5EE0-1B7B-A837F0622DFC}"/>
          </ac:spMkLst>
        </pc:spChg>
        <pc:spChg chg="add mod">
          <ac:chgData name="Swapnil Raichandani" userId="857b48b4-3170-4a46-9423-b0f8bf67f14a" providerId="ADAL" clId="{378B5EED-8B03-49EB-B2BD-E9726B866780}" dt="2023-08-04T11:39:00.642" v="1105" actId="571"/>
          <ac:spMkLst>
            <pc:docMk/>
            <pc:sldMk cId="916565778" sldId="4874"/>
            <ac:spMk id="48" creationId="{78AA90DA-F47C-4DFF-8818-9D120BC664FF}"/>
          </ac:spMkLst>
        </pc:spChg>
        <pc:spChg chg="add mod">
          <ac:chgData name="Swapnil Raichandani" userId="857b48b4-3170-4a46-9423-b0f8bf67f14a" providerId="ADAL" clId="{378B5EED-8B03-49EB-B2BD-E9726B866780}" dt="2023-08-04T11:39:00.642" v="1105" actId="571"/>
          <ac:spMkLst>
            <pc:docMk/>
            <pc:sldMk cId="916565778" sldId="4874"/>
            <ac:spMk id="49" creationId="{13086ACE-FD4E-C6DD-E493-3352574283CA}"/>
          </ac:spMkLst>
        </pc:spChg>
        <pc:spChg chg="mod">
          <ac:chgData name="Swapnil Raichandani" userId="857b48b4-3170-4a46-9423-b0f8bf67f14a" providerId="ADAL" clId="{378B5EED-8B03-49EB-B2BD-E9726B866780}" dt="2023-08-04T10:39:38.536" v="511" actId="571"/>
          <ac:spMkLst>
            <pc:docMk/>
            <pc:sldMk cId="916565778" sldId="4874"/>
            <ac:spMk id="49" creationId="{BF43545B-9170-F9F8-774E-32FC5E3DCBE0}"/>
          </ac:spMkLst>
        </pc:spChg>
        <pc:spChg chg="add mod">
          <ac:chgData name="Swapnil Raichandani" userId="857b48b4-3170-4a46-9423-b0f8bf67f14a" providerId="ADAL" clId="{378B5EED-8B03-49EB-B2BD-E9726B866780}" dt="2023-08-04T11:39:00.642" v="1105" actId="571"/>
          <ac:spMkLst>
            <pc:docMk/>
            <pc:sldMk cId="916565778" sldId="4874"/>
            <ac:spMk id="50" creationId="{70683D23-7161-AB4B-D28D-71228A2441CB}"/>
          </ac:spMkLst>
        </pc:spChg>
        <pc:spChg chg="mod">
          <ac:chgData name="Swapnil Raichandani" userId="857b48b4-3170-4a46-9423-b0f8bf67f14a" providerId="ADAL" clId="{378B5EED-8B03-49EB-B2BD-E9726B866780}" dt="2023-08-04T10:39:38.536" v="511" actId="571"/>
          <ac:spMkLst>
            <pc:docMk/>
            <pc:sldMk cId="916565778" sldId="4874"/>
            <ac:spMk id="50" creationId="{A21075AD-CA5C-1E3D-52C3-81E3E9177D56}"/>
          </ac:spMkLst>
        </pc:spChg>
        <pc:spChg chg="add mod">
          <ac:chgData name="Swapnil Raichandani" userId="857b48b4-3170-4a46-9423-b0f8bf67f14a" providerId="ADAL" clId="{378B5EED-8B03-49EB-B2BD-E9726B866780}" dt="2023-08-04T11:39:00.642" v="1105" actId="571"/>
          <ac:spMkLst>
            <pc:docMk/>
            <pc:sldMk cId="916565778" sldId="4874"/>
            <ac:spMk id="51" creationId="{7A5CF7D0-183B-D8CA-4004-CFD09D528356}"/>
          </ac:spMkLst>
        </pc:spChg>
        <pc:spChg chg="mod">
          <ac:chgData name="Swapnil Raichandani" userId="857b48b4-3170-4a46-9423-b0f8bf67f14a" providerId="ADAL" clId="{378B5EED-8B03-49EB-B2BD-E9726B866780}" dt="2023-08-04T10:39:38.536" v="511" actId="571"/>
          <ac:spMkLst>
            <pc:docMk/>
            <pc:sldMk cId="916565778" sldId="4874"/>
            <ac:spMk id="51" creationId="{A55A1CC3-619C-8924-5481-565B1E365F69}"/>
          </ac:spMkLst>
        </pc:spChg>
        <pc:spChg chg="mod">
          <ac:chgData name="Swapnil Raichandani" userId="857b48b4-3170-4a46-9423-b0f8bf67f14a" providerId="ADAL" clId="{378B5EED-8B03-49EB-B2BD-E9726B866780}" dt="2023-08-04T10:39:38.536" v="511" actId="571"/>
          <ac:spMkLst>
            <pc:docMk/>
            <pc:sldMk cId="916565778" sldId="4874"/>
            <ac:spMk id="52" creationId="{744A2AF4-E75E-3A70-2E5C-9E9AAC3F0107}"/>
          </ac:spMkLst>
        </pc:spChg>
        <pc:spChg chg="add mod">
          <ac:chgData name="Swapnil Raichandani" userId="857b48b4-3170-4a46-9423-b0f8bf67f14a" providerId="ADAL" clId="{378B5EED-8B03-49EB-B2BD-E9726B866780}" dt="2023-08-04T11:39:00.642" v="1105" actId="571"/>
          <ac:spMkLst>
            <pc:docMk/>
            <pc:sldMk cId="916565778" sldId="4874"/>
            <ac:spMk id="52" creationId="{C724774B-32E8-9601-2C5C-B96983FF42E4}"/>
          </ac:spMkLst>
        </pc:spChg>
        <pc:spChg chg="mod">
          <ac:chgData name="Swapnil Raichandani" userId="857b48b4-3170-4a46-9423-b0f8bf67f14a" providerId="ADAL" clId="{378B5EED-8B03-49EB-B2BD-E9726B866780}" dt="2023-08-04T10:39:38.536" v="511" actId="571"/>
          <ac:spMkLst>
            <pc:docMk/>
            <pc:sldMk cId="916565778" sldId="4874"/>
            <ac:spMk id="53" creationId="{3AD2ED4D-1F0A-1F1E-1502-D712315FA396}"/>
          </ac:spMkLst>
        </pc:spChg>
        <pc:spChg chg="add mod">
          <ac:chgData name="Swapnil Raichandani" userId="857b48b4-3170-4a46-9423-b0f8bf67f14a" providerId="ADAL" clId="{378B5EED-8B03-49EB-B2BD-E9726B866780}" dt="2023-08-04T11:39:00.642" v="1105" actId="571"/>
          <ac:spMkLst>
            <pc:docMk/>
            <pc:sldMk cId="916565778" sldId="4874"/>
            <ac:spMk id="53" creationId="{D37268CE-27A4-FBBD-6C33-34AA428C5E29}"/>
          </ac:spMkLst>
        </pc:spChg>
        <pc:spChg chg="mod">
          <ac:chgData name="Swapnil Raichandani" userId="857b48b4-3170-4a46-9423-b0f8bf67f14a" providerId="ADAL" clId="{378B5EED-8B03-49EB-B2BD-E9726B866780}" dt="2023-08-04T10:39:38.536" v="511" actId="571"/>
          <ac:spMkLst>
            <pc:docMk/>
            <pc:sldMk cId="916565778" sldId="4874"/>
            <ac:spMk id="60" creationId="{085A491F-7835-784B-489E-6EBFCD5F5792}"/>
          </ac:spMkLst>
        </pc:spChg>
        <pc:spChg chg="mod">
          <ac:chgData name="Swapnil Raichandani" userId="857b48b4-3170-4a46-9423-b0f8bf67f14a" providerId="ADAL" clId="{378B5EED-8B03-49EB-B2BD-E9726B866780}" dt="2023-08-04T10:39:38.536" v="511" actId="571"/>
          <ac:spMkLst>
            <pc:docMk/>
            <pc:sldMk cId="916565778" sldId="4874"/>
            <ac:spMk id="61" creationId="{0B75782B-E9BB-C51D-C5CD-2DBC735ABA00}"/>
          </ac:spMkLst>
        </pc:spChg>
        <pc:spChg chg="mod">
          <ac:chgData name="Swapnil Raichandani" userId="857b48b4-3170-4a46-9423-b0f8bf67f14a" providerId="ADAL" clId="{378B5EED-8B03-49EB-B2BD-E9726B866780}" dt="2023-08-04T10:39:38.536" v="511" actId="571"/>
          <ac:spMkLst>
            <pc:docMk/>
            <pc:sldMk cId="916565778" sldId="4874"/>
            <ac:spMk id="62" creationId="{0917F2EA-82DE-DECA-465F-FBADD25FB219}"/>
          </ac:spMkLst>
        </pc:spChg>
        <pc:spChg chg="mod">
          <ac:chgData name="Swapnil Raichandani" userId="857b48b4-3170-4a46-9423-b0f8bf67f14a" providerId="ADAL" clId="{378B5EED-8B03-49EB-B2BD-E9726B866780}" dt="2023-08-04T10:39:38.536" v="511" actId="571"/>
          <ac:spMkLst>
            <pc:docMk/>
            <pc:sldMk cId="916565778" sldId="4874"/>
            <ac:spMk id="63" creationId="{FE00EB45-EAC1-EF1F-4486-16CF16BC2F51}"/>
          </ac:spMkLst>
        </pc:spChg>
        <pc:spChg chg="mod">
          <ac:chgData name="Swapnil Raichandani" userId="857b48b4-3170-4a46-9423-b0f8bf67f14a" providerId="ADAL" clId="{378B5EED-8B03-49EB-B2BD-E9726B866780}" dt="2023-08-04T10:39:38.536" v="511" actId="571"/>
          <ac:spMkLst>
            <pc:docMk/>
            <pc:sldMk cId="916565778" sldId="4874"/>
            <ac:spMk id="64" creationId="{D134C63C-6524-BEC9-A8CA-AA8766C49D97}"/>
          </ac:spMkLst>
        </pc:spChg>
        <pc:spChg chg="mod">
          <ac:chgData name="Swapnil Raichandani" userId="857b48b4-3170-4a46-9423-b0f8bf67f14a" providerId="ADAL" clId="{378B5EED-8B03-49EB-B2BD-E9726B866780}" dt="2023-08-04T10:39:38.536" v="511" actId="571"/>
          <ac:spMkLst>
            <pc:docMk/>
            <pc:sldMk cId="916565778" sldId="4874"/>
            <ac:spMk id="65" creationId="{07B08F7E-CEDE-0A2E-8F6D-48C88B6BC36B}"/>
          </ac:spMkLst>
        </pc:spChg>
        <pc:spChg chg="mod">
          <ac:chgData name="Swapnil Raichandani" userId="857b48b4-3170-4a46-9423-b0f8bf67f14a" providerId="ADAL" clId="{378B5EED-8B03-49EB-B2BD-E9726B866780}" dt="2023-08-04T10:39:38.536" v="511" actId="571"/>
          <ac:spMkLst>
            <pc:docMk/>
            <pc:sldMk cId="916565778" sldId="4874"/>
            <ac:spMk id="66" creationId="{DF90A40F-9D5B-D131-7AC9-3FEE85271EC0}"/>
          </ac:spMkLst>
        </pc:spChg>
        <pc:spChg chg="mod">
          <ac:chgData name="Swapnil Raichandani" userId="857b48b4-3170-4a46-9423-b0f8bf67f14a" providerId="ADAL" clId="{378B5EED-8B03-49EB-B2BD-E9726B866780}" dt="2023-08-04T10:39:38.536" v="511" actId="571"/>
          <ac:spMkLst>
            <pc:docMk/>
            <pc:sldMk cId="916565778" sldId="4874"/>
            <ac:spMk id="67" creationId="{501230A3-28E3-7AE0-BC01-E235EB95BD8E}"/>
          </ac:spMkLst>
        </pc:spChg>
        <pc:spChg chg="mod">
          <ac:chgData name="Swapnil Raichandani" userId="857b48b4-3170-4a46-9423-b0f8bf67f14a" providerId="ADAL" clId="{378B5EED-8B03-49EB-B2BD-E9726B866780}" dt="2023-08-04T10:39:38.536" v="511" actId="571"/>
          <ac:spMkLst>
            <pc:docMk/>
            <pc:sldMk cId="916565778" sldId="4874"/>
            <ac:spMk id="68" creationId="{9B9AE88D-956F-503C-831C-285C78B1CD15}"/>
          </ac:spMkLst>
        </pc:spChg>
        <pc:spChg chg="mod">
          <ac:chgData name="Swapnil Raichandani" userId="857b48b4-3170-4a46-9423-b0f8bf67f14a" providerId="ADAL" clId="{378B5EED-8B03-49EB-B2BD-E9726B866780}" dt="2023-08-04T10:39:38.536" v="511" actId="571"/>
          <ac:spMkLst>
            <pc:docMk/>
            <pc:sldMk cId="916565778" sldId="4874"/>
            <ac:spMk id="69" creationId="{094D4CFA-831B-A616-DEC8-A617D870F49C}"/>
          </ac:spMkLst>
        </pc:spChg>
        <pc:spChg chg="add mod">
          <ac:chgData name="Swapnil Raichandani" userId="857b48b4-3170-4a46-9423-b0f8bf67f14a" providerId="ADAL" clId="{378B5EED-8B03-49EB-B2BD-E9726B866780}" dt="2023-08-04T11:39:31.449" v="1108" actId="1076"/>
          <ac:spMkLst>
            <pc:docMk/>
            <pc:sldMk cId="916565778" sldId="4874"/>
            <ac:spMk id="80" creationId="{8200E294-37F6-15AD-C5C3-956B8DCDC75D}"/>
          </ac:spMkLst>
        </pc:spChg>
        <pc:spChg chg="add del">
          <ac:chgData name="Swapnil Raichandani" userId="857b48b4-3170-4a46-9423-b0f8bf67f14a" providerId="ADAL" clId="{378B5EED-8B03-49EB-B2BD-E9726B866780}" dt="2023-08-04T10:40:37.079" v="532" actId="22"/>
          <ac:spMkLst>
            <pc:docMk/>
            <pc:sldMk cId="916565778" sldId="4874"/>
            <ac:spMk id="82" creationId="{001DFE56-1D0A-0448-546E-1966717A1D0E}"/>
          </ac:spMkLst>
        </pc:spChg>
        <pc:spChg chg="add mod">
          <ac:chgData name="Swapnil Raichandani" userId="857b48b4-3170-4a46-9423-b0f8bf67f14a" providerId="ADAL" clId="{378B5EED-8B03-49EB-B2BD-E9726B866780}" dt="2023-08-04T11:39:31.449" v="1108" actId="1076"/>
          <ac:spMkLst>
            <pc:docMk/>
            <pc:sldMk cId="916565778" sldId="4874"/>
            <ac:spMk id="83" creationId="{683F0002-6C26-9E60-7A75-32AA016CB116}"/>
          </ac:spMkLst>
        </pc:spChg>
        <pc:spChg chg="add mod">
          <ac:chgData name="Swapnil Raichandani" userId="857b48b4-3170-4a46-9423-b0f8bf67f14a" providerId="ADAL" clId="{378B5EED-8B03-49EB-B2BD-E9726B866780}" dt="2023-08-04T11:39:31.449" v="1108" actId="1076"/>
          <ac:spMkLst>
            <pc:docMk/>
            <pc:sldMk cId="916565778" sldId="4874"/>
            <ac:spMk id="84" creationId="{C7004A99-37F9-9B61-CF8D-F6CFEA630F63}"/>
          </ac:spMkLst>
        </pc:spChg>
        <pc:spChg chg="add mod">
          <ac:chgData name="Swapnil Raichandani" userId="857b48b4-3170-4a46-9423-b0f8bf67f14a" providerId="ADAL" clId="{378B5EED-8B03-49EB-B2BD-E9726B866780}" dt="2023-08-04T11:39:31.449" v="1108" actId="1076"/>
          <ac:spMkLst>
            <pc:docMk/>
            <pc:sldMk cId="916565778" sldId="4874"/>
            <ac:spMk id="85" creationId="{6B15B512-24AD-678B-56CD-CECD02A9B8AF}"/>
          </ac:spMkLst>
        </pc:spChg>
        <pc:spChg chg="add mod">
          <ac:chgData name="Swapnil Raichandani" userId="857b48b4-3170-4a46-9423-b0f8bf67f14a" providerId="ADAL" clId="{378B5EED-8B03-49EB-B2BD-E9726B866780}" dt="2023-08-04T11:39:31.449" v="1108" actId="1076"/>
          <ac:spMkLst>
            <pc:docMk/>
            <pc:sldMk cId="916565778" sldId="4874"/>
            <ac:spMk id="86" creationId="{2F7268B2-BDF1-931E-EACA-288E6772E692}"/>
          </ac:spMkLst>
        </pc:spChg>
        <pc:spChg chg="add mod">
          <ac:chgData name="Swapnil Raichandani" userId="857b48b4-3170-4a46-9423-b0f8bf67f14a" providerId="ADAL" clId="{378B5EED-8B03-49EB-B2BD-E9726B866780}" dt="2023-08-04T11:39:31.449" v="1108" actId="1076"/>
          <ac:spMkLst>
            <pc:docMk/>
            <pc:sldMk cId="916565778" sldId="4874"/>
            <ac:spMk id="87" creationId="{C4547097-3EC6-AA4F-CB37-75EE3B6F06AD}"/>
          </ac:spMkLst>
        </pc:spChg>
        <pc:spChg chg="add mod">
          <ac:chgData name="Swapnil Raichandani" userId="857b48b4-3170-4a46-9423-b0f8bf67f14a" providerId="ADAL" clId="{378B5EED-8B03-49EB-B2BD-E9726B866780}" dt="2023-08-04T11:39:31.449" v="1108" actId="1076"/>
          <ac:spMkLst>
            <pc:docMk/>
            <pc:sldMk cId="916565778" sldId="4874"/>
            <ac:spMk id="88" creationId="{80E50863-5D99-0716-7C14-9842E80502C8}"/>
          </ac:spMkLst>
        </pc:spChg>
        <pc:spChg chg="add mod">
          <ac:chgData name="Swapnil Raichandani" userId="857b48b4-3170-4a46-9423-b0f8bf67f14a" providerId="ADAL" clId="{378B5EED-8B03-49EB-B2BD-E9726B866780}" dt="2023-08-04T11:39:31.449" v="1108" actId="1076"/>
          <ac:spMkLst>
            <pc:docMk/>
            <pc:sldMk cId="916565778" sldId="4874"/>
            <ac:spMk id="89" creationId="{EC3BC67E-0EB2-D89F-28A7-E43732719287}"/>
          </ac:spMkLst>
        </pc:spChg>
        <pc:spChg chg="add mod">
          <ac:chgData name="Swapnil Raichandani" userId="857b48b4-3170-4a46-9423-b0f8bf67f14a" providerId="ADAL" clId="{378B5EED-8B03-49EB-B2BD-E9726B866780}" dt="2023-08-04T11:39:31.449" v="1108" actId="1076"/>
          <ac:spMkLst>
            <pc:docMk/>
            <pc:sldMk cId="916565778" sldId="4874"/>
            <ac:spMk id="90" creationId="{8BC32EC1-3C5C-549B-672E-1B24B4702B1F}"/>
          </ac:spMkLst>
        </pc:spChg>
        <pc:spChg chg="add del mod">
          <ac:chgData name="Swapnil Raichandani" userId="857b48b4-3170-4a46-9423-b0f8bf67f14a" providerId="ADAL" clId="{378B5EED-8B03-49EB-B2BD-E9726B866780}" dt="2023-08-04T10:47:29.790" v="587"/>
          <ac:spMkLst>
            <pc:docMk/>
            <pc:sldMk cId="916565778" sldId="4874"/>
            <ac:spMk id="91" creationId="{049C69D7-2C20-726C-3196-3301756CCC81}"/>
          </ac:spMkLst>
        </pc:spChg>
        <pc:spChg chg="add del mod">
          <ac:chgData name="Swapnil Raichandani" userId="857b48b4-3170-4a46-9423-b0f8bf67f14a" providerId="ADAL" clId="{378B5EED-8B03-49EB-B2BD-E9726B866780}" dt="2023-08-04T11:38:38.093" v="1102" actId="478"/>
          <ac:spMkLst>
            <pc:docMk/>
            <pc:sldMk cId="916565778" sldId="4874"/>
            <ac:spMk id="92" creationId="{3FF7FED1-5DA8-E1B3-AE69-C9CE67950A23}"/>
          </ac:spMkLst>
        </pc:spChg>
        <pc:grpChg chg="add mod ord">
          <ac:chgData name="Swapnil Raichandani" userId="857b48b4-3170-4a46-9423-b0f8bf67f14a" providerId="ADAL" clId="{378B5EED-8B03-49EB-B2BD-E9726B866780}" dt="2023-08-04T11:39:31.449" v="1108" actId="1076"/>
          <ac:grpSpMkLst>
            <pc:docMk/>
            <pc:sldMk cId="916565778" sldId="4874"/>
            <ac:grpSpMk id="4" creationId="{6FD5DC0E-D8E5-EE6D-9E21-63008ED29874}"/>
          </ac:grpSpMkLst>
        </pc:grpChg>
        <pc:grpChg chg="add mod">
          <ac:chgData name="Swapnil Raichandani" userId="857b48b4-3170-4a46-9423-b0f8bf67f14a" providerId="ADAL" clId="{378B5EED-8B03-49EB-B2BD-E9726B866780}" dt="2023-08-04T10:39:38.536" v="511" actId="571"/>
          <ac:grpSpMkLst>
            <pc:docMk/>
            <pc:sldMk cId="916565778" sldId="4874"/>
            <ac:grpSpMk id="43" creationId="{3591BA17-E9C7-DEB2-B885-6604BA5ED90F}"/>
          </ac:grpSpMkLst>
        </pc:grpChg>
        <pc:cxnChg chg="mod">
          <ac:chgData name="Swapnil Raichandani" userId="857b48b4-3170-4a46-9423-b0f8bf67f14a" providerId="ADAL" clId="{378B5EED-8B03-49EB-B2BD-E9726B866780}" dt="2023-08-04T10:37:37.839" v="496"/>
          <ac:cxnSpMkLst>
            <pc:docMk/>
            <pc:sldMk cId="916565778" sldId="4874"/>
            <ac:cxnSpMk id="15" creationId="{C364F07C-F125-176E-0611-0BC48236AFC9}"/>
          </ac:cxnSpMkLst>
        </pc:cxnChg>
        <pc:cxnChg chg="mod">
          <ac:chgData name="Swapnil Raichandani" userId="857b48b4-3170-4a46-9423-b0f8bf67f14a" providerId="ADAL" clId="{378B5EED-8B03-49EB-B2BD-E9726B866780}" dt="2023-08-04T10:37:37.839" v="496"/>
          <ac:cxnSpMkLst>
            <pc:docMk/>
            <pc:sldMk cId="916565778" sldId="4874"/>
            <ac:cxnSpMk id="16" creationId="{A0C9B6C3-2397-ED30-1496-A6E5BD12940C}"/>
          </ac:cxnSpMkLst>
        </pc:cxnChg>
        <pc:cxnChg chg="mod">
          <ac:chgData name="Swapnil Raichandani" userId="857b48b4-3170-4a46-9423-b0f8bf67f14a" providerId="ADAL" clId="{378B5EED-8B03-49EB-B2BD-E9726B866780}" dt="2023-08-04T10:37:37.839" v="496"/>
          <ac:cxnSpMkLst>
            <pc:docMk/>
            <pc:sldMk cId="916565778" sldId="4874"/>
            <ac:cxnSpMk id="17" creationId="{896A0260-57E4-3521-79C7-384F9B8C9430}"/>
          </ac:cxnSpMkLst>
        </pc:cxnChg>
        <pc:cxnChg chg="mod">
          <ac:chgData name="Swapnil Raichandani" userId="857b48b4-3170-4a46-9423-b0f8bf67f14a" providerId="ADAL" clId="{378B5EED-8B03-49EB-B2BD-E9726B866780}" dt="2023-08-04T10:37:37.839" v="496"/>
          <ac:cxnSpMkLst>
            <pc:docMk/>
            <pc:sldMk cId="916565778" sldId="4874"/>
            <ac:cxnSpMk id="18" creationId="{F59FB0B3-7FD0-1F1F-D1B6-BFCDC98D1A4F}"/>
          </ac:cxnSpMkLst>
        </pc:cxnChg>
        <pc:cxnChg chg="mod">
          <ac:chgData name="Swapnil Raichandani" userId="857b48b4-3170-4a46-9423-b0f8bf67f14a" providerId="ADAL" clId="{378B5EED-8B03-49EB-B2BD-E9726B866780}" dt="2023-08-04T10:37:37.839" v="496"/>
          <ac:cxnSpMkLst>
            <pc:docMk/>
            <pc:sldMk cId="916565778" sldId="4874"/>
            <ac:cxnSpMk id="19" creationId="{B8BAABF6-C47B-903F-E33F-2D75A063B943}"/>
          </ac:cxnSpMkLst>
        </pc:cxnChg>
        <pc:cxnChg chg="mod">
          <ac:chgData name="Swapnil Raichandani" userId="857b48b4-3170-4a46-9423-b0f8bf67f14a" providerId="ADAL" clId="{378B5EED-8B03-49EB-B2BD-E9726B866780}" dt="2023-08-04T10:37:37.839" v="496"/>
          <ac:cxnSpMkLst>
            <pc:docMk/>
            <pc:sldMk cId="916565778" sldId="4874"/>
            <ac:cxnSpMk id="20" creationId="{08C855C8-682A-DEF3-7EFB-EE49F581BA59}"/>
          </ac:cxnSpMkLst>
        </pc:cxnChg>
        <pc:cxnChg chg="mod">
          <ac:chgData name="Swapnil Raichandani" userId="857b48b4-3170-4a46-9423-b0f8bf67f14a" providerId="ADAL" clId="{378B5EED-8B03-49EB-B2BD-E9726B866780}" dt="2023-08-04T10:37:37.839" v="496"/>
          <ac:cxnSpMkLst>
            <pc:docMk/>
            <pc:sldMk cId="916565778" sldId="4874"/>
            <ac:cxnSpMk id="31" creationId="{81591824-C55A-9BF2-5BFD-21F09768BD0B}"/>
          </ac:cxnSpMkLst>
        </pc:cxnChg>
        <pc:cxnChg chg="mod">
          <ac:chgData name="Swapnil Raichandani" userId="857b48b4-3170-4a46-9423-b0f8bf67f14a" providerId="ADAL" clId="{378B5EED-8B03-49EB-B2BD-E9726B866780}" dt="2023-08-04T10:37:37.839" v="496"/>
          <ac:cxnSpMkLst>
            <pc:docMk/>
            <pc:sldMk cId="916565778" sldId="4874"/>
            <ac:cxnSpMk id="32" creationId="{12E13083-ACA8-49A8-97F3-EAD898843FCF}"/>
          </ac:cxnSpMkLst>
        </pc:cxnChg>
        <pc:cxnChg chg="mod">
          <ac:chgData name="Swapnil Raichandani" userId="857b48b4-3170-4a46-9423-b0f8bf67f14a" providerId="ADAL" clId="{378B5EED-8B03-49EB-B2BD-E9726B866780}" dt="2023-08-04T10:37:37.839" v="496"/>
          <ac:cxnSpMkLst>
            <pc:docMk/>
            <pc:sldMk cId="916565778" sldId="4874"/>
            <ac:cxnSpMk id="33" creationId="{9A54911C-4A21-65FD-236C-E5EEF99D5856}"/>
          </ac:cxnSpMkLst>
        </pc:cxnChg>
        <pc:cxnChg chg="mod">
          <ac:chgData name="Swapnil Raichandani" userId="857b48b4-3170-4a46-9423-b0f8bf67f14a" providerId="ADAL" clId="{378B5EED-8B03-49EB-B2BD-E9726B866780}" dt="2023-08-04T10:37:37.839" v="496"/>
          <ac:cxnSpMkLst>
            <pc:docMk/>
            <pc:sldMk cId="916565778" sldId="4874"/>
            <ac:cxnSpMk id="34" creationId="{A8E6365F-F8CF-2A47-5CBF-43A2915B2CE4}"/>
          </ac:cxnSpMkLst>
        </pc:cxnChg>
        <pc:cxnChg chg="mod">
          <ac:chgData name="Swapnil Raichandani" userId="857b48b4-3170-4a46-9423-b0f8bf67f14a" providerId="ADAL" clId="{378B5EED-8B03-49EB-B2BD-E9726B866780}" dt="2023-08-04T10:39:19.912" v="506" actId="1076"/>
          <ac:cxnSpMkLst>
            <pc:docMk/>
            <pc:sldMk cId="916565778" sldId="4874"/>
            <ac:cxnSpMk id="35" creationId="{DE98A60C-337E-E9C4-8963-1F22E4DADED8}"/>
          </ac:cxnSpMkLst>
        </pc:cxnChg>
        <pc:cxnChg chg="mod">
          <ac:chgData name="Swapnil Raichandani" userId="857b48b4-3170-4a46-9423-b0f8bf67f14a" providerId="ADAL" clId="{378B5EED-8B03-49EB-B2BD-E9726B866780}" dt="2023-08-04T10:37:37.839" v="496"/>
          <ac:cxnSpMkLst>
            <pc:docMk/>
            <pc:sldMk cId="916565778" sldId="4874"/>
            <ac:cxnSpMk id="36" creationId="{4455A782-5E38-F28A-22F0-8D1FD02BDEC4}"/>
          </ac:cxnSpMkLst>
        </pc:cxnChg>
        <pc:cxnChg chg="mod">
          <ac:chgData name="Swapnil Raichandani" userId="857b48b4-3170-4a46-9423-b0f8bf67f14a" providerId="ADAL" clId="{378B5EED-8B03-49EB-B2BD-E9726B866780}" dt="2023-08-04T10:37:37.839" v="496"/>
          <ac:cxnSpMkLst>
            <pc:docMk/>
            <pc:sldMk cId="916565778" sldId="4874"/>
            <ac:cxnSpMk id="37" creationId="{F37E5C1C-C156-CA04-36C7-B6EB60F9DED3}"/>
          </ac:cxnSpMkLst>
        </pc:cxnChg>
        <pc:cxnChg chg="mod">
          <ac:chgData name="Swapnil Raichandani" userId="857b48b4-3170-4a46-9423-b0f8bf67f14a" providerId="ADAL" clId="{378B5EED-8B03-49EB-B2BD-E9726B866780}" dt="2023-08-04T10:37:37.839" v="496"/>
          <ac:cxnSpMkLst>
            <pc:docMk/>
            <pc:sldMk cId="916565778" sldId="4874"/>
            <ac:cxnSpMk id="38" creationId="{AB4FD9D7-E711-F5DD-1350-C2CEED3750B8}"/>
          </ac:cxnSpMkLst>
        </pc:cxnChg>
        <pc:cxnChg chg="mod">
          <ac:chgData name="Swapnil Raichandani" userId="857b48b4-3170-4a46-9423-b0f8bf67f14a" providerId="ADAL" clId="{378B5EED-8B03-49EB-B2BD-E9726B866780}" dt="2023-08-04T10:37:37.839" v="496"/>
          <ac:cxnSpMkLst>
            <pc:docMk/>
            <pc:sldMk cId="916565778" sldId="4874"/>
            <ac:cxnSpMk id="39" creationId="{48163891-96FE-8900-345E-BED168D30165}"/>
          </ac:cxnSpMkLst>
        </pc:cxnChg>
        <pc:cxnChg chg="mod">
          <ac:chgData name="Swapnil Raichandani" userId="857b48b4-3170-4a46-9423-b0f8bf67f14a" providerId="ADAL" clId="{378B5EED-8B03-49EB-B2BD-E9726B866780}" dt="2023-08-04T10:37:37.839" v="496"/>
          <ac:cxnSpMkLst>
            <pc:docMk/>
            <pc:sldMk cId="916565778" sldId="4874"/>
            <ac:cxnSpMk id="40" creationId="{7A51D8F4-26C8-D522-4D54-B710DBDEC11A}"/>
          </ac:cxnSpMkLst>
        </pc:cxnChg>
        <pc:cxnChg chg="mod">
          <ac:chgData name="Swapnil Raichandani" userId="857b48b4-3170-4a46-9423-b0f8bf67f14a" providerId="ADAL" clId="{378B5EED-8B03-49EB-B2BD-E9726B866780}" dt="2023-08-04T10:39:38.536" v="511" actId="571"/>
          <ac:cxnSpMkLst>
            <pc:docMk/>
            <pc:sldMk cId="916565778" sldId="4874"/>
            <ac:cxnSpMk id="54" creationId="{2CEDE350-7919-6272-74E9-694E44114222}"/>
          </ac:cxnSpMkLst>
        </pc:cxnChg>
        <pc:cxnChg chg="mod">
          <ac:chgData name="Swapnil Raichandani" userId="857b48b4-3170-4a46-9423-b0f8bf67f14a" providerId="ADAL" clId="{378B5EED-8B03-49EB-B2BD-E9726B866780}" dt="2023-08-04T10:39:38.536" v="511" actId="571"/>
          <ac:cxnSpMkLst>
            <pc:docMk/>
            <pc:sldMk cId="916565778" sldId="4874"/>
            <ac:cxnSpMk id="55" creationId="{F488210A-BB46-6DE8-E4FC-9FBDC88A2886}"/>
          </ac:cxnSpMkLst>
        </pc:cxnChg>
        <pc:cxnChg chg="mod">
          <ac:chgData name="Swapnil Raichandani" userId="857b48b4-3170-4a46-9423-b0f8bf67f14a" providerId="ADAL" clId="{378B5EED-8B03-49EB-B2BD-E9726B866780}" dt="2023-08-04T10:39:38.536" v="511" actId="571"/>
          <ac:cxnSpMkLst>
            <pc:docMk/>
            <pc:sldMk cId="916565778" sldId="4874"/>
            <ac:cxnSpMk id="56" creationId="{6C6C9B15-32D9-1666-D45A-87BD3B36574F}"/>
          </ac:cxnSpMkLst>
        </pc:cxnChg>
        <pc:cxnChg chg="mod">
          <ac:chgData name="Swapnil Raichandani" userId="857b48b4-3170-4a46-9423-b0f8bf67f14a" providerId="ADAL" clId="{378B5EED-8B03-49EB-B2BD-E9726B866780}" dt="2023-08-04T10:39:38.536" v="511" actId="571"/>
          <ac:cxnSpMkLst>
            <pc:docMk/>
            <pc:sldMk cId="916565778" sldId="4874"/>
            <ac:cxnSpMk id="57" creationId="{5BE2A66D-6470-06EE-3B18-338C0AFD3084}"/>
          </ac:cxnSpMkLst>
        </pc:cxnChg>
        <pc:cxnChg chg="mod">
          <ac:chgData name="Swapnil Raichandani" userId="857b48b4-3170-4a46-9423-b0f8bf67f14a" providerId="ADAL" clId="{378B5EED-8B03-49EB-B2BD-E9726B866780}" dt="2023-08-04T10:39:38.536" v="511" actId="571"/>
          <ac:cxnSpMkLst>
            <pc:docMk/>
            <pc:sldMk cId="916565778" sldId="4874"/>
            <ac:cxnSpMk id="58" creationId="{424BF032-15D3-6FF6-D05F-A40DEF1CEDDD}"/>
          </ac:cxnSpMkLst>
        </pc:cxnChg>
        <pc:cxnChg chg="mod">
          <ac:chgData name="Swapnil Raichandani" userId="857b48b4-3170-4a46-9423-b0f8bf67f14a" providerId="ADAL" clId="{378B5EED-8B03-49EB-B2BD-E9726B866780}" dt="2023-08-04T10:39:38.536" v="511" actId="571"/>
          <ac:cxnSpMkLst>
            <pc:docMk/>
            <pc:sldMk cId="916565778" sldId="4874"/>
            <ac:cxnSpMk id="59" creationId="{D1A3DC87-387E-14B1-6D57-94D1A5BE615B}"/>
          </ac:cxnSpMkLst>
        </pc:cxnChg>
        <pc:cxnChg chg="mod">
          <ac:chgData name="Swapnil Raichandani" userId="857b48b4-3170-4a46-9423-b0f8bf67f14a" providerId="ADAL" clId="{378B5EED-8B03-49EB-B2BD-E9726B866780}" dt="2023-08-04T10:39:38.536" v="511" actId="571"/>
          <ac:cxnSpMkLst>
            <pc:docMk/>
            <pc:sldMk cId="916565778" sldId="4874"/>
            <ac:cxnSpMk id="70" creationId="{D73DCDB4-0936-05CA-79C6-5F41C71F2449}"/>
          </ac:cxnSpMkLst>
        </pc:cxnChg>
        <pc:cxnChg chg="mod">
          <ac:chgData name="Swapnil Raichandani" userId="857b48b4-3170-4a46-9423-b0f8bf67f14a" providerId="ADAL" clId="{378B5EED-8B03-49EB-B2BD-E9726B866780}" dt="2023-08-04T10:39:38.536" v="511" actId="571"/>
          <ac:cxnSpMkLst>
            <pc:docMk/>
            <pc:sldMk cId="916565778" sldId="4874"/>
            <ac:cxnSpMk id="71" creationId="{5B0485E4-9F91-7E76-6A2E-67E97C401B6F}"/>
          </ac:cxnSpMkLst>
        </pc:cxnChg>
        <pc:cxnChg chg="mod">
          <ac:chgData name="Swapnil Raichandani" userId="857b48b4-3170-4a46-9423-b0f8bf67f14a" providerId="ADAL" clId="{378B5EED-8B03-49EB-B2BD-E9726B866780}" dt="2023-08-04T10:39:38.536" v="511" actId="571"/>
          <ac:cxnSpMkLst>
            <pc:docMk/>
            <pc:sldMk cId="916565778" sldId="4874"/>
            <ac:cxnSpMk id="72" creationId="{02F04537-57B3-3D34-001D-0049E145DCBB}"/>
          </ac:cxnSpMkLst>
        </pc:cxnChg>
        <pc:cxnChg chg="mod">
          <ac:chgData name="Swapnil Raichandani" userId="857b48b4-3170-4a46-9423-b0f8bf67f14a" providerId="ADAL" clId="{378B5EED-8B03-49EB-B2BD-E9726B866780}" dt="2023-08-04T10:39:38.536" v="511" actId="571"/>
          <ac:cxnSpMkLst>
            <pc:docMk/>
            <pc:sldMk cId="916565778" sldId="4874"/>
            <ac:cxnSpMk id="73" creationId="{815CE383-BA8B-6694-5BF3-0E6A563A695C}"/>
          </ac:cxnSpMkLst>
        </pc:cxnChg>
        <pc:cxnChg chg="mod">
          <ac:chgData name="Swapnil Raichandani" userId="857b48b4-3170-4a46-9423-b0f8bf67f14a" providerId="ADAL" clId="{378B5EED-8B03-49EB-B2BD-E9726B866780}" dt="2023-08-04T10:39:38.536" v="511" actId="571"/>
          <ac:cxnSpMkLst>
            <pc:docMk/>
            <pc:sldMk cId="916565778" sldId="4874"/>
            <ac:cxnSpMk id="74" creationId="{9FD0D422-58E4-F665-2DF1-76528A237999}"/>
          </ac:cxnSpMkLst>
        </pc:cxnChg>
        <pc:cxnChg chg="mod">
          <ac:chgData name="Swapnil Raichandani" userId="857b48b4-3170-4a46-9423-b0f8bf67f14a" providerId="ADAL" clId="{378B5EED-8B03-49EB-B2BD-E9726B866780}" dt="2023-08-04T10:39:38.536" v="511" actId="571"/>
          <ac:cxnSpMkLst>
            <pc:docMk/>
            <pc:sldMk cId="916565778" sldId="4874"/>
            <ac:cxnSpMk id="75" creationId="{6485311E-4511-508C-8FDC-37B6C73B5D32}"/>
          </ac:cxnSpMkLst>
        </pc:cxnChg>
        <pc:cxnChg chg="mod">
          <ac:chgData name="Swapnil Raichandani" userId="857b48b4-3170-4a46-9423-b0f8bf67f14a" providerId="ADAL" clId="{378B5EED-8B03-49EB-B2BD-E9726B866780}" dt="2023-08-04T10:39:38.536" v="511" actId="571"/>
          <ac:cxnSpMkLst>
            <pc:docMk/>
            <pc:sldMk cId="916565778" sldId="4874"/>
            <ac:cxnSpMk id="76" creationId="{437BAF71-E130-7989-9892-A6518060390E}"/>
          </ac:cxnSpMkLst>
        </pc:cxnChg>
        <pc:cxnChg chg="mod">
          <ac:chgData name="Swapnil Raichandani" userId="857b48b4-3170-4a46-9423-b0f8bf67f14a" providerId="ADAL" clId="{378B5EED-8B03-49EB-B2BD-E9726B866780}" dt="2023-08-04T10:39:38.536" v="511" actId="571"/>
          <ac:cxnSpMkLst>
            <pc:docMk/>
            <pc:sldMk cId="916565778" sldId="4874"/>
            <ac:cxnSpMk id="77" creationId="{2CC73448-CFBD-1267-1737-D7E866D099DD}"/>
          </ac:cxnSpMkLst>
        </pc:cxnChg>
        <pc:cxnChg chg="mod">
          <ac:chgData name="Swapnil Raichandani" userId="857b48b4-3170-4a46-9423-b0f8bf67f14a" providerId="ADAL" clId="{378B5EED-8B03-49EB-B2BD-E9726B866780}" dt="2023-08-04T10:39:38.536" v="511" actId="571"/>
          <ac:cxnSpMkLst>
            <pc:docMk/>
            <pc:sldMk cId="916565778" sldId="4874"/>
            <ac:cxnSpMk id="78" creationId="{12870B7C-145F-306F-1559-C2FF811C95D6}"/>
          </ac:cxnSpMkLst>
        </pc:cxnChg>
        <pc:cxnChg chg="mod">
          <ac:chgData name="Swapnil Raichandani" userId="857b48b4-3170-4a46-9423-b0f8bf67f14a" providerId="ADAL" clId="{378B5EED-8B03-49EB-B2BD-E9726B866780}" dt="2023-08-04T10:39:38.536" v="511" actId="571"/>
          <ac:cxnSpMkLst>
            <pc:docMk/>
            <pc:sldMk cId="916565778" sldId="4874"/>
            <ac:cxnSpMk id="79" creationId="{F3FEE338-BBE1-EC7D-A1BD-390C1E34E890}"/>
          </ac:cxnSpMkLst>
        </pc:cxnChg>
      </pc:sldChg>
      <pc:sldChg chg="addSp modSp add del mod">
        <pc:chgData name="Swapnil Raichandani" userId="857b48b4-3170-4a46-9423-b0f8bf67f14a" providerId="ADAL" clId="{378B5EED-8B03-49EB-B2BD-E9726B866780}" dt="2023-08-04T10:52:44.291" v="620" actId="47"/>
        <pc:sldMkLst>
          <pc:docMk/>
          <pc:sldMk cId="882461165" sldId="4875"/>
        </pc:sldMkLst>
        <pc:spChg chg="mod">
          <ac:chgData name="Swapnil Raichandani" userId="857b48b4-3170-4a46-9423-b0f8bf67f14a" providerId="ADAL" clId="{378B5EED-8B03-49EB-B2BD-E9726B866780}" dt="2023-08-04T10:51:51.543" v="619" actId="34136"/>
          <ac:spMkLst>
            <pc:docMk/>
            <pc:sldMk cId="882461165" sldId="4875"/>
            <ac:spMk id="5" creationId="{3A67FD51-0B3B-19FF-BAE9-637ADD9E6C9B}"/>
          </ac:spMkLst>
        </pc:spChg>
        <pc:spChg chg="mod">
          <ac:chgData name="Swapnil Raichandani" userId="857b48b4-3170-4a46-9423-b0f8bf67f14a" providerId="ADAL" clId="{378B5EED-8B03-49EB-B2BD-E9726B866780}" dt="2023-08-04T10:51:51.543" v="619" actId="34136"/>
          <ac:spMkLst>
            <pc:docMk/>
            <pc:sldMk cId="882461165" sldId="4875"/>
            <ac:spMk id="6" creationId="{432329E3-B176-B938-E387-25934B8BF49C}"/>
          </ac:spMkLst>
        </pc:spChg>
        <pc:spChg chg="mod">
          <ac:chgData name="Swapnil Raichandani" userId="857b48b4-3170-4a46-9423-b0f8bf67f14a" providerId="ADAL" clId="{378B5EED-8B03-49EB-B2BD-E9726B866780}" dt="2023-08-04T10:51:51.543" v="619" actId="34136"/>
          <ac:spMkLst>
            <pc:docMk/>
            <pc:sldMk cId="882461165" sldId="4875"/>
            <ac:spMk id="7" creationId="{ED8E99D1-A758-6D6D-35B3-D823BD88EAFB}"/>
          </ac:spMkLst>
        </pc:spChg>
        <pc:spChg chg="mod">
          <ac:chgData name="Swapnil Raichandani" userId="857b48b4-3170-4a46-9423-b0f8bf67f14a" providerId="ADAL" clId="{378B5EED-8B03-49EB-B2BD-E9726B866780}" dt="2023-08-04T10:51:51.543" v="619" actId="34136"/>
          <ac:spMkLst>
            <pc:docMk/>
            <pc:sldMk cId="882461165" sldId="4875"/>
            <ac:spMk id="8" creationId="{2810E8E7-693F-ECA6-B462-4A0669302F8B}"/>
          </ac:spMkLst>
        </pc:spChg>
        <pc:spChg chg="mod">
          <ac:chgData name="Swapnil Raichandani" userId="857b48b4-3170-4a46-9423-b0f8bf67f14a" providerId="ADAL" clId="{378B5EED-8B03-49EB-B2BD-E9726B866780}" dt="2023-08-04T10:51:51.543" v="619" actId="34136"/>
          <ac:spMkLst>
            <pc:docMk/>
            <pc:sldMk cId="882461165" sldId="4875"/>
            <ac:spMk id="9" creationId="{9FD37D12-0236-788F-DBEB-FC282714D641}"/>
          </ac:spMkLst>
        </pc:spChg>
        <pc:spChg chg="mod">
          <ac:chgData name="Swapnil Raichandani" userId="857b48b4-3170-4a46-9423-b0f8bf67f14a" providerId="ADAL" clId="{378B5EED-8B03-49EB-B2BD-E9726B866780}" dt="2023-08-04T10:51:51.543" v="619" actId="34136"/>
          <ac:spMkLst>
            <pc:docMk/>
            <pc:sldMk cId="882461165" sldId="4875"/>
            <ac:spMk id="10" creationId="{7421CE39-108A-6739-2E78-BEC91A6D930D}"/>
          </ac:spMkLst>
        </pc:spChg>
        <pc:spChg chg="mod">
          <ac:chgData name="Swapnil Raichandani" userId="857b48b4-3170-4a46-9423-b0f8bf67f14a" providerId="ADAL" clId="{378B5EED-8B03-49EB-B2BD-E9726B866780}" dt="2023-08-04T10:51:51.543" v="619" actId="34136"/>
          <ac:spMkLst>
            <pc:docMk/>
            <pc:sldMk cId="882461165" sldId="4875"/>
            <ac:spMk id="11" creationId="{F2BA6473-AB00-673A-BCDB-F7EDC1B05B93}"/>
          </ac:spMkLst>
        </pc:spChg>
        <pc:spChg chg="mod">
          <ac:chgData name="Swapnil Raichandani" userId="857b48b4-3170-4a46-9423-b0f8bf67f14a" providerId="ADAL" clId="{378B5EED-8B03-49EB-B2BD-E9726B866780}" dt="2023-08-04T10:51:51.543" v="619" actId="34136"/>
          <ac:spMkLst>
            <pc:docMk/>
            <pc:sldMk cId="882461165" sldId="4875"/>
            <ac:spMk id="12" creationId="{044FF2C3-8940-7D2F-13B6-065A80FAD54C}"/>
          </ac:spMkLst>
        </pc:spChg>
        <pc:spChg chg="mod">
          <ac:chgData name="Swapnil Raichandani" userId="857b48b4-3170-4a46-9423-b0f8bf67f14a" providerId="ADAL" clId="{378B5EED-8B03-49EB-B2BD-E9726B866780}" dt="2023-08-04T10:51:51.543" v="619" actId="34136"/>
          <ac:spMkLst>
            <pc:docMk/>
            <pc:sldMk cId="882461165" sldId="4875"/>
            <ac:spMk id="13" creationId="{452A54B3-9DC8-5DAA-CF5C-534938320E80}"/>
          </ac:spMkLst>
        </pc:spChg>
        <pc:spChg chg="mod">
          <ac:chgData name="Swapnil Raichandani" userId="857b48b4-3170-4a46-9423-b0f8bf67f14a" providerId="ADAL" clId="{378B5EED-8B03-49EB-B2BD-E9726B866780}" dt="2023-08-04T10:51:51.543" v="619" actId="34136"/>
          <ac:spMkLst>
            <pc:docMk/>
            <pc:sldMk cId="882461165" sldId="4875"/>
            <ac:spMk id="14" creationId="{853D7E8C-0F49-43FB-EBF5-00777FE60A2D}"/>
          </ac:spMkLst>
        </pc:spChg>
        <pc:spChg chg="mod">
          <ac:chgData name="Swapnil Raichandani" userId="857b48b4-3170-4a46-9423-b0f8bf67f14a" providerId="ADAL" clId="{378B5EED-8B03-49EB-B2BD-E9726B866780}" dt="2023-08-04T10:51:51.543" v="619" actId="34136"/>
          <ac:spMkLst>
            <pc:docMk/>
            <pc:sldMk cId="882461165" sldId="4875"/>
            <ac:spMk id="21" creationId="{D46F03CB-1BE3-7EBE-FDED-827D3E4E287C}"/>
          </ac:spMkLst>
        </pc:spChg>
        <pc:spChg chg="mod">
          <ac:chgData name="Swapnil Raichandani" userId="857b48b4-3170-4a46-9423-b0f8bf67f14a" providerId="ADAL" clId="{378B5EED-8B03-49EB-B2BD-E9726B866780}" dt="2023-08-04T10:51:51.543" v="619" actId="34136"/>
          <ac:spMkLst>
            <pc:docMk/>
            <pc:sldMk cId="882461165" sldId="4875"/>
            <ac:spMk id="22" creationId="{46611C15-65B1-9E7E-6F9E-645F486C8B33}"/>
          </ac:spMkLst>
        </pc:spChg>
        <pc:spChg chg="mod">
          <ac:chgData name="Swapnil Raichandani" userId="857b48b4-3170-4a46-9423-b0f8bf67f14a" providerId="ADAL" clId="{378B5EED-8B03-49EB-B2BD-E9726B866780}" dt="2023-08-04T10:51:51.543" v="619" actId="34136"/>
          <ac:spMkLst>
            <pc:docMk/>
            <pc:sldMk cId="882461165" sldId="4875"/>
            <ac:spMk id="23" creationId="{522C664D-6A7F-FFFD-9F9C-D63E772A1673}"/>
          </ac:spMkLst>
        </pc:spChg>
        <pc:spChg chg="mod">
          <ac:chgData name="Swapnil Raichandani" userId="857b48b4-3170-4a46-9423-b0f8bf67f14a" providerId="ADAL" clId="{378B5EED-8B03-49EB-B2BD-E9726B866780}" dt="2023-08-04T10:51:51.543" v="619" actId="34136"/>
          <ac:spMkLst>
            <pc:docMk/>
            <pc:sldMk cId="882461165" sldId="4875"/>
            <ac:spMk id="24" creationId="{01DD7F3E-8061-FC7E-67BA-D19BCB0ED1C1}"/>
          </ac:spMkLst>
        </pc:spChg>
        <pc:spChg chg="mod">
          <ac:chgData name="Swapnil Raichandani" userId="857b48b4-3170-4a46-9423-b0f8bf67f14a" providerId="ADAL" clId="{378B5EED-8B03-49EB-B2BD-E9726B866780}" dt="2023-08-04T10:51:51.543" v="619" actId="34136"/>
          <ac:spMkLst>
            <pc:docMk/>
            <pc:sldMk cId="882461165" sldId="4875"/>
            <ac:spMk id="25" creationId="{DDEC3025-756C-C792-DB86-EFA4DD412DAD}"/>
          </ac:spMkLst>
        </pc:spChg>
        <pc:spChg chg="mod">
          <ac:chgData name="Swapnil Raichandani" userId="857b48b4-3170-4a46-9423-b0f8bf67f14a" providerId="ADAL" clId="{378B5EED-8B03-49EB-B2BD-E9726B866780}" dt="2023-08-04T10:51:51.543" v="619" actId="34136"/>
          <ac:spMkLst>
            <pc:docMk/>
            <pc:sldMk cId="882461165" sldId="4875"/>
            <ac:spMk id="26" creationId="{956275C4-D60F-DBAB-BB9E-62D69059E8D4}"/>
          </ac:spMkLst>
        </pc:spChg>
        <pc:spChg chg="mod">
          <ac:chgData name="Swapnil Raichandani" userId="857b48b4-3170-4a46-9423-b0f8bf67f14a" providerId="ADAL" clId="{378B5EED-8B03-49EB-B2BD-E9726B866780}" dt="2023-08-04T10:51:51.543" v="619" actId="34136"/>
          <ac:spMkLst>
            <pc:docMk/>
            <pc:sldMk cId="882461165" sldId="4875"/>
            <ac:spMk id="27" creationId="{5AFD4CED-5F6F-10AA-77F0-22C608CAE786}"/>
          </ac:spMkLst>
        </pc:spChg>
        <pc:spChg chg="mod">
          <ac:chgData name="Swapnil Raichandani" userId="857b48b4-3170-4a46-9423-b0f8bf67f14a" providerId="ADAL" clId="{378B5EED-8B03-49EB-B2BD-E9726B866780}" dt="2023-08-04T10:51:51.543" v="619" actId="34136"/>
          <ac:spMkLst>
            <pc:docMk/>
            <pc:sldMk cId="882461165" sldId="4875"/>
            <ac:spMk id="28" creationId="{CDF9EF26-15FC-900F-8914-35680349432C}"/>
          </ac:spMkLst>
        </pc:spChg>
        <pc:spChg chg="mod">
          <ac:chgData name="Swapnil Raichandani" userId="857b48b4-3170-4a46-9423-b0f8bf67f14a" providerId="ADAL" clId="{378B5EED-8B03-49EB-B2BD-E9726B866780}" dt="2023-08-04T10:51:51.543" v="619" actId="34136"/>
          <ac:spMkLst>
            <pc:docMk/>
            <pc:sldMk cId="882461165" sldId="4875"/>
            <ac:spMk id="29" creationId="{81AB7E57-1572-CF7A-FB59-A7FFE4925E56}"/>
          </ac:spMkLst>
        </pc:spChg>
        <pc:spChg chg="mod">
          <ac:chgData name="Swapnil Raichandani" userId="857b48b4-3170-4a46-9423-b0f8bf67f14a" providerId="ADAL" clId="{378B5EED-8B03-49EB-B2BD-E9726B866780}" dt="2023-08-04T10:51:51.543" v="619" actId="34136"/>
          <ac:spMkLst>
            <pc:docMk/>
            <pc:sldMk cId="882461165" sldId="4875"/>
            <ac:spMk id="30" creationId="{32E13E77-EC1B-3F08-8FDE-5E96A91E21B3}"/>
          </ac:spMkLst>
        </pc:spChg>
        <pc:spChg chg="mod">
          <ac:chgData name="Swapnil Raichandani" userId="857b48b4-3170-4a46-9423-b0f8bf67f14a" providerId="ADAL" clId="{378B5EED-8B03-49EB-B2BD-E9726B866780}" dt="2023-08-04T10:51:51.543" v="619" actId="34136"/>
          <ac:spMkLst>
            <pc:docMk/>
            <pc:sldMk cId="882461165" sldId="4875"/>
            <ac:spMk id="42" creationId="{5D3ED879-6787-0FEA-54D5-947727066A95}"/>
          </ac:spMkLst>
        </pc:spChg>
        <pc:spChg chg="mod">
          <ac:chgData name="Swapnil Raichandani" userId="857b48b4-3170-4a46-9423-b0f8bf67f14a" providerId="ADAL" clId="{378B5EED-8B03-49EB-B2BD-E9726B866780}" dt="2023-08-04T10:50:47.670" v="612" actId="571"/>
          <ac:spMkLst>
            <pc:docMk/>
            <pc:sldMk cId="882461165" sldId="4875"/>
            <ac:spMk id="43" creationId="{AC2F1C01-F97D-6F48-E62C-625F5C3E5ED1}"/>
          </ac:spMkLst>
        </pc:spChg>
        <pc:spChg chg="mod">
          <ac:chgData name="Swapnil Raichandani" userId="857b48b4-3170-4a46-9423-b0f8bf67f14a" providerId="ADAL" clId="{378B5EED-8B03-49EB-B2BD-E9726B866780}" dt="2023-08-04T10:50:47.670" v="612" actId="571"/>
          <ac:spMkLst>
            <pc:docMk/>
            <pc:sldMk cId="882461165" sldId="4875"/>
            <ac:spMk id="44" creationId="{8279789A-9F0C-C8C8-E816-76E091867AFD}"/>
          </ac:spMkLst>
        </pc:spChg>
        <pc:spChg chg="mod">
          <ac:chgData name="Swapnil Raichandani" userId="857b48b4-3170-4a46-9423-b0f8bf67f14a" providerId="ADAL" clId="{378B5EED-8B03-49EB-B2BD-E9726B866780}" dt="2023-08-04T10:50:47.670" v="612" actId="571"/>
          <ac:spMkLst>
            <pc:docMk/>
            <pc:sldMk cId="882461165" sldId="4875"/>
            <ac:spMk id="45" creationId="{12C592CC-D205-3B52-7241-F0AE4C4E0B3E}"/>
          </ac:spMkLst>
        </pc:spChg>
        <pc:spChg chg="mod">
          <ac:chgData name="Swapnil Raichandani" userId="857b48b4-3170-4a46-9423-b0f8bf67f14a" providerId="ADAL" clId="{378B5EED-8B03-49EB-B2BD-E9726B866780}" dt="2023-08-04T10:50:47.670" v="612" actId="571"/>
          <ac:spMkLst>
            <pc:docMk/>
            <pc:sldMk cId="882461165" sldId="4875"/>
            <ac:spMk id="46" creationId="{CD67AD24-0972-370D-5602-7C287D282002}"/>
          </ac:spMkLst>
        </pc:spChg>
        <pc:spChg chg="mod">
          <ac:chgData name="Swapnil Raichandani" userId="857b48b4-3170-4a46-9423-b0f8bf67f14a" providerId="ADAL" clId="{378B5EED-8B03-49EB-B2BD-E9726B866780}" dt="2023-08-04T10:50:47.670" v="612" actId="571"/>
          <ac:spMkLst>
            <pc:docMk/>
            <pc:sldMk cId="882461165" sldId="4875"/>
            <ac:spMk id="47" creationId="{02D8C2EE-5D59-33E9-1724-6ACF79F1FFF6}"/>
          </ac:spMkLst>
        </pc:spChg>
        <pc:spChg chg="mod">
          <ac:chgData name="Swapnil Raichandani" userId="857b48b4-3170-4a46-9423-b0f8bf67f14a" providerId="ADAL" clId="{378B5EED-8B03-49EB-B2BD-E9726B866780}" dt="2023-08-04T10:50:47.670" v="612" actId="571"/>
          <ac:spMkLst>
            <pc:docMk/>
            <pc:sldMk cId="882461165" sldId="4875"/>
            <ac:spMk id="48" creationId="{1E89C364-F048-FF9C-6140-E6E77A37DB0C}"/>
          </ac:spMkLst>
        </pc:spChg>
        <pc:spChg chg="mod">
          <ac:chgData name="Swapnil Raichandani" userId="857b48b4-3170-4a46-9423-b0f8bf67f14a" providerId="ADAL" clId="{378B5EED-8B03-49EB-B2BD-E9726B866780}" dt="2023-08-04T10:50:47.670" v="612" actId="571"/>
          <ac:spMkLst>
            <pc:docMk/>
            <pc:sldMk cId="882461165" sldId="4875"/>
            <ac:spMk id="49" creationId="{5120FC0A-A68C-0EDA-0931-D73F71FB3123}"/>
          </ac:spMkLst>
        </pc:spChg>
        <pc:spChg chg="mod">
          <ac:chgData name="Swapnil Raichandani" userId="857b48b4-3170-4a46-9423-b0f8bf67f14a" providerId="ADAL" clId="{378B5EED-8B03-49EB-B2BD-E9726B866780}" dt="2023-08-04T10:50:47.670" v="612" actId="571"/>
          <ac:spMkLst>
            <pc:docMk/>
            <pc:sldMk cId="882461165" sldId="4875"/>
            <ac:spMk id="50" creationId="{73E2DAAC-B0F2-349E-7116-50F9B6BB9A46}"/>
          </ac:spMkLst>
        </pc:spChg>
        <pc:spChg chg="mod">
          <ac:chgData name="Swapnil Raichandani" userId="857b48b4-3170-4a46-9423-b0f8bf67f14a" providerId="ADAL" clId="{378B5EED-8B03-49EB-B2BD-E9726B866780}" dt="2023-08-04T10:50:47.670" v="612" actId="571"/>
          <ac:spMkLst>
            <pc:docMk/>
            <pc:sldMk cId="882461165" sldId="4875"/>
            <ac:spMk id="51" creationId="{6564304E-10E9-696F-428F-FF97BA1FB661}"/>
          </ac:spMkLst>
        </pc:spChg>
        <pc:spChg chg="mod">
          <ac:chgData name="Swapnil Raichandani" userId="857b48b4-3170-4a46-9423-b0f8bf67f14a" providerId="ADAL" clId="{378B5EED-8B03-49EB-B2BD-E9726B866780}" dt="2023-08-04T10:50:47.670" v="612" actId="571"/>
          <ac:spMkLst>
            <pc:docMk/>
            <pc:sldMk cId="882461165" sldId="4875"/>
            <ac:spMk id="52" creationId="{4981BA6D-EC6F-279A-EAF6-045EA07FD0CF}"/>
          </ac:spMkLst>
        </pc:spChg>
        <pc:spChg chg="mod">
          <ac:chgData name="Swapnil Raichandani" userId="857b48b4-3170-4a46-9423-b0f8bf67f14a" providerId="ADAL" clId="{378B5EED-8B03-49EB-B2BD-E9726B866780}" dt="2023-08-04T10:50:47.670" v="612" actId="571"/>
          <ac:spMkLst>
            <pc:docMk/>
            <pc:sldMk cId="882461165" sldId="4875"/>
            <ac:spMk id="59" creationId="{002558AE-A4A0-3FBB-122B-D0C4CCEAF81F}"/>
          </ac:spMkLst>
        </pc:spChg>
        <pc:spChg chg="mod">
          <ac:chgData name="Swapnil Raichandani" userId="857b48b4-3170-4a46-9423-b0f8bf67f14a" providerId="ADAL" clId="{378B5EED-8B03-49EB-B2BD-E9726B866780}" dt="2023-08-04T10:50:47.670" v="612" actId="571"/>
          <ac:spMkLst>
            <pc:docMk/>
            <pc:sldMk cId="882461165" sldId="4875"/>
            <ac:spMk id="60" creationId="{2C2B5366-555A-75C3-DB54-28D9A299528D}"/>
          </ac:spMkLst>
        </pc:spChg>
        <pc:spChg chg="mod">
          <ac:chgData name="Swapnil Raichandani" userId="857b48b4-3170-4a46-9423-b0f8bf67f14a" providerId="ADAL" clId="{378B5EED-8B03-49EB-B2BD-E9726B866780}" dt="2023-08-04T10:50:47.670" v="612" actId="571"/>
          <ac:spMkLst>
            <pc:docMk/>
            <pc:sldMk cId="882461165" sldId="4875"/>
            <ac:spMk id="61" creationId="{A40F53A7-DABC-80FE-C915-92358BAE7B61}"/>
          </ac:spMkLst>
        </pc:spChg>
        <pc:spChg chg="mod">
          <ac:chgData name="Swapnil Raichandani" userId="857b48b4-3170-4a46-9423-b0f8bf67f14a" providerId="ADAL" clId="{378B5EED-8B03-49EB-B2BD-E9726B866780}" dt="2023-08-04T10:50:47.670" v="612" actId="571"/>
          <ac:spMkLst>
            <pc:docMk/>
            <pc:sldMk cId="882461165" sldId="4875"/>
            <ac:spMk id="62" creationId="{5A35CE60-3CDF-792A-E0D3-AF5A25481161}"/>
          </ac:spMkLst>
        </pc:spChg>
        <pc:spChg chg="mod">
          <ac:chgData name="Swapnil Raichandani" userId="857b48b4-3170-4a46-9423-b0f8bf67f14a" providerId="ADAL" clId="{378B5EED-8B03-49EB-B2BD-E9726B866780}" dt="2023-08-04T10:50:47.670" v="612" actId="571"/>
          <ac:spMkLst>
            <pc:docMk/>
            <pc:sldMk cId="882461165" sldId="4875"/>
            <ac:spMk id="63" creationId="{D2791CD7-77DE-80DB-AB2D-2F9F63E6F8E3}"/>
          </ac:spMkLst>
        </pc:spChg>
        <pc:spChg chg="mod">
          <ac:chgData name="Swapnil Raichandani" userId="857b48b4-3170-4a46-9423-b0f8bf67f14a" providerId="ADAL" clId="{378B5EED-8B03-49EB-B2BD-E9726B866780}" dt="2023-08-04T10:50:47.670" v="612" actId="571"/>
          <ac:spMkLst>
            <pc:docMk/>
            <pc:sldMk cId="882461165" sldId="4875"/>
            <ac:spMk id="64" creationId="{FFEA7002-4EE8-677E-CE98-41DC6D8C9C1D}"/>
          </ac:spMkLst>
        </pc:spChg>
        <pc:spChg chg="mod">
          <ac:chgData name="Swapnil Raichandani" userId="857b48b4-3170-4a46-9423-b0f8bf67f14a" providerId="ADAL" clId="{378B5EED-8B03-49EB-B2BD-E9726B866780}" dt="2023-08-04T10:50:47.670" v="612" actId="571"/>
          <ac:spMkLst>
            <pc:docMk/>
            <pc:sldMk cId="882461165" sldId="4875"/>
            <ac:spMk id="65" creationId="{89773E89-A6A9-3700-98A5-D9AA2D946B03}"/>
          </ac:spMkLst>
        </pc:spChg>
        <pc:spChg chg="mod">
          <ac:chgData name="Swapnil Raichandani" userId="857b48b4-3170-4a46-9423-b0f8bf67f14a" providerId="ADAL" clId="{378B5EED-8B03-49EB-B2BD-E9726B866780}" dt="2023-08-04T10:50:47.670" v="612" actId="571"/>
          <ac:spMkLst>
            <pc:docMk/>
            <pc:sldMk cId="882461165" sldId="4875"/>
            <ac:spMk id="66" creationId="{FD14B33F-5A87-D4BE-7655-2AC5545C2733}"/>
          </ac:spMkLst>
        </pc:spChg>
        <pc:spChg chg="mod">
          <ac:chgData name="Swapnil Raichandani" userId="857b48b4-3170-4a46-9423-b0f8bf67f14a" providerId="ADAL" clId="{378B5EED-8B03-49EB-B2BD-E9726B866780}" dt="2023-08-04T10:50:47.670" v="612" actId="571"/>
          <ac:spMkLst>
            <pc:docMk/>
            <pc:sldMk cId="882461165" sldId="4875"/>
            <ac:spMk id="67" creationId="{04970526-3775-F384-D4B6-397F304122E6}"/>
          </ac:spMkLst>
        </pc:spChg>
        <pc:spChg chg="mod">
          <ac:chgData name="Swapnil Raichandani" userId="857b48b4-3170-4a46-9423-b0f8bf67f14a" providerId="ADAL" clId="{378B5EED-8B03-49EB-B2BD-E9726B866780}" dt="2023-08-04T10:50:47.670" v="612" actId="571"/>
          <ac:spMkLst>
            <pc:docMk/>
            <pc:sldMk cId="882461165" sldId="4875"/>
            <ac:spMk id="68" creationId="{CEA7EB76-3C21-553F-A10B-95F3A1DDAB0E}"/>
          </ac:spMkLst>
        </pc:spChg>
        <pc:spChg chg="add mod">
          <ac:chgData name="Swapnil Raichandani" userId="857b48b4-3170-4a46-9423-b0f8bf67f14a" providerId="ADAL" clId="{378B5EED-8B03-49EB-B2BD-E9726B866780}" dt="2023-08-04T10:50:47.670" v="612" actId="571"/>
          <ac:spMkLst>
            <pc:docMk/>
            <pc:sldMk cId="882461165" sldId="4875"/>
            <ac:spMk id="79" creationId="{52295450-68D0-3C14-8237-47CBC2F8A3FF}"/>
          </ac:spMkLst>
        </pc:spChg>
        <pc:spChg chg="mod">
          <ac:chgData name="Swapnil Raichandani" userId="857b48b4-3170-4a46-9423-b0f8bf67f14a" providerId="ADAL" clId="{378B5EED-8B03-49EB-B2BD-E9726B866780}" dt="2023-08-04T10:51:51.543" v="619" actId="34136"/>
          <ac:spMkLst>
            <pc:docMk/>
            <pc:sldMk cId="882461165" sldId="4875"/>
            <ac:spMk id="80" creationId="{8200E294-37F6-15AD-C5C3-956B8DCDC75D}"/>
          </ac:spMkLst>
        </pc:spChg>
        <pc:spChg chg="add mod">
          <ac:chgData name="Swapnil Raichandani" userId="857b48b4-3170-4a46-9423-b0f8bf67f14a" providerId="ADAL" clId="{378B5EED-8B03-49EB-B2BD-E9726B866780}" dt="2023-08-04T10:50:47.670" v="612" actId="571"/>
          <ac:spMkLst>
            <pc:docMk/>
            <pc:sldMk cId="882461165" sldId="4875"/>
            <ac:spMk id="81" creationId="{81897446-F37B-2FC4-00BB-72A3AEC24704}"/>
          </ac:spMkLst>
        </pc:spChg>
        <pc:spChg chg="add mod">
          <ac:chgData name="Swapnil Raichandani" userId="857b48b4-3170-4a46-9423-b0f8bf67f14a" providerId="ADAL" clId="{378B5EED-8B03-49EB-B2BD-E9726B866780}" dt="2023-08-04T10:50:47.670" v="612" actId="571"/>
          <ac:spMkLst>
            <pc:docMk/>
            <pc:sldMk cId="882461165" sldId="4875"/>
            <ac:spMk id="82" creationId="{19AE4DF1-84AC-7F89-ADCB-6EE15EC2F6E2}"/>
          </ac:spMkLst>
        </pc:spChg>
        <pc:spChg chg="mod">
          <ac:chgData name="Swapnil Raichandani" userId="857b48b4-3170-4a46-9423-b0f8bf67f14a" providerId="ADAL" clId="{378B5EED-8B03-49EB-B2BD-E9726B866780}" dt="2023-08-04T10:51:51.543" v="619" actId="34136"/>
          <ac:spMkLst>
            <pc:docMk/>
            <pc:sldMk cId="882461165" sldId="4875"/>
            <ac:spMk id="83" creationId="{683F0002-6C26-9E60-7A75-32AA016CB116}"/>
          </ac:spMkLst>
        </pc:spChg>
        <pc:spChg chg="mod">
          <ac:chgData name="Swapnil Raichandani" userId="857b48b4-3170-4a46-9423-b0f8bf67f14a" providerId="ADAL" clId="{378B5EED-8B03-49EB-B2BD-E9726B866780}" dt="2023-08-04T10:51:51.543" v="619" actId="34136"/>
          <ac:spMkLst>
            <pc:docMk/>
            <pc:sldMk cId="882461165" sldId="4875"/>
            <ac:spMk id="84" creationId="{C7004A99-37F9-9B61-CF8D-F6CFEA630F63}"/>
          </ac:spMkLst>
        </pc:spChg>
        <pc:spChg chg="mod">
          <ac:chgData name="Swapnil Raichandani" userId="857b48b4-3170-4a46-9423-b0f8bf67f14a" providerId="ADAL" clId="{378B5EED-8B03-49EB-B2BD-E9726B866780}" dt="2023-08-04T10:51:51.543" v="619" actId="34136"/>
          <ac:spMkLst>
            <pc:docMk/>
            <pc:sldMk cId="882461165" sldId="4875"/>
            <ac:spMk id="85" creationId="{6B15B512-24AD-678B-56CD-CECD02A9B8AF}"/>
          </ac:spMkLst>
        </pc:spChg>
        <pc:spChg chg="mod">
          <ac:chgData name="Swapnil Raichandani" userId="857b48b4-3170-4a46-9423-b0f8bf67f14a" providerId="ADAL" clId="{378B5EED-8B03-49EB-B2BD-E9726B866780}" dt="2023-08-04T10:51:51.543" v="619" actId="34136"/>
          <ac:spMkLst>
            <pc:docMk/>
            <pc:sldMk cId="882461165" sldId="4875"/>
            <ac:spMk id="86" creationId="{2F7268B2-BDF1-931E-EACA-288E6772E692}"/>
          </ac:spMkLst>
        </pc:spChg>
        <pc:spChg chg="mod">
          <ac:chgData name="Swapnil Raichandani" userId="857b48b4-3170-4a46-9423-b0f8bf67f14a" providerId="ADAL" clId="{378B5EED-8B03-49EB-B2BD-E9726B866780}" dt="2023-08-04T10:51:51.543" v="619" actId="34136"/>
          <ac:spMkLst>
            <pc:docMk/>
            <pc:sldMk cId="882461165" sldId="4875"/>
            <ac:spMk id="87" creationId="{C4547097-3EC6-AA4F-CB37-75EE3B6F06AD}"/>
          </ac:spMkLst>
        </pc:spChg>
        <pc:spChg chg="mod">
          <ac:chgData name="Swapnil Raichandani" userId="857b48b4-3170-4a46-9423-b0f8bf67f14a" providerId="ADAL" clId="{378B5EED-8B03-49EB-B2BD-E9726B866780}" dt="2023-08-04T10:51:51.543" v="619" actId="34136"/>
          <ac:spMkLst>
            <pc:docMk/>
            <pc:sldMk cId="882461165" sldId="4875"/>
            <ac:spMk id="88" creationId="{80E50863-5D99-0716-7C14-9842E80502C8}"/>
          </ac:spMkLst>
        </pc:spChg>
        <pc:spChg chg="mod">
          <ac:chgData name="Swapnil Raichandani" userId="857b48b4-3170-4a46-9423-b0f8bf67f14a" providerId="ADAL" clId="{378B5EED-8B03-49EB-B2BD-E9726B866780}" dt="2023-08-04T10:51:51.543" v="619" actId="34136"/>
          <ac:spMkLst>
            <pc:docMk/>
            <pc:sldMk cId="882461165" sldId="4875"/>
            <ac:spMk id="89" creationId="{EC3BC67E-0EB2-D89F-28A7-E43732719287}"/>
          </ac:spMkLst>
        </pc:spChg>
        <pc:spChg chg="mod">
          <ac:chgData name="Swapnil Raichandani" userId="857b48b4-3170-4a46-9423-b0f8bf67f14a" providerId="ADAL" clId="{378B5EED-8B03-49EB-B2BD-E9726B866780}" dt="2023-08-04T10:51:51.543" v="619" actId="34136"/>
          <ac:spMkLst>
            <pc:docMk/>
            <pc:sldMk cId="882461165" sldId="4875"/>
            <ac:spMk id="90" creationId="{8BC32EC1-3C5C-549B-672E-1B24B4702B1F}"/>
          </ac:spMkLst>
        </pc:spChg>
        <pc:spChg chg="add mod">
          <ac:chgData name="Swapnil Raichandani" userId="857b48b4-3170-4a46-9423-b0f8bf67f14a" providerId="ADAL" clId="{378B5EED-8B03-49EB-B2BD-E9726B866780}" dt="2023-08-04T10:50:47.670" v="612" actId="571"/>
          <ac:spMkLst>
            <pc:docMk/>
            <pc:sldMk cId="882461165" sldId="4875"/>
            <ac:spMk id="91" creationId="{120BDBDA-C4EF-EC9E-1FBE-493B5F379B1E}"/>
          </ac:spMkLst>
        </pc:spChg>
        <pc:spChg chg="mod">
          <ac:chgData name="Swapnil Raichandani" userId="857b48b4-3170-4a46-9423-b0f8bf67f14a" providerId="ADAL" clId="{378B5EED-8B03-49EB-B2BD-E9726B866780}" dt="2023-08-04T10:51:38.481" v="616" actId="1076"/>
          <ac:spMkLst>
            <pc:docMk/>
            <pc:sldMk cId="882461165" sldId="4875"/>
            <ac:spMk id="92" creationId="{3FF7FED1-5DA8-E1B3-AE69-C9CE67950A23}"/>
          </ac:spMkLst>
        </pc:spChg>
        <pc:spChg chg="add mod">
          <ac:chgData name="Swapnil Raichandani" userId="857b48b4-3170-4a46-9423-b0f8bf67f14a" providerId="ADAL" clId="{378B5EED-8B03-49EB-B2BD-E9726B866780}" dt="2023-08-04T10:50:47.670" v="612" actId="571"/>
          <ac:spMkLst>
            <pc:docMk/>
            <pc:sldMk cId="882461165" sldId="4875"/>
            <ac:spMk id="93" creationId="{E1B85524-3CF4-0E70-A328-CB733EB0108E}"/>
          </ac:spMkLst>
        </pc:spChg>
        <pc:grpChg chg="mod">
          <ac:chgData name="Swapnil Raichandani" userId="857b48b4-3170-4a46-9423-b0f8bf67f14a" providerId="ADAL" clId="{378B5EED-8B03-49EB-B2BD-E9726B866780}" dt="2023-08-04T10:51:51.543" v="619" actId="34136"/>
          <ac:grpSpMkLst>
            <pc:docMk/>
            <pc:sldMk cId="882461165" sldId="4875"/>
            <ac:grpSpMk id="4" creationId="{6FD5DC0E-D8E5-EE6D-9E21-63008ED29874}"/>
          </ac:grpSpMkLst>
        </pc:grpChg>
        <pc:grpChg chg="add mod">
          <ac:chgData name="Swapnil Raichandani" userId="857b48b4-3170-4a46-9423-b0f8bf67f14a" providerId="ADAL" clId="{378B5EED-8B03-49EB-B2BD-E9726B866780}" dt="2023-08-04T10:50:47.670" v="612" actId="571"/>
          <ac:grpSpMkLst>
            <pc:docMk/>
            <pc:sldMk cId="882461165" sldId="4875"/>
            <ac:grpSpMk id="41" creationId="{EE1EB530-FF29-E8F8-8D38-1F81ED94D079}"/>
          </ac:grpSpMkLst>
        </pc:grpChg>
        <pc:grpChg chg="add mod">
          <ac:chgData name="Swapnil Raichandani" userId="857b48b4-3170-4a46-9423-b0f8bf67f14a" providerId="ADAL" clId="{378B5EED-8B03-49EB-B2BD-E9726B866780}" dt="2023-08-04T10:51:51.543" v="619" actId="34136"/>
          <ac:grpSpMkLst>
            <pc:docMk/>
            <pc:sldMk cId="882461165" sldId="4875"/>
            <ac:grpSpMk id="94" creationId="{28E1DBBB-80A5-2722-42F5-6367AB596582}"/>
          </ac:grpSpMkLst>
        </pc:grpChg>
        <pc:cxnChg chg="mod">
          <ac:chgData name="Swapnil Raichandani" userId="857b48b4-3170-4a46-9423-b0f8bf67f14a" providerId="ADAL" clId="{378B5EED-8B03-49EB-B2BD-E9726B866780}" dt="2023-08-04T10:51:51.543" v="619" actId="34136"/>
          <ac:cxnSpMkLst>
            <pc:docMk/>
            <pc:sldMk cId="882461165" sldId="4875"/>
            <ac:cxnSpMk id="15" creationId="{C364F07C-F125-176E-0611-0BC48236AFC9}"/>
          </ac:cxnSpMkLst>
        </pc:cxnChg>
        <pc:cxnChg chg="mod">
          <ac:chgData name="Swapnil Raichandani" userId="857b48b4-3170-4a46-9423-b0f8bf67f14a" providerId="ADAL" clId="{378B5EED-8B03-49EB-B2BD-E9726B866780}" dt="2023-08-04T10:51:51.543" v="619" actId="34136"/>
          <ac:cxnSpMkLst>
            <pc:docMk/>
            <pc:sldMk cId="882461165" sldId="4875"/>
            <ac:cxnSpMk id="16" creationId="{A0C9B6C3-2397-ED30-1496-A6E5BD12940C}"/>
          </ac:cxnSpMkLst>
        </pc:cxnChg>
        <pc:cxnChg chg="mod">
          <ac:chgData name="Swapnil Raichandani" userId="857b48b4-3170-4a46-9423-b0f8bf67f14a" providerId="ADAL" clId="{378B5EED-8B03-49EB-B2BD-E9726B866780}" dt="2023-08-04T10:51:51.543" v="619" actId="34136"/>
          <ac:cxnSpMkLst>
            <pc:docMk/>
            <pc:sldMk cId="882461165" sldId="4875"/>
            <ac:cxnSpMk id="17" creationId="{896A0260-57E4-3521-79C7-384F9B8C9430}"/>
          </ac:cxnSpMkLst>
        </pc:cxnChg>
        <pc:cxnChg chg="mod">
          <ac:chgData name="Swapnil Raichandani" userId="857b48b4-3170-4a46-9423-b0f8bf67f14a" providerId="ADAL" clId="{378B5EED-8B03-49EB-B2BD-E9726B866780}" dt="2023-08-04T10:51:51.543" v="619" actId="34136"/>
          <ac:cxnSpMkLst>
            <pc:docMk/>
            <pc:sldMk cId="882461165" sldId="4875"/>
            <ac:cxnSpMk id="18" creationId="{F59FB0B3-7FD0-1F1F-D1B6-BFCDC98D1A4F}"/>
          </ac:cxnSpMkLst>
        </pc:cxnChg>
        <pc:cxnChg chg="mod">
          <ac:chgData name="Swapnil Raichandani" userId="857b48b4-3170-4a46-9423-b0f8bf67f14a" providerId="ADAL" clId="{378B5EED-8B03-49EB-B2BD-E9726B866780}" dt="2023-08-04T10:51:51.543" v="619" actId="34136"/>
          <ac:cxnSpMkLst>
            <pc:docMk/>
            <pc:sldMk cId="882461165" sldId="4875"/>
            <ac:cxnSpMk id="19" creationId="{B8BAABF6-C47B-903F-E33F-2D75A063B943}"/>
          </ac:cxnSpMkLst>
        </pc:cxnChg>
        <pc:cxnChg chg="mod">
          <ac:chgData name="Swapnil Raichandani" userId="857b48b4-3170-4a46-9423-b0f8bf67f14a" providerId="ADAL" clId="{378B5EED-8B03-49EB-B2BD-E9726B866780}" dt="2023-08-04T10:51:51.543" v="619" actId="34136"/>
          <ac:cxnSpMkLst>
            <pc:docMk/>
            <pc:sldMk cId="882461165" sldId="4875"/>
            <ac:cxnSpMk id="20" creationId="{08C855C8-682A-DEF3-7EFB-EE49F581BA59}"/>
          </ac:cxnSpMkLst>
        </pc:cxnChg>
        <pc:cxnChg chg="mod">
          <ac:chgData name="Swapnil Raichandani" userId="857b48b4-3170-4a46-9423-b0f8bf67f14a" providerId="ADAL" clId="{378B5EED-8B03-49EB-B2BD-E9726B866780}" dt="2023-08-04T10:51:51.543" v="619" actId="34136"/>
          <ac:cxnSpMkLst>
            <pc:docMk/>
            <pc:sldMk cId="882461165" sldId="4875"/>
            <ac:cxnSpMk id="31" creationId="{81591824-C55A-9BF2-5BFD-21F09768BD0B}"/>
          </ac:cxnSpMkLst>
        </pc:cxnChg>
        <pc:cxnChg chg="mod">
          <ac:chgData name="Swapnil Raichandani" userId="857b48b4-3170-4a46-9423-b0f8bf67f14a" providerId="ADAL" clId="{378B5EED-8B03-49EB-B2BD-E9726B866780}" dt="2023-08-04T10:51:51.543" v="619" actId="34136"/>
          <ac:cxnSpMkLst>
            <pc:docMk/>
            <pc:sldMk cId="882461165" sldId="4875"/>
            <ac:cxnSpMk id="32" creationId="{12E13083-ACA8-49A8-97F3-EAD898843FCF}"/>
          </ac:cxnSpMkLst>
        </pc:cxnChg>
        <pc:cxnChg chg="mod">
          <ac:chgData name="Swapnil Raichandani" userId="857b48b4-3170-4a46-9423-b0f8bf67f14a" providerId="ADAL" clId="{378B5EED-8B03-49EB-B2BD-E9726B866780}" dt="2023-08-04T10:51:51.543" v="619" actId="34136"/>
          <ac:cxnSpMkLst>
            <pc:docMk/>
            <pc:sldMk cId="882461165" sldId="4875"/>
            <ac:cxnSpMk id="33" creationId="{9A54911C-4A21-65FD-236C-E5EEF99D5856}"/>
          </ac:cxnSpMkLst>
        </pc:cxnChg>
        <pc:cxnChg chg="mod">
          <ac:chgData name="Swapnil Raichandani" userId="857b48b4-3170-4a46-9423-b0f8bf67f14a" providerId="ADAL" clId="{378B5EED-8B03-49EB-B2BD-E9726B866780}" dt="2023-08-04T10:51:51.543" v="619" actId="34136"/>
          <ac:cxnSpMkLst>
            <pc:docMk/>
            <pc:sldMk cId="882461165" sldId="4875"/>
            <ac:cxnSpMk id="34" creationId="{A8E6365F-F8CF-2A47-5CBF-43A2915B2CE4}"/>
          </ac:cxnSpMkLst>
        </pc:cxnChg>
        <pc:cxnChg chg="mod">
          <ac:chgData name="Swapnil Raichandani" userId="857b48b4-3170-4a46-9423-b0f8bf67f14a" providerId="ADAL" clId="{378B5EED-8B03-49EB-B2BD-E9726B866780}" dt="2023-08-04T10:51:51.543" v="619" actId="34136"/>
          <ac:cxnSpMkLst>
            <pc:docMk/>
            <pc:sldMk cId="882461165" sldId="4875"/>
            <ac:cxnSpMk id="35" creationId="{DE98A60C-337E-E9C4-8963-1F22E4DADED8}"/>
          </ac:cxnSpMkLst>
        </pc:cxnChg>
        <pc:cxnChg chg="mod">
          <ac:chgData name="Swapnil Raichandani" userId="857b48b4-3170-4a46-9423-b0f8bf67f14a" providerId="ADAL" clId="{378B5EED-8B03-49EB-B2BD-E9726B866780}" dt="2023-08-04T10:51:51.543" v="619" actId="34136"/>
          <ac:cxnSpMkLst>
            <pc:docMk/>
            <pc:sldMk cId="882461165" sldId="4875"/>
            <ac:cxnSpMk id="36" creationId="{4455A782-5E38-F28A-22F0-8D1FD02BDEC4}"/>
          </ac:cxnSpMkLst>
        </pc:cxnChg>
        <pc:cxnChg chg="mod">
          <ac:chgData name="Swapnil Raichandani" userId="857b48b4-3170-4a46-9423-b0f8bf67f14a" providerId="ADAL" clId="{378B5EED-8B03-49EB-B2BD-E9726B866780}" dt="2023-08-04T10:51:51.543" v="619" actId="34136"/>
          <ac:cxnSpMkLst>
            <pc:docMk/>
            <pc:sldMk cId="882461165" sldId="4875"/>
            <ac:cxnSpMk id="37" creationId="{F37E5C1C-C156-CA04-36C7-B6EB60F9DED3}"/>
          </ac:cxnSpMkLst>
        </pc:cxnChg>
        <pc:cxnChg chg="mod">
          <ac:chgData name="Swapnil Raichandani" userId="857b48b4-3170-4a46-9423-b0f8bf67f14a" providerId="ADAL" clId="{378B5EED-8B03-49EB-B2BD-E9726B866780}" dt="2023-08-04T10:51:51.543" v="619" actId="34136"/>
          <ac:cxnSpMkLst>
            <pc:docMk/>
            <pc:sldMk cId="882461165" sldId="4875"/>
            <ac:cxnSpMk id="38" creationId="{AB4FD9D7-E711-F5DD-1350-C2CEED3750B8}"/>
          </ac:cxnSpMkLst>
        </pc:cxnChg>
        <pc:cxnChg chg="mod">
          <ac:chgData name="Swapnil Raichandani" userId="857b48b4-3170-4a46-9423-b0f8bf67f14a" providerId="ADAL" clId="{378B5EED-8B03-49EB-B2BD-E9726B866780}" dt="2023-08-04T10:51:51.543" v="619" actId="34136"/>
          <ac:cxnSpMkLst>
            <pc:docMk/>
            <pc:sldMk cId="882461165" sldId="4875"/>
            <ac:cxnSpMk id="39" creationId="{48163891-96FE-8900-345E-BED168D30165}"/>
          </ac:cxnSpMkLst>
        </pc:cxnChg>
        <pc:cxnChg chg="mod">
          <ac:chgData name="Swapnil Raichandani" userId="857b48b4-3170-4a46-9423-b0f8bf67f14a" providerId="ADAL" clId="{378B5EED-8B03-49EB-B2BD-E9726B866780}" dt="2023-08-04T10:51:51.543" v="619" actId="34136"/>
          <ac:cxnSpMkLst>
            <pc:docMk/>
            <pc:sldMk cId="882461165" sldId="4875"/>
            <ac:cxnSpMk id="40" creationId="{7A51D8F4-26C8-D522-4D54-B710DBDEC11A}"/>
          </ac:cxnSpMkLst>
        </pc:cxnChg>
        <pc:cxnChg chg="mod">
          <ac:chgData name="Swapnil Raichandani" userId="857b48b4-3170-4a46-9423-b0f8bf67f14a" providerId="ADAL" clId="{378B5EED-8B03-49EB-B2BD-E9726B866780}" dt="2023-08-04T10:50:47.670" v="612" actId="571"/>
          <ac:cxnSpMkLst>
            <pc:docMk/>
            <pc:sldMk cId="882461165" sldId="4875"/>
            <ac:cxnSpMk id="53" creationId="{A98DE3FC-9AD4-9894-46EA-6AFE0261D123}"/>
          </ac:cxnSpMkLst>
        </pc:cxnChg>
        <pc:cxnChg chg="mod">
          <ac:chgData name="Swapnil Raichandani" userId="857b48b4-3170-4a46-9423-b0f8bf67f14a" providerId="ADAL" clId="{378B5EED-8B03-49EB-B2BD-E9726B866780}" dt="2023-08-04T10:50:47.670" v="612" actId="571"/>
          <ac:cxnSpMkLst>
            <pc:docMk/>
            <pc:sldMk cId="882461165" sldId="4875"/>
            <ac:cxnSpMk id="54" creationId="{97C5AF87-26C5-4C56-BE86-24EC1E8AF6E2}"/>
          </ac:cxnSpMkLst>
        </pc:cxnChg>
        <pc:cxnChg chg="mod">
          <ac:chgData name="Swapnil Raichandani" userId="857b48b4-3170-4a46-9423-b0f8bf67f14a" providerId="ADAL" clId="{378B5EED-8B03-49EB-B2BD-E9726B866780}" dt="2023-08-04T10:50:47.670" v="612" actId="571"/>
          <ac:cxnSpMkLst>
            <pc:docMk/>
            <pc:sldMk cId="882461165" sldId="4875"/>
            <ac:cxnSpMk id="55" creationId="{9BBB14B2-7A8A-CF4D-4D3E-341082B4F728}"/>
          </ac:cxnSpMkLst>
        </pc:cxnChg>
        <pc:cxnChg chg="mod">
          <ac:chgData name="Swapnil Raichandani" userId="857b48b4-3170-4a46-9423-b0f8bf67f14a" providerId="ADAL" clId="{378B5EED-8B03-49EB-B2BD-E9726B866780}" dt="2023-08-04T10:50:47.670" v="612" actId="571"/>
          <ac:cxnSpMkLst>
            <pc:docMk/>
            <pc:sldMk cId="882461165" sldId="4875"/>
            <ac:cxnSpMk id="56" creationId="{B4571068-F060-2A20-AB96-CD02D1EA45E7}"/>
          </ac:cxnSpMkLst>
        </pc:cxnChg>
        <pc:cxnChg chg="mod">
          <ac:chgData name="Swapnil Raichandani" userId="857b48b4-3170-4a46-9423-b0f8bf67f14a" providerId="ADAL" clId="{378B5EED-8B03-49EB-B2BD-E9726B866780}" dt="2023-08-04T10:50:47.670" v="612" actId="571"/>
          <ac:cxnSpMkLst>
            <pc:docMk/>
            <pc:sldMk cId="882461165" sldId="4875"/>
            <ac:cxnSpMk id="57" creationId="{E8245C50-7ECC-3DC6-AA74-5D1472F09FCF}"/>
          </ac:cxnSpMkLst>
        </pc:cxnChg>
        <pc:cxnChg chg="mod">
          <ac:chgData name="Swapnil Raichandani" userId="857b48b4-3170-4a46-9423-b0f8bf67f14a" providerId="ADAL" clId="{378B5EED-8B03-49EB-B2BD-E9726B866780}" dt="2023-08-04T10:50:47.670" v="612" actId="571"/>
          <ac:cxnSpMkLst>
            <pc:docMk/>
            <pc:sldMk cId="882461165" sldId="4875"/>
            <ac:cxnSpMk id="58" creationId="{C85D1808-387A-FC3A-0FE6-DA83B79653DB}"/>
          </ac:cxnSpMkLst>
        </pc:cxnChg>
        <pc:cxnChg chg="mod">
          <ac:chgData name="Swapnil Raichandani" userId="857b48b4-3170-4a46-9423-b0f8bf67f14a" providerId="ADAL" clId="{378B5EED-8B03-49EB-B2BD-E9726B866780}" dt="2023-08-04T10:50:47.670" v="612" actId="571"/>
          <ac:cxnSpMkLst>
            <pc:docMk/>
            <pc:sldMk cId="882461165" sldId="4875"/>
            <ac:cxnSpMk id="69" creationId="{EC5C302C-D3FF-F055-F56E-A772916DECCA}"/>
          </ac:cxnSpMkLst>
        </pc:cxnChg>
        <pc:cxnChg chg="mod">
          <ac:chgData name="Swapnil Raichandani" userId="857b48b4-3170-4a46-9423-b0f8bf67f14a" providerId="ADAL" clId="{378B5EED-8B03-49EB-B2BD-E9726B866780}" dt="2023-08-04T10:50:47.670" v="612" actId="571"/>
          <ac:cxnSpMkLst>
            <pc:docMk/>
            <pc:sldMk cId="882461165" sldId="4875"/>
            <ac:cxnSpMk id="70" creationId="{B74B2F67-3082-8105-EB00-F32BF2C9837A}"/>
          </ac:cxnSpMkLst>
        </pc:cxnChg>
        <pc:cxnChg chg="mod">
          <ac:chgData name="Swapnil Raichandani" userId="857b48b4-3170-4a46-9423-b0f8bf67f14a" providerId="ADAL" clId="{378B5EED-8B03-49EB-B2BD-E9726B866780}" dt="2023-08-04T10:50:47.670" v="612" actId="571"/>
          <ac:cxnSpMkLst>
            <pc:docMk/>
            <pc:sldMk cId="882461165" sldId="4875"/>
            <ac:cxnSpMk id="71" creationId="{589AA7A8-15F5-DD90-B364-3B3CFFD64AE3}"/>
          </ac:cxnSpMkLst>
        </pc:cxnChg>
        <pc:cxnChg chg="mod">
          <ac:chgData name="Swapnil Raichandani" userId="857b48b4-3170-4a46-9423-b0f8bf67f14a" providerId="ADAL" clId="{378B5EED-8B03-49EB-B2BD-E9726B866780}" dt="2023-08-04T10:50:47.670" v="612" actId="571"/>
          <ac:cxnSpMkLst>
            <pc:docMk/>
            <pc:sldMk cId="882461165" sldId="4875"/>
            <ac:cxnSpMk id="72" creationId="{00DD3CFE-0B9D-91AB-B92E-A3BEE109494B}"/>
          </ac:cxnSpMkLst>
        </pc:cxnChg>
        <pc:cxnChg chg="mod">
          <ac:chgData name="Swapnil Raichandani" userId="857b48b4-3170-4a46-9423-b0f8bf67f14a" providerId="ADAL" clId="{378B5EED-8B03-49EB-B2BD-E9726B866780}" dt="2023-08-04T10:50:47.670" v="612" actId="571"/>
          <ac:cxnSpMkLst>
            <pc:docMk/>
            <pc:sldMk cId="882461165" sldId="4875"/>
            <ac:cxnSpMk id="73" creationId="{84627143-C69E-C845-53F9-E2F3A91FC299}"/>
          </ac:cxnSpMkLst>
        </pc:cxnChg>
        <pc:cxnChg chg="mod">
          <ac:chgData name="Swapnil Raichandani" userId="857b48b4-3170-4a46-9423-b0f8bf67f14a" providerId="ADAL" clId="{378B5EED-8B03-49EB-B2BD-E9726B866780}" dt="2023-08-04T10:50:47.670" v="612" actId="571"/>
          <ac:cxnSpMkLst>
            <pc:docMk/>
            <pc:sldMk cId="882461165" sldId="4875"/>
            <ac:cxnSpMk id="74" creationId="{20724EBD-9A7F-DEFD-F53D-10A8BB50673F}"/>
          </ac:cxnSpMkLst>
        </pc:cxnChg>
        <pc:cxnChg chg="mod">
          <ac:chgData name="Swapnil Raichandani" userId="857b48b4-3170-4a46-9423-b0f8bf67f14a" providerId="ADAL" clId="{378B5EED-8B03-49EB-B2BD-E9726B866780}" dt="2023-08-04T10:50:47.670" v="612" actId="571"/>
          <ac:cxnSpMkLst>
            <pc:docMk/>
            <pc:sldMk cId="882461165" sldId="4875"/>
            <ac:cxnSpMk id="75" creationId="{D520C59F-B966-4785-BD41-96CFD240B895}"/>
          </ac:cxnSpMkLst>
        </pc:cxnChg>
        <pc:cxnChg chg="mod">
          <ac:chgData name="Swapnil Raichandani" userId="857b48b4-3170-4a46-9423-b0f8bf67f14a" providerId="ADAL" clId="{378B5EED-8B03-49EB-B2BD-E9726B866780}" dt="2023-08-04T10:50:47.670" v="612" actId="571"/>
          <ac:cxnSpMkLst>
            <pc:docMk/>
            <pc:sldMk cId="882461165" sldId="4875"/>
            <ac:cxnSpMk id="76" creationId="{A824B3B7-B09A-6C45-6DD3-B586F2F1BF76}"/>
          </ac:cxnSpMkLst>
        </pc:cxnChg>
        <pc:cxnChg chg="mod">
          <ac:chgData name="Swapnil Raichandani" userId="857b48b4-3170-4a46-9423-b0f8bf67f14a" providerId="ADAL" clId="{378B5EED-8B03-49EB-B2BD-E9726B866780}" dt="2023-08-04T10:50:47.670" v="612" actId="571"/>
          <ac:cxnSpMkLst>
            <pc:docMk/>
            <pc:sldMk cId="882461165" sldId="4875"/>
            <ac:cxnSpMk id="77" creationId="{C7E18BEF-FF23-8877-B310-E0E9E82899EE}"/>
          </ac:cxnSpMkLst>
        </pc:cxnChg>
        <pc:cxnChg chg="mod">
          <ac:chgData name="Swapnil Raichandani" userId="857b48b4-3170-4a46-9423-b0f8bf67f14a" providerId="ADAL" clId="{378B5EED-8B03-49EB-B2BD-E9726B866780}" dt="2023-08-04T10:50:47.670" v="612" actId="571"/>
          <ac:cxnSpMkLst>
            <pc:docMk/>
            <pc:sldMk cId="882461165" sldId="4875"/>
            <ac:cxnSpMk id="78" creationId="{4BE73C8D-7DD1-C440-3D5D-4D596BA13F39}"/>
          </ac:cxnSpMkLst>
        </pc:cxnChg>
      </pc:sldChg>
      <pc:sldChg chg="addSp delSp modSp new mod">
        <pc:chgData name="Swapnil Raichandani" userId="857b48b4-3170-4a46-9423-b0f8bf67f14a" providerId="ADAL" clId="{378B5EED-8B03-49EB-B2BD-E9726B866780}" dt="2023-08-04T11:21:17.852" v="935" actId="1035"/>
        <pc:sldMkLst>
          <pc:docMk/>
          <pc:sldMk cId="1999562739" sldId="4875"/>
        </pc:sldMkLst>
        <pc:spChg chg="del">
          <ac:chgData name="Swapnil Raichandani" userId="857b48b4-3170-4a46-9423-b0f8bf67f14a" providerId="ADAL" clId="{378B5EED-8B03-49EB-B2BD-E9726B866780}" dt="2023-08-04T10:59:14.117" v="643" actId="478"/>
          <ac:spMkLst>
            <pc:docMk/>
            <pc:sldMk cId="1999562739" sldId="4875"/>
            <ac:spMk id="2" creationId="{542EBE54-4EE9-7E9C-D5C8-18BAD3B0A35B}"/>
          </ac:spMkLst>
        </pc:spChg>
        <pc:spChg chg="add mod">
          <ac:chgData name="Swapnil Raichandani" userId="857b48b4-3170-4a46-9423-b0f8bf67f14a" providerId="ADAL" clId="{378B5EED-8B03-49EB-B2BD-E9726B866780}" dt="2023-08-04T11:16:51.255" v="858" actId="1076"/>
          <ac:spMkLst>
            <pc:docMk/>
            <pc:sldMk cId="1999562739" sldId="4875"/>
            <ac:spMk id="3" creationId="{03772FAE-C80E-F709-7327-A010FB14C5A3}"/>
          </ac:spMkLst>
        </pc:spChg>
        <pc:spChg chg="add del">
          <ac:chgData name="Swapnil Raichandani" userId="857b48b4-3170-4a46-9423-b0f8bf67f14a" providerId="ADAL" clId="{378B5EED-8B03-49EB-B2BD-E9726B866780}" dt="2023-08-04T10:59:17.233" v="645" actId="22"/>
          <ac:spMkLst>
            <pc:docMk/>
            <pc:sldMk cId="1999562739" sldId="4875"/>
            <ac:spMk id="5" creationId="{E88A6269-8FEE-CF57-485D-FDEA4D1C1169}"/>
          </ac:spMkLst>
        </pc:spChg>
        <pc:spChg chg="add del">
          <ac:chgData name="Swapnil Raichandani" userId="857b48b4-3170-4a46-9423-b0f8bf67f14a" providerId="ADAL" clId="{378B5EED-8B03-49EB-B2BD-E9726B866780}" dt="2023-08-04T10:59:28" v="649" actId="22"/>
          <ac:spMkLst>
            <pc:docMk/>
            <pc:sldMk cId="1999562739" sldId="4875"/>
            <ac:spMk id="7" creationId="{55776E38-7A5B-7E99-610D-3552A8F5B9C2}"/>
          </ac:spMkLst>
        </pc:spChg>
        <pc:spChg chg="add del">
          <ac:chgData name="Swapnil Raichandani" userId="857b48b4-3170-4a46-9423-b0f8bf67f14a" providerId="ADAL" clId="{378B5EED-8B03-49EB-B2BD-E9726B866780}" dt="2023-08-04T10:59:35.941" v="655" actId="478"/>
          <ac:spMkLst>
            <pc:docMk/>
            <pc:sldMk cId="1999562739" sldId="4875"/>
            <ac:spMk id="9" creationId="{15A23DEC-2AA0-8410-48BE-4543E48B3F79}"/>
          </ac:spMkLst>
        </pc:spChg>
        <pc:spChg chg="add del">
          <ac:chgData name="Swapnil Raichandani" userId="857b48b4-3170-4a46-9423-b0f8bf67f14a" providerId="ADAL" clId="{378B5EED-8B03-49EB-B2BD-E9726B866780}" dt="2023-08-04T10:59:52.424" v="657" actId="22"/>
          <ac:spMkLst>
            <pc:docMk/>
            <pc:sldMk cId="1999562739" sldId="4875"/>
            <ac:spMk id="11" creationId="{519316F9-95B3-13CA-99BD-89B1BAF5C81E}"/>
          </ac:spMkLst>
        </pc:spChg>
        <pc:spChg chg="add del">
          <ac:chgData name="Swapnil Raichandani" userId="857b48b4-3170-4a46-9423-b0f8bf67f14a" providerId="ADAL" clId="{378B5EED-8B03-49EB-B2BD-E9726B866780}" dt="2023-08-04T10:59:54.765" v="659" actId="478"/>
          <ac:spMkLst>
            <pc:docMk/>
            <pc:sldMk cId="1999562739" sldId="4875"/>
            <ac:spMk id="13" creationId="{36DBAF14-C35A-F0FC-B61B-5AD59ABD2061}"/>
          </ac:spMkLst>
        </pc:spChg>
        <pc:spChg chg="mod">
          <ac:chgData name="Swapnil Raichandani" userId="857b48b4-3170-4a46-9423-b0f8bf67f14a" providerId="ADAL" clId="{378B5EED-8B03-49EB-B2BD-E9726B866780}" dt="2023-08-04T11:00:19.010" v="660"/>
          <ac:spMkLst>
            <pc:docMk/>
            <pc:sldMk cId="1999562739" sldId="4875"/>
            <ac:spMk id="15" creationId="{ABD0DAAE-D373-DB35-370F-BD7DC508A855}"/>
          </ac:spMkLst>
        </pc:spChg>
        <pc:spChg chg="mod">
          <ac:chgData name="Swapnil Raichandani" userId="857b48b4-3170-4a46-9423-b0f8bf67f14a" providerId="ADAL" clId="{378B5EED-8B03-49EB-B2BD-E9726B866780}" dt="2023-08-04T11:00:19.010" v="660"/>
          <ac:spMkLst>
            <pc:docMk/>
            <pc:sldMk cId="1999562739" sldId="4875"/>
            <ac:spMk id="16" creationId="{C0510783-8DF9-6D9D-2457-67D80EF34F1E}"/>
          </ac:spMkLst>
        </pc:spChg>
        <pc:spChg chg="mod">
          <ac:chgData name="Swapnil Raichandani" userId="857b48b4-3170-4a46-9423-b0f8bf67f14a" providerId="ADAL" clId="{378B5EED-8B03-49EB-B2BD-E9726B866780}" dt="2023-08-04T11:00:19.010" v="660"/>
          <ac:spMkLst>
            <pc:docMk/>
            <pc:sldMk cId="1999562739" sldId="4875"/>
            <ac:spMk id="17" creationId="{A32AD065-7DF4-BCD3-DD7D-44A4F1E922E3}"/>
          </ac:spMkLst>
        </pc:spChg>
        <pc:spChg chg="mod">
          <ac:chgData name="Swapnil Raichandani" userId="857b48b4-3170-4a46-9423-b0f8bf67f14a" providerId="ADAL" clId="{378B5EED-8B03-49EB-B2BD-E9726B866780}" dt="2023-08-04T11:00:19.010" v="660"/>
          <ac:spMkLst>
            <pc:docMk/>
            <pc:sldMk cId="1999562739" sldId="4875"/>
            <ac:spMk id="18" creationId="{2DF3B7EF-F8E7-4AA7-C63C-47B96300C3ED}"/>
          </ac:spMkLst>
        </pc:spChg>
        <pc:spChg chg="mod">
          <ac:chgData name="Swapnil Raichandani" userId="857b48b4-3170-4a46-9423-b0f8bf67f14a" providerId="ADAL" clId="{378B5EED-8B03-49EB-B2BD-E9726B866780}" dt="2023-08-04T11:00:19.010" v="660"/>
          <ac:spMkLst>
            <pc:docMk/>
            <pc:sldMk cId="1999562739" sldId="4875"/>
            <ac:spMk id="19" creationId="{E101B4EB-EE9A-554C-DF65-51C765003A13}"/>
          </ac:spMkLst>
        </pc:spChg>
        <pc:spChg chg="mod">
          <ac:chgData name="Swapnil Raichandani" userId="857b48b4-3170-4a46-9423-b0f8bf67f14a" providerId="ADAL" clId="{378B5EED-8B03-49EB-B2BD-E9726B866780}" dt="2023-08-04T11:00:19.010" v="660"/>
          <ac:spMkLst>
            <pc:docMk/>
            <pc:sldMk cId="1999562739" sldId="4875"/>
            <ac:spMk id="20" creationId="{934821D6-167B-0947-E37A-B30A8080770D}"/>
          </ac:spMkLst>
        </pc:spChg>
        <pc:spChg chg="mod">
          <ac:chgData name="Swapnil Raichandani" userId="857b48b4-3170-4a46-9423-b0f8bf67f14a" providerId="ADAL" clId="{378B5EED-8B03-49EB-B2BD-E9726B866780}" dt="2023-08-04T11:00:19.010" v="660"/>
          <ac:spMkLst>
            <pc:docMk/>
            <pc:sldMk cId="1999562739" sldId="4875"/>
            <ac:spMk id="21" creationId="{02E63B0C-756C-3AB5-AFD2-56686AA57B1B}"/>
          </ac:spMkLst>
        </pc:spChg>
        <pc:spChg chg="mod">
          <ac:chgData name="Swapnil Raichandani" userId="857b48b4-3170-4a46-9423-b0f8bf67f14a" providerId="ADAL" clId="{378B5EED-8B03-49EB-B2BD-E9726B866780}" dt="2023-08-04T11:00:19.010" v="660"/>
          <ac:spMkLst>
            <pc:docMk/>
            <pc:sldMk cId="1999562739" sldId="4875"/>
            <ac:spMk id="22" creationId="{4125395D-96EB-6027-6BFB-B41C7722C084}"/>
          </ac:spMkLst>
        </pc:spChg>
        <pc:spChg chg="mod">
          <ac:chgData name="Swapnil Raichandani" userId="857b48b4-3170-4a46-9423-b0f8bf67f14a" providerId="ADAL" clId="{378B5EED-8B03-49EB-B2BD-E9726B866780}" dt="2023-08-04T11:00:19.010" v="660"/>
          <ac:spMkLst>
            <pc:docMk/>
            <pc:sldMk cId="1999562739" sldId="4875"/>
            <ac:spMk id="23" creationId="{C58748BB-5701-B505-367F-19419DCD15C6}"/>
          </ac:spMkLst>
        </pc:spChg>
        <pc:spChg chg="mod">
          <ac:chgData name="Swapnil Raichandani" userId="857b48b4-3170-4a46-9423-b0f8bf67f14a" providerId="ADAL" clId="{378B5EED-8B03-49EB-B2BD-E9726B866780}" dt="2023-08-04T11:00:19.010" v="660"/>
          <ac:spMkLst>
            <pc:docMk/>
            <pc:sldMk cId="1999562739" sldId="4875"/>
            <ac:spMk id="24" creationId="{34B400D9-9502-FDDF-1F3C-C3A2E08FB499}"/>
          </ac:spMkLst>
        </pc:spChg>
        <pc:spChg chg="mod">
          <ac:chgData name="Swapnil Raichandani" userId="857b48b4-3170-4a46-9423-b0f8bf67f14a" providerId="ADAL" clId="{378B5EED-8B03-49EB-B2BD-E9726B866780}" dt="2023-08-04T11:00:19.010" v="660"/>
          <ac:spMkLst>
            <pc:docMk/>
            <pc:sldMk cId="1999562739" sldId="4875"/>
            <ac:spMk id="25" creationId="{015CB89A-517C-5AAF-2668-FC0C3A32D65C}"/>
          </ac:spMkLst>
        </pc:spChg>
        <pc:spChg chg="mod">
          <ac:chgData name="Swapnil Raichandani" userId="857b48b4-3170-4a46-9423-b0f8bf67f14a" providerId="ADAL" clId="{378B5EED-8B03-49EB-B2BD-E9726B866780}" dt="2023-08-04T11:00:19.010" v="660"/>
          <ac:spMkLst>
            <pc:docMk/>
            <pc:sldMk cId="1999562739" sldId="4875"/>
            <ac:spMk id="26" creationId="{AACB1001-2EF0-8C36-7B2F-BB36CAAF8FF3}"/>
          </ac:spMkLst>
        </pc:spChg>
        <pc:spChg chg="mod">
          <ac:chgData name="Swapnil Raichandani" userId="857b48b4-3170-4a46-9423-b0f8bf67f14a" providerId="ADAL" clId="{378B5EED-8B03-49EB-B2BD-E9726B866780}" dt="2023-08-04T11:00:19.010" v="660"/>
          <ac:spMkLst>
            <pc:docMk/>
            <pc:sldMk cId="1999562739" sldId="4875"/>
            <ac:spMk id="27" creationId="{0DE11AF6-9D61-23EA-4761-4A1887C539AD}"/>
          </ac:spMkLst>
        </pc:spChg>
        <pc:spChg chg="mod">
          <ac:chgData name="Swapnil Raichandani" userId="857b48b4-3170-4a46-9423-b0f8bf67f14a" providerId="ADAL" clId="{378B5EED-8B03-49EB-B2BD-E9726B866780}" dt="2023-08-04T11:00:19.010" v="660"/>
          <ac:spMkLst>
            <pc:docMk/>
            <pc:sldMk cId="1999562739" sldId="4875"/>
            <ac:spMk id="28" creationId="{A260C461-C8AC-E7B8-6EF9-EE9DDA6833D4}"/>
          </ac:spMkLst>
        </pc:spChg>
        <pc:spChg chg="mod">
          <ac:chgData name="Swapnil Raichandani" userId="857b48b4-3170-4a46-9423-b0f8bf67f14a" providerId="ADAL" clId="{378B5EED-8B03-49EB-B2BD-E9726B866780}" dt="2023-08-04T11:00:19.010" v="660"/>
          <ac:spMkLst>
            <pc:docMk/>
            <pc:sldMk cId="1999562739" sldId="4875"/>
            <ac:spMk id="30" creationId="{BC788F95-4A85-9BB5-7DA7-31E2B8F18E35}"/>
          </ac:spMkLst>
        </pc:spChg>
        <pc:spChg chg="mod">
          <ac:chgData name="Swapnil Raichandani" userId="857b48b4-3170-4a46-9423-b0f8bf67f14a" providerId="ADAL" clId="{378B5EED-8B03-49EB-B2BD-E9726B866780}" dt="2023-08-04T11:00:19.010" v="660"/>
          <ac:spMkLst>
            <pc:docMk/>
            <pc:sldMk cId="1999562739" sldId="4875"/>
            <ac:spMk id="31" creationId="{50EBFD12-B175-BB6D-5A2D-8ECFD0215AAC}"/>
          </ac:spMkLst>
        </pc:spChg>
        <pc:spChg chg="mod">
          <ac:chgData name="Swapnil Raichandani" userId="857b48b4-3170-4a46-9423-b0f8bf67f14a" providerId="ADAL" clId="{378B5EED-8B03-49EB-B2BD-E9726B866780}" dt="2023-08-04T11:00:19.010" v="660"/>
          <ac:spMkLst>
            <pc:docMk/>
            <pc:sldMk cId="1999562739" sldId="4875"/>
            <ac:spMk id="32" creationId="{E66B649F-9EE3-296D-6A8A-8272E9EE604E}"/>
          </ac:spMkLst>
        </pc:spChg>
        <pc:spChg chg="mod">
          <ac:chgData name="Swapnil Raichandani" userId="857b48b4-3170-4a46-9423-b0f8bf67f14a" providerId="ADAL" clId="{378B5EED-8B03-49EB-B2BD-E9726B866780}" dt="2023-08-04T11:00:19.010" v="660"/>
          <ac:spMkLst>
            <pc:docMk/>
            <pc:sldMk cId="1999562739" sldId="4875"/>
            <ac:spMk id="33" creationId="{A153B04B-287A-8BED-BD84-10BEC91A71A3}"/>
          </ac:spMkLst>
        </pc:spChg>
        <pc:spChg chg="mod">
          <ac:chgData name="Swapnil Raichandani" userId="857b48b4-3170-4a46-9423-b0f8bf67f14a" providerId="ADAL" clId="{378B5EED-8B03-49EB-B2BD-E9726B866780}" dt="2023-08-04T11:00:19.010" v="660"/>
          <ac:spMkLst>
            <pc:docMk/>
            <pc:sldMk cId="1999562739" sldId="4875"/>
            <ac:spMk id="34" creationId="{0CE87878-229E-59CF-4A13-3607DD6909A2}"/>
          </ac:spMkLst>
        </pc:spChg>
        <pc:spChg chg="mod">
          <ac:chgData name="Swapnil Raichandani" userId="857b48b4-3170-4a46-9423-b0f8bf67f14a" providerId="ADAL" clId="{378B5EED-8B03-49EB-B2BD-E9726B866780}" dt="2023-08-04T11:00:19.010" v="660"/>
          <ac:spMkLst>
            <pc:docMk/>
            <pc:sldMk cId="1999562739" sldId="4875"/>
            <ac:spMk id="35" creationId="{39AA3413-C447-E47E-2F7E-8172D83481A9}"/>
          </ac:spMkLst>
        </pc:spChg>
        <pc:spChg chg="mod">
          <ac:chgData name="Swapnil Raichandani" userId="857b48b4-3170-4a46-9423-b0f8bf67f14a" providerId="ADAL" clId="{378B5EED-8B03-49EB-B2BD-E9726B866780}" dt="2023-08-04T11:00:19.010" v="660"/>
          <ac:spMkLst>
            <pc:docMk/>
            <pc:sldMk cId="1999562739" sldId="4875"/>
            <ac:spMk id="36" creationId="{B65910FC-DCD7-DC40-B68A-38AED3D22FDE}"/>
          </ac:spMkLst>
        </pc:spChg>
        <pc:spChg chg="mod">
          <ac:chgData name="Swapnil Raichandani" userId="857b48b4-3170-4a46-9423-b0f8bf67f14a" providerId="ADAL" clId="{378B5EED-8B03-49EB-B2BD-E9726B866780}" dt="2023-08-04T11:00:19.010" v="660"/>
          <ac:spMkLst>
            <pc:docMk/>
            <pc:sldMk cId="1999562739" sldId="4875"/>
            <ac:spMk id="37" creationId="{02299A31-2F43-BA65-8F24-57C963CB61C4}"/>
          </ac:spMkLst>
        </pc:spChg>
        <pc:spChg chg="mod">
          <ac:chgData name="Swapnil Raichandani" userId="857b48b4-3170-4a46-9423-b0f8bf67f14a" providerId="ADAL" clId="{378B5EED-8B03-49EB-B2BD-E9726B866780}" dt="2023-08-04T11:00:19.010" v="660"/>
          <ac:spMkLst>
            <pc:docMk/>
            <pc:sldMk cId="1999562739" sldId="4875"/>
            <ac:spMk id="38" creationId="{78277104-1265-4DE6-B0C3-7DBB0778A4E6}"/>
          </ac:spMkLst>
        </pc:spChg>
        <pc:spChg chg="mod">
          <ac:chgData name="Swapnil Raichandani" userId="857b48b4-3170-4a46-9423-b0f8bf67f14a" providerId="ADAL" clId="{378B5EED-8B03-49EB-B2BD-E9726B866780}" dt="2023-08-04T11:00:19.010" v="660"/>
          <ac:spMkLst>
            <pc:docMk/>
            <pc:sldMk cId="1999562739" sldId="4875"/>
            <ac:spMk id="39" creationId="{92AE2A69-EB71-21B4-4C98-9CA5DB213AC4}"/>
          </ac:spMkLst>
        </pc:spChg>
        <pc:spChg chg="mod">
          <ac:chgData name="Swapnil Raichandani" userId="857b48b4-3170-4a46-9423-b0f8bf67f14a" providerId="ADAL" clId="{378B5EED-8B03-49EB-B2BD-E9726B866780}" dt="2023-08-04T11:00:19.010" v="660"/>
          <ac:spMkLst>
            <pc:docMk/>
            <pc:sldMk cId="1999562739" sldId="4875"/>
            <ac:spMk id="40" creationId="{EB1CDF37-9FED-E888-037A-F598936BB868}"/>
          </ac:spMkLst>
        </pc:spChg>
        <pc:spChg chg="mod">
          <ac:chgData name="Swapnil Raichandani" userId="857b48b4-3170-4a46-9423-b0f8bf67f14a" providerId="ADAL" clId="{378B5EED-8B03-49EB-B2BD-E9726B866780}" dt="2023-08-04T11:00:19.010" v="660"/>
          <ac:spMkLst>
            <pc:docMk/>
            <pc:sldMk cId="1999562739" sldId="4875"/>
            <ac:spMk id="41" creationId="{5B6EFC09-D15C-D87C-B723-31FA48753E02}"/>
          </ac:spMkLst>
        </pc:spChg>
        <pc:spChg chg="mod">
          <ac:chgData name="Swapnil Raichandani" userId="857b48b4-3170-4a46-9423-b0f8bf67f14a" providerId="ADAL" clId="{378B5EED-8B03-49EB-B2BD-E9726B866780}" dt="2023-08-04T11:00:40.354" v="689" actId="1036"/>
          <ac:spMkLst>
            <pc:docMk/>
            <pc:sldMk cId="1999562739" sldId="4875"/>
            <ac:spMk id="47" creationId="{0C5DC7F9-E7B4-6B29-2898-A2C1E218FCA1}"/>
          </ac:spMkLst>
        </pc:spChg>
        <pc:spChg chg="mod">
          <ac:chgData name="Swapnil Raichandani" userId="857b48b4-3170-4a46-9423-b0f8bf67f14a" providerId="ADAL" clId="{378B5EED-8B03-49EB-B2BD-E9726B866780}" dt="2023-08-04T11:00:40.354" v="689" actId="1036"/>
          <ac:spMkLst>
            <pc:docMk/>
            <pc:sldMk cId="1999562739" sldId="4875"/>
            <ac:spMk id="48" creationId="{7006C45F-C093-B6F0-5E85-1EFBDA7531F0}"/>
          </ac:spMkLst>
        </pc:spChg>
        <pc:spChg chg="mod">
          <ac:chgData name="Swapnil Raichandani" userId="857b48b4-3170-4a46-9423-b0f8bf67f14a" providerId="ADAL" clId="{378B5EED-8B03-49EB-B2BD-E9726B866780}" dt="2023-08-04T11:00:40.354" v="689" actId="1036"/>
          <ac:spMkLst>
            <pc:docMk/>
            <pc:sldMk cId="1999562739" sldId="4875"/>
            <ac:spMk id="49" creationId="{AA74EC05-2408-2750-39C1-ECBA8CA13C7A}"/>
          </ac:spMkLst>
        </pc:spChg>
        <pc:spChg chg="mod">
          <ac:chgData name="Swapnil Raichandani" userId="857b48b4-3170-4a46-9423-b0f8bf67f14a" providerId="ADAL" clId="{378B5EED-8B03-49EB-B2BD-E9726B866780}" dt="2023-08-04T11:00:40.354" v="689" actId="1036"/>
          <ac:spMkLst>
            <pc:docMk/>
            <pc:sldMk cId="1999562739" sldId="4875"/>
            <ac:spMk id="50" creationId="{AF15739D-9205-DD8A-0B55-A5BFA841DE20}"/>
          </ac:spMkLst>
        </pc:spChg>
        <pc:spChg chg="mod">
          <ac:chgData name="Swapnil Raichandani" userId="857b48b4-3170-4a46-9423-b0f8bf67f14a" providerId="ADAL" clId="{378B5EED-8B03-49EB-B2BD-E9726B866780}" dt="2023-08-04T11:00:40.354" v="689" actId="1036"/>
          <ac:spMkLst>
            <pc:docMk/>
            <pc:sldMk cId="1999562739" sldId="4875"/>
            <ac:spMk id="51" creationId="{BAB6C83F-0B07-A1B9-6690-7B2AD9A5CE4D}"/>
          </ac:spMkLst>
        </pc:spChg>
        <pc:spChg chg="mod">
          <ac:chgData name="Swapnil Raichandani" userId="857b48b4-3170-4a46-9423-b0f8bf67f14a" providerId="ADAL" clId="{378B5EED-8B03-49EB-B2BD-E9726B866780}" dt="2023-08-04T11:00:40.354" v="689" actId="1036"/>
          <ac:spMkLst>
            <pc:docMk/>
            <pc:sldMk cId="1999562739" sldId="4875"/>
            <ac:spMk id="52" creationId="{E6E937BA-A62E-8E01-8A46-835CD79E9786}"/>
          </ac:spMkLst>
        </pc:spChg>
        <pc:spChg chg="mod">
          <ac:chgData name="Swapnil Raichandani" userId="857b48b4-3170-4a46-9423-b0f8bf67f14a" providerId="ADAL" clId="{378B5EED-8B03-49EB-B2BD-E9726B866780}" dt="2023-08-04T11:00:40.354" v="689" actId="1036"/>
          <ac:spMkLst>
            <pc:docMk/>
            <pc:sldMk cId="1999562739" sldId="4875"/>
            <ac:spMk id="53" creationId="{FFD508B2-1EDA-759E-4139-1F7D383A3A4E}"/>
          </ac:spMkLst>
        </pc:spChg>
        <pc:spChg chg="mod">
          <ac:chgData name="Swapnil Raichandani" userId="857b48b4-3170-4a46-9423-b0f8bf67f14a" providerId="ADAL" clId="{378B5EED-8B03-49EB-B2BD-E9726B866780}" dt="2023-08-04T11:00:40.354" v="689" actId="1036"/>
          <ac:spMkLst>
            <pc:docMk/>
            <pc:sldMk cId="1999562739" sldId="4875"/>
            <ac:spMk id="54" creationId="{46749593-7927-552C-F667-8B5A621AFD3B}"/>
          </ac:spMkLst>
        </pc:spChg>
        <pc:spChg chg="mod">
          <ac:chgData name="Swapnil Raichandani" userId="857b48b4-3170-4a46-9423-b0f8bf67f14a" providerId="ADAL" clId="{378B5EED-8B03-49EB-B2BD-E9726B866780}" dt="2023-08-04T11:00:40.354" v="689" actId="1036"/>
          <ac:spMkLst>
            <pc:docMk/>
            <pc:sldMk cId="1999562739" sldId="4875"/>
            <ac:spMk id="55" creationId="{477AD8E7-C6AE-A064-E15F-7DCB947DBFDF}"/>
          </ac:spMkLst>
        </pc:spChg>
        <pc:spChg chg="mod">
          <ac:chgData name="Swapnil Raichandani" userId="857b48b4-3170-4a46-9423-b0f8bf67f14a" providerId="ADAL" clId="{378B5EED-8B03-49EB-B2BD-E9726B866780}" dt="2023-08-04T11:00:40.354" v="689" actId="1036"/>
          <ac:spMkLst>
            <pc:docMk/>
            <pc:sldMk cId="1999562739" sldId="4875"/>
            <ac:spMk id="56" creationId="{5BC2DD8E-E5B2-691F-ADD9-DE5DBD9FC96E}"/>
          </ac:spMkLst>
        </pc:spChg>
        <pc:spChg chg="mod">
          <ac:chgData name="Swapnil Raichandani" userId="857b48b4-3170-4a46-9423-b0f8bf67f14a" providerId="ADAL" clId="{378B5EED-8B03-49EB-B2BD-E9726B866780}" dt="2023-08-04T11:00:40.354" v="689" actId="1036"/>
          <ac:spMkLst>
            <pc:docMk/>
            <pc:sldMk cId="1999562739" sldId="4875"/>
            <ac:spMk id="57" creationId="{ACBDC530-AC54-6E20-3BE2-CE7D58C676E0}"/>
          </ac:spMkLst>
        </pc:spChg>
        <pc:spChg chg="mod">
          <ac:chgData name="Swapnil Raichandani" userId="857b48b4-3170-4a46-9423-b0f8bf67f14a" providerId="ADAL" clId="{378B5EED-8B03-49EB-B2BD-E9726B866780}" dt="2023-08-04T11:00:40.354" v="689" actId="1036"/>
          <ac:spMkLst>
            <pc:docMk/>
            <pc:sldMk cId="1999562739" sldId="4875"/>
            <ac:spMk id="58" creationId="{605B02BA-5B18-08F7-E1EF-1A79FE1111F1}"/>
          </ac:spMkLst>
        </pc:spChg>
        <pc:spChg chg="mod">
          <ac:chgData name="Swapnil Raichandani" userId="857b48b4-3170-4a46-9423-b0f8bf67f14a" providerId="ADAL" clId="{378B5EED-8B03-49EB-B2BD-E9726B866780}" dt="2023-08-04T11:00:40.354" v="689" actId="1036"/>
          <ac:spMkLst>
            <pc:docMk/>
            <pc:sldMk cId="1999562739" sldId="4875"/>
            <ac:spMk id="59" creationId="{2FC0AD8C-6905-F3FF-200D-D36432237ED3}"/>
          </ac:spMkLst>
        </pc:spChg>
        <pc:spChg chg="mod">
          <ac:chgData name="Swapnil Raichandani" userId="857b48b4-3170-4a46-9423-b0f8bf67f14a" providerId="ADAL" clId="{378B5EED-8B03-49EB-B2BD-E9726B866780}" dt="2023-08-04T11:00:40.354" v="689" actId="1036"/>
          <ac:spMkLst>
            <pc:docMk/>
            <pc:sldMk cId="1999562739" sldId="4875"/>
            <ac:spMk id="60" creationId="{5ACC3577-89AC-71D9-3FE8-942D6210BD89}"/>
          </ac:spMkLst>
        </pc:spChg>
        <pc:spChg chg="mod">
          <ac:chgData name="Swapnil Raichandani" userId="857b48b4-3170-4a46-9423-b0f8bf67f14a" providerId="ADAL" clId="{378B5EED-8B03-49EB-B2BD-E9726B866780}" dt="2023-08-04T11:20:43.202" v="903" actId="478"/>
          <ac:spMkLst>
            <pc:docMk/>
            <pc:sldMk cId="1999562739" sldId="4875"/>
            <ac:spMk id="62" creationId="{D121D835-4742-FF86-D893-B1F342614BF8}"/>
          </ac:spMkLst>
        </pc:spChg>
        <pc:spChg chg="mod">
          <ac:chgData name="Swapnil Raichandani" userId="857b48b4-3170-4a46-9423-b0f8bf67f14a" providerId="ADAL" clId="{378B5EED-8B03-49EB-B2BD-E9726B866780}" dt="2023-08-04T11:20:43.202" v="903" actId="478"/>
          <ac:spMkLst>
            <pc:docMk/>
            <pc:sldMk cId="1999562739" sldId="4875"/>
            <ac:spMk id="63" creationId="{F340C46D-C3D1-7CF4-649C-69D5323EAE3B}"/>
          </ac:spMkLst>
        </pc:spChg>
        <pc:spChg chg="mod">
          <ac:chgData name="Swapnil Raichandani" userId="857b48b4-3170-4a46-9423-b0f8bf67f14a" providerId="ADAL" clId="{378B5EED-8B03-49EB-B2BD-E9726B866780}" dt="2023-08-04T11:20:43.202" v="903" actId="478"/>
          <ac:spMkLst>
            <pc:docMk/>
            <pc:sldMk cId="1999562739" sldId="4875"/>
            <ac:spMk id="64" creationId="{9D43B32B-C29F-6762-621D-B779DB6C0DFF}"/>
          </ac:spMkLst>
        </pc:spChg>
        <pc:spChg chg="mod">
          <ac:chgData name="Swapnil Raichandani" userId="857b48b4-3170-4a46-9423-b0f8bf67f14a" providerId="ADAL" clId="{378B5EED-8B03-49EB-B2BD-E9726B866780}" dt="2023-08-04T11:20:43.202" v="903" actId="478"/>
          <ac:spMkLst>
            <pc:docMk/>
            <pc:sldMk cId="1999562739" sldId="4875"/>
            <ac:spMk id="65" creationId="{F0E3DB03-36C2-2906-D354-24A06BADA69A}"/>
          </ac:spMkLst>
        </pc:spChg>
        <pc:spChg chg="mod">
          <ac:chgData name="Swapnil Raichandani" userId="857b48b4-3170-4a46-9423-b0f8bf67f14a" providerId="ADAL" clId="{378B5EED-8B03-49EB-B2BD-E9726B866780}" dt="2023-08-04T11:20:43.202" v="903" actId="478"/>
          <ac:spMkLst>
            <pc:docMk/>
            <pc:sldMk cId="1999562739" sldId="4875"/>
            <ac:spMk id="66" creationId="{F8697686-9B00-EA1D-0661-DC334A0149E0}"/>
          </ac:spMkLst>
        </pc:spChg>
        <pc:spChg chg="mod">
          <ac:chgData name="Swapnil Raichandani" userId="857b48b4-3170-4a46-9423-b0f8bf67f14a" providerId="ADAL" clId="{378B5EED-8B03-49EB-B2BD-E9726B866780}" dt="2023-08-04T11:20:43.202" v="903" actId="478"/>
          <ac:spMkLst>
            <pc:docMk/>
            <pc:sldMk cId="1999562739" sldId="4875"/>
            <ac:spMk id="67" creationId="{E144F5B9-CE10-4812-3F9C-2DDC786842CD}"/>
          </ac:spMkLst>
        </pc:spChg>
        <pc:spChg chg="mod">
          <ac:chgData name="Swapnil Raichandani" userId="857b48b4-3170-4a46-9423-b0f8bf67f14a" providerId="ADAL" clId="{378B5EED-8B03-49EB-B2BD-E9726B866780}" dt="2023-08-04T11:20:43.202" v="903" actId="478"/>
          <ac:spMkLst>
            <pc:docMk/>
            <pc:sldMk cId="1999562739" sldId="4875"/>
            <ac:spMk id="68" creationId="{FBD1109F-F975-D807-C6CA-CEC1D0574991}"/>
          </ac:spMkLst>
        </pc:spChg>
        <pc:spChg chg="mod">
          <ac:chgData name="Swapnil Raichandani" userId="857b48b4-3170-4a46-9423-b0f8bf67f14a" providerId="ADAL" clId="{378B5EED-8B03-49EB-B2BD-E9726B866780}" dt="2023-08-04T11:20:43.202" v="903" actId="478"/>
          <ac:spMkLst>
            <pc:docMk/>
            <pc:sldMk cId="1999562739" sldId="4875"/>
            <ac:spMk id="69" creationId="{595CB7E4-077C-0BC2-31A4-68228BB101C9}"/>
          </ac:spMkLst>
        </pc:spChg>
        <pc:spChg chg="mod">
          <ac:chgData name="Swapnil Raichandani" userId="857b48b4-3170-4a46-9423-b0f8bf67f14a" providerId="ADAL" clId="{378B5EED-8B03-49EB-B2BD-E9726B866780}" dt="2023-08-04T11:20:43.202" v="903" actId="478"/>
          <ac:spMkLst>
            <pc:docMk/>
            <pc:sldMk cId="1999562739" sldId="4875"/>
            <ac:spMk id="70" creationId="{FA571EFA-F67C-CC5D-73CB-AC63858168B2}"/>
          </ac:spMkLst>
        </pc:spChg>
        <pc:spChg chg="mod">
          <ac:chgData name="Swapnil Raichandani" userId="857b48b4-3170-4a46-9423-b0f8bf67f14a" providerId="ADAL" clId="{378B5EED-8B03-49EB-B2BD-E9726B866780}" dt="2023-08-04T11:20:43.202" v="903" actId="478"/>
          <ac:spMkLst>
            <pc:docMk/>
            <pc:sldMk cId="1999562739" sldId="4875"/>
            <ac:spMk id="71" creationId="{295DACCB-3C49-D3F5-1CDE-3960B02F4F0D}"/>
          </ac:spMkLst>
        </pc:spChg>
        <pc:spChg chg="mod">
          <ac:chgData name="Swapnil Raichandani" userId="857b48b4-3170-4a46-9423-b0f8bf67f14a" providerId="ADAL" clId="{378B5EED-8B03-49EB-B2BD-E9726B866780}" dt="2023-08-04T11:20:43.202" v="903" actId="478"/>
          <ac:spMkLst>
            <pc:docMk/>
            <pc:sldMk cId="1999562739" sldId="4875"/>
            <ac:spMk id="72" creationId="{5BA36870-BFF0-D426-5EEA-58188122E812}"/>
          </ac:spMkLst>
        </pc:spChg>
        <pc:spChg chg="mod">
          <ac:chgData name="Swapnil Raichandani" userId="857b48b4-3170-4a46-9423-b0f8bf67f14a" providerId="ADAL" clId="{378B5EED-8B03-49EB-B2BD-E9726B866780}" dt="2023-08-04T11:20:43.202" v="903" actId="478"/>
          <ac:spMkLst>
            <pc:docMk/>
            <pc:sldMk cId="1999562739" sldId="4875"/>
            <ac:spMk id="73" creationId="{468092A0-663B-5525-2A45-22D1DAA95F76}"/>
          </ac:spMkLst>
        </pc:spChg>
        <pc:spChg chg="add del">
          <ac:chgData name="Swapnil Raichandani" userId="857b48b4-3170-4a46-9423-b0f8bf67f14a" providerId="ADAL" clId="{378B5EED-8B03-49EB-B2BD-E9726B866780}" dt="2023-08-04T11:05:45.014" v="739" actId="22"/>
          <ac:spMkLst>
            <pc:docMk/>
            <pc:sldMk cId="1999562739" sldId="4875"/>
            <ac:spMk id="79" creationId="{A370A351-F204-BD41-803D-D8D624576BAC}"/>
          </ac:spMkLst>
        </pc:spChg>
        <pc:spChg chg="mod">
          <ac:chgData name="Swapnil Raichandani" userId="857b48b4-3170-4a46-9423-b0f8bf67f14a" providerId="ADAL" clId="{378B5EED-8B03-49EB-B2BD-E9726B866780}" dt="2023-08-04T11:20:08.744" v="890" actId="571"/>
          <ac:spMkLst>
            <pc:docMk/>
            <pc:sldMk cId="1999562739" sldId="4875"/>
            <ac:spMk id="81" creationId="{FB1DC152-204A-76DE-6921-B8CCCEDE14EF}"/>
          </ac:spMkLst>
        </pc:spChg>
        <pc:spChg chg="mod">
          <ac:chgData name="Swapnil Raichandani" userId="857b48b4-3170-4a46-9423-b0f8bf67f14a" providerId="ADAL" clId="{378B5EED-8B03-49EB-B2BD-E9726B866780}" dt="2023-08-04T11:20:08.744" v="890" actId="571"/>
          <ac:spMkLst>
            <pc:docMk/>
            <pc:sldMk cId="1999562739" sldId="4875"/>
            <ac:spMk id="82" creationId="{C6D9BC88-E1C0-AB6D-79A8-162CA8EBBB43}"/>
          </ac:spMkLst>
        </pc:spChg>
        <pc:spChg chg="mod">
          <ac:chgData name="Swapnil Raichandani" userId="857b48b4-3170-4a46-9423-b0f8bf67f14a" providerId="ADAL" clId="{378B5EED-8B03-49EB-B2BD-E9726B866780}" dt="2023-08-04T11:20:08.744" v="890" actId="571"/>
          <ac:spMkLst>
            <pc:docMk/>
            <pc:sldMk cId="1999562739" sldId="4875"/>
            <ac:spMk id="83" creationId="{531EAA3E-5C25-FEE6-9026-5F10FDDF7717}"/>
          </ac:spMkLst>
        </pc:spChg>
        <pc:spChg chg="mod">
          <ac:chgData name="Swapnil Raichandani" userId="857b48b4-3170-4a46-9423-b0f8bf67f14a" providerId="ADAL" clId="{378B5EED-8B03-49EB-B2BD-E9726B866780}" dt="2023-08-04T11:20:08.744" v="890" actId="571"/>
          <ac:spMkLst>
            <pc:docMk/>
            <pc:sldMk cId="1999562739" sldId="4875"/>
            <ac:spMk id="84" creationId="{2CAC6FDF-D325-3784-7698-5622C7F2FD4E}"/>
          </ac:spMkLst>
        </pc:spChg>
        <pc:spChg chg="mod">
          <ac:chgData name="Swapnil Raichandani" userId="857b48b4-3170-4a46-9423-b0f8bf67f14a" providerId="ADAL" clId="{378B5EED-8B03-49EB-B2BD-E9726B866780}" dt="2023-08-04T11:20:08.744" v="890" actId="571"/>
          <ac:spMkLst>
            <pc:docMk/>
            <pc:sldMk cId="1999562739" sldId="4875"/>
            <ac:spMk id="85" creationId="{2D0CF2DD-41F1-EAD1-E3C9-DAADC8373704}"/>
          </ac:spMkLst>
        </pc:spChg>
        <pc:spChg chg="mod">
          <ac:chgData name="Swapnil Raichandani" userId="857b48b4-3170-4a46-9423-b0f8bf67f14a" providerId="ADAL" clId="{378B5EED-8B03-49EB-B2BD-E9726B866780}" dt="2023-08-04T11:20:08.744" v="890" actId="571"/>
          <ac:spMkLst>
            <pc:docMk/>
            <pc:sldMk cId="1999562739" sldId="4875"/>
            <ac:spMk id="86" creationId="{16F8DEBD-28E0-37FD-D1DE-C94A06DB37EE}"/>
          </ac:spMkLst>
        </pc:spChg>
        <pc:spChg chg="mod">
          <ac:chgData name="Swapnil Raichandani" userId="857b48b4-3170-4a46-9423-b0f8bf67f14a" providerId="ADAL" clId="{378B5EED-8B03-49EB-B2BD-E9726B866780}" dt="2023-08-04T11:20:08.744" v="890" actId="571"/>
          <ac:spMkLst>
            <pc:docMk/>
            <pc:sldMk cId="1999562739" sldId="4875"/>
            <ac:spMk id="87" creationId="{E8719D11-104A-16AB-56A0-28D329A3FB39}"/>
          </ac:spMkLst>
        </pc:spChg>
        <pc:spChg chg="mod">
          <ac:chgData name="Swapnil Raichandani" userId="857b48b4-3170-4a46-9423-b0f8bf67f14a" providerId="ADAL" clId="{378B5EED-8B03-49EB-B2BD-E9726B866780}" dt="2023-08-04T11:20:08.744" v="890" actId="571"/>
          <ac:spMkLst>
            <pc:docMk/>
            <pc:sldMk cId="1999562739" sldId="4875"/>
            <ac:spMk id="88" creationId="{EC04357F-4068-1EA4-F935-7D96D17CD38E}"/>
          </ac:spMkLst>
        </pc:spChg>
        <pc:spChg chg="mod">
          <ac:chgData name="Swapnil Raichandani" userId="857b48b4-3170-4a46-9423-b0f8bf67f14a" providerId="ADAL" clId="{378B5EED-8B03-49EB-B2BD-E9726B866780}" dt="2023-08-04T11:20:08.744" v="890" actId="571"/>
          <ac:spMkLst>
            <pc:docMk/>
            <pc:sldMk cId="1999562739" sldId="4875"/>
            <ac:spMk id="89" creationId="{C47A2FFE-2262-2BA0-59A7-498CFC1B6060}"/>
          </ac:spMkLst>
        </pc:spChg>
        <pc:spChg chg="mod">
          <ac:chgData name="Swapnil Raichandani" userId="857b48b4-3170-4a46-9423-b0f8bf67f14a" providerId="ADAL" clId="{378B5EED-8B03-49EB-B2BD-E9726B866780}" dt="2023-08-04T11:20:08.744" v="890" actId="571"/>
          <ac:spMkLst>
            <pc:docMk/>
            <pc:sldMk cId="1999562739" sldId="4875"/>
            <ac:spMk id="90" creationId="{72377F8A-DD62-DA83-FC36-1460318BE599}"/>
          </ac:spMkLst>
        </pc:spChg>
        <pc:spChg chg="mod">
          <ac:chgData name="Swapnil Raichandani" userId="857b48b4-3170-4a46-9423-b0f8bf67f14a" providerId="ADAL" clId="{378B5EED-8B03-49EB-B2BD-E9726B866780}" dt="2023-08-04T11:20:08.744" v="890" actId="571"/>
          <ac:spMkLst>
            <pc:docMk/>
            <pc:sldMk cId="1999562739" sldId="4875"/>
            <ac:spMk id="91" creationId="{43B0B1E6-63FB-B49B-60FF-AF1A2DA7ECC0}"/>
          </ac:spMkLst>
        </pc:spChg>
        <pc:spChg chg="mod">
          <ac:chgData name="Swapnil Raichandani" userId="857b48b4-3170-4a46-9423-b0f8bf67f14a" providerId="ADAL" clId="{378B5EED-8B03-49EB-B2BD-E9726B866780}" dt="2023-08-04T11:20:08.744" v="890" actId="571"/>
          <ac:spMkLst>
            <pc:docMk/>
            <pc:sldMk cId="1999562739" sldId="4875"/>
            <ac:spMk id="92" creationId="{BE1267B8-A335-7D86-5F38-1D297B36BA82}"/>
          </ac:spMkLst>
        </pc:spChg>
        <pc:grpChg chg="add del mod">
          <ac:chgData name="Swapnil Raichandani" userId="857b48b4-3170-4a46-9423-b0f8bf67f14a" providerId="ADAL" clId="{378B5EED-8B03-49EB-B2BD-E9726B866780}" dt="2023-08-04T11:00:22.673" v="663"/>
          <ac:grpSpMkLst>
            <pc:docMk/>
            <pc:sldMk cId="1999562739" sldId="4875"/>
            <ac:grpSpMk id="14" creationId="{FDE95477-8FA8-C97B-2611-220B2E8AFDCB}"/>
          </ac:grpSpMkLst>
        </pc:grpChg>
        <pc:grpChg chg="add del mod">
          <ac:chgData name="Swapnil Raichandani" userId="857b48b4-3170-4a46-9423-b0f8bf67f14a" providerId="ADAL" clId="{378B5EED-8B03-49EB-B2BD-E9726B866780}" dt="2023-08-04T11:00:22.673" v="663"/>
          <ac:grpSpMkLst>
            <pc:docMk/>
            <pc:sldMk cId="1999562739" sldId="4875"/>
            <ac:grpSpMk id="29" creationId="{952E972C-6DEA-6642-D7E0-BEB0C6A5A440}"/>
          </ac:grpSpMkLst>
        </pc:grpChg>
        <pc:grpChg chg="add mod">
          <ac:chgData name="Swapnil Raichandani" userId="857b48b4-3170-4a46-9423-b0f8bf67f14a" providerId="ADAL" clId="{378B5EED-8B03-49EB-B2BD-E9726B866780}" dt="2023-08-04T11:21:17.852" v="935" actId="1035"/>
          <ac:grpSpMkLst>
            <pc:docMk/>
            <pc:sldMk cId="1999562739" sldId="4875"/>
            <ac:grpSpMk id="46" creationId="{7512ACA9-DCE6-B91B-A174-DD1B72BC2119}"/>
          </ac:grpSpMkLst>
        </pc:grpChg>
        <pc:grpChg chg="add del mod">
          <ac:chgData name="Swapnil Raichandani" userId="857b48b4-3170-4a46-9423-b0f8bf67f14a" providerId="ADAL" clId="{378B5EED-8B03-49EB-B2BD-E9726B866780}" dt="2023-08-04T11:20:43.202" v="903" actId="478"/>
          <ac:grpSpMkLst>
            <pc:docMk/>
            <pc:sldMk cId="1999562739" sldId="4875"/>
            <ac:grpSpMk id="61" creationId="{D04A08EC-45FE-E51E-26CD-9AE34D6BA09F}"/>
          </ac:grpSpMkLst>
        </pc:grpChg>
        <pc:grpChg chg="add mod">
          <ac:chgData name="Swapnil Raichandani" userId="857b48b4-3170-4a46-9423-b0f8bf67f14a" providerId="ADAL" clId="{378B5EED-8B03-49EB-B2BD-E9726B866780}" dt="2023-08-04T11:20:08.744" v="890" actId="571"/>
          <ac:grpSpMkLst>
            <pc:docMk/>
            <pc:sldMk cId="1999562739" sldId="4875"/>
            <ac:grpSpMk id="80" creationId="{F7633C00-FAFE-67DD-7610-AD06192ECE36}"/>
          </ac:grpSpMkLst>
        </pc:grpChg>
        <pc:picChg chg="mod">
          <ac:chgData name="Swapnil Raichandani" userId="857b48b4-3170-4a46-9423-b0f8bf67f14a" providerId="ADAL" clId="{378B5EED-8B03-49EB-B2BD-E9726B866780}" dt="2023-08-04T11:00:19.010" v="660"/>
          <ac:picMkLst>
            <pc:docMk/>
            <pc:sldMk cId="1999562739" sldId="4875"/>
            <ac:picMk id="42" creationId="{46AAE079-121E-AFA5-A277-A3F6103580FF}"/>
          </ac:picMkLst>
        </pc:picChg>
        <pc:picChg chg="mod">
          <ac:chgData name="Swapnil Raichandani" userId="857b48b4-3170-4a46-9423-b0f8bf67f14a" providerId="ADAL" clId="{378B5EED-8B03-49EB-B2BD-E9726B866780}" dt="2023-08-04T11:00:19.010" v="660"/>
          <ac:picMkLst>
            <pc:docMk/>
            <pc:sldMk cId="1999562739" sldId="4875"/>
            <ac:picMk id="43" creationId="{565A9A49-9927-DA9C-ED34-45A845F9C637}"/>
          </ac:picMkLst>
        </pc:picChg>
        <pc:picChg chg="mod">
          <ac:chgData name="Swapnil Raichandani" userId="857b48b4-3170-4a46-9423-b0f8bf67f14a" providerId="ADAL" clId="{378B5EED-8B03-49EB-B2BD-E9726B866780}" dt="2023-08-04T11:00:19.010" v="660"/>
          <ac:picMkLst>
            <pc:docMk/>
            <pc:sldMk cId="1999562739" sldId="4875"/>
            <ac:picMk id="44" creationId="{BDE9730D-9BE4-F5CC-9058-80CC18532697}"/>
          </ac:picMkLst>
        </pc:picChg>
        <pc:picChg chg="mod">
          <ac:chgData name="Swapnil Raichandani" userId="857b48b4-3170-4a46-9423-b0f8bf67f14a" providerId="ADAL" clId="{378B5EED-8B03-49EB-B2BD-E9726B866780}" dt="2023-08-04T11:00:19.010" v="660"/>
          <ac:picMkLst>
            <pc:docMk/>
            <pc:sldMk cId="1999562739" sldId="4875"/>
            <ac:picMk id="45" creationId="{415B1A84-E2BB-C5A2-2E8F-5425FDD0B603}"/>
          </ac:picMkLst>
        </pc:picChg>
        <pc:picChg chg="del mod">
          <ac:chgData name="Swapnil Raichandani" userId="857b48b4-3170-4a46-9423-b0f8bf67f14a" providerId="ADAL" clId="{378B5EED-8B03-49EB-B2BD-E9726B866780}" dt="2023-08-04T11:13:29.995" v="822" actId="478"/>
          <ac:picMkLst>
            <pc:docMk/>
            <pc:sldMk cId="1999562739" sldId="4875"/>
            <ac:picMk id="74" creationId="{8B717A9B-EFB0-AB8C-BD93-29B1E59B45D4}"/>
          </ac:picMkLst>
        </pc:picChg>
        <pc:picChg chg="mod">
          <ac:chgData name="Swapnil Raichandani" userId="857b48b4-3170-4a46-9423-b0f8bf67f14a" providerId="ADAL" clId="{378B5EED-8B03-49EB-B2BD-E9726B866780}" dt="2023-08-04T11:20:43.202" v="903" actId="478"/>
          <ac:picMkLst>
            <pc:docMk/>
            <pc:sldMk cId="1999562739" sldId="4875"/>
            <ac:picMk id="75" creationId="{F2946F78-89B6-D267-7735-AE6597F273AC}"/>
          </ac:picMkLst>
        </pc:picChg>
        <pc:picChg chg="del mod">
          <ac:chgData name="Swapnil Raichandani" userId="857b48b4-3170-4a46-9423-b0f8bf67f14a" providerId="ADAL" clId="{378B5EED-8B03-49EB-B2BD-E9726B866780}" dt="2023-08-04T11:18:41.605" v="874" actId="478"/>
          <ac:picMkLst>
            <pc:docMk/>
            <pc:sldMk cId="1999562739" sldId="4875"/>
            <ac:picMk id="76" creationId="{1EC17A3C-3846-614C-9E12-5A60192B6DDA}"/>
          </ac:picMkLst>
        </pc:picChg>
        <pc:picChg chg="del mod">
          <ac:chgData name="Swapnil Raichandani" userId="857b48b4-3170-4a46-9423-b0f8bf67f14a" providerId="ADAL" clId="{378B5EED-8B03-49EB-B2BD-E9726B866780}" dt="2023-08-04T11:20:43.202" v="903" actId="478"/>
          <ac:picMkLst>
            <pc:docMk/>
            <pc:sldMk cId="1999562739" sldId="4875"/>
            <ac:picMk id="77" creationId="{692A53B9-D1DE-D3A1-56DF-EECE6FFE2E98}"/>
          </ac:picMkLst>
        </pc:picChg>
        <pc:picChg chg="mod">
          <ac:chgData name="Swapnil Raichandani" userId="857b48b4-3170-4a46-9423-b0f8bf67f14a" providerId="ADAL" clId="{378B5EED-8B03-49EB-B2BD-E9726B866780}" dt="2023-08-04T11:20:08.744" v="890" actId="571"/>
          <ac:picMkLst>
            <pc:docMk/>
            <pc:sldMk cId="1999562739" sldId="4875"/>
            <ac:picMk id="93" creationId="{D1B24885-38D7-2BC1-2480-8F5FA34474DB}"/>
          </ac:picMkLst>
        </pc:picChg>
        <pc:picChg chg="mod">
          <ac:chgData name="Swapnil Raichandani" userId="857b48b4-3170-4a46-9423-b0f8bf67f14a" providerId="ADAL" clId="{378B5EED-8B03-49EB-B2BD-E9726B866780}" dt="2023-08-04T11:20:08.744" v="890" actId="571"/>
          <ac:picMkLst>
            <pc:docMk/>
            <pc:sldMk cId="1999562739" sldId="4875"/>
            <ac:picMk id="94" creationId="{533ACD14-735B-B14C-FED2-AF6A39D440C5}"/>
          </ac:picMkLst>
        </pc:picChg>
        <pc:picChg chg="add mod">
          <ac:chgData name="Swapnil Raichandani" userId="857b48b4-3170-4a46-9423-b0f8bf67f14a" providerId="ADAL" clId="{378B5EED-8B03-49EB-B2BD-E9726B866780}" dt="2023-08-04T11:20:08.744" v="890" actId="571"/>
          <ac:picMkLst>
            <pc:docMk/>
            <pc:sldMk cId="1999562739" sldId="4875"/>
            <ac:picMk id="95" creationId="{E0B77B1C-3EC5-0475-C6D9-243A7E45BBBA}"/>
          </ac:picMkLst>
        </pc:picChg>
        <pc:picChg chg="add mod">
          <ac:chgData name="Swapnil Raichandani" userId="857b48b4-3170-4a46-9423-b0f8bf67f14a" providerId="ADAL" clId="{378B5EED-8B03-49EB-B2BD-E9726B866780}" dt="2023-08-04T11:16:28.013" v="844" actId="14100"/>
          <ac:picMkLst>
            <pc:docMk/>
            <pc:sldMk cId="1999562739" sldId="4875"/>
            <ac:picMk id="1026" creationId="{6B6AA45F-7D0F-DB3C-5A11-E306CA3C618A}"/>
          </ac:picMkLst>
        </pc:picChg>
        <pc:picChg chg="add del">
          <ac:chgData name="Swapnil Raichandani" userId="857b48b4-3170-4a46-9423-b0f8bf67f14a" providerId="ADAL" clId="{378B5EED-8B03-49EB-B2BD-E9726B866780}" dt="2023-08-04T11:18:44.431" v="877"/>
          <ac:picMkLst>
            <pc:docMk/>
            <pc:sldMk cId="1999562739" sldId="4875"/>
            <ac:picMk id="1028" creationId="{259AACF0-7D37-A1BD-993D-8F00E4D7F4F0}"/>
          </ac:picMkLst>
        </pc:picChg>
        <pc:picChg chg="add mod">
          <ac:chgData name="Swapnil Raichandani" userId="857b48b4-3170-4a46-9423-b0f8bf67f14a" providerId="ADAL" clId="{378B5EED-8B03-49EB-B2BD-E9726B866780}" dt="2023-08-04T11:18:59.872" v="881" actId="1076"/>
          <ac:picMkLst>
            <pc:docMk/>
            <pc:sldMk cId="1999562739" sldId="4875"/>
            <ac:picMk id="1030" creationId="{6B0F0747-B0BC-CB90-901D-F08A502059D5}"/>
          </ac:picMkLst>
        </pc:picChg>
        <pc:picChg chg="add del mod">
          <ac:chgData name="Swapnil Raichandani" userId="857b48b4-3170-4a46-9423-b0f8bf67f14a" providerId="ADAL" clId="{378B5EED-8B03-49EB-B2BD-E9726B866780}" dt="2023-08-04T11:20:05.351" v="887"/>
          <ac:picMkLst>
            <pc:docMk/>
            <pc:sldMk cId="1999562739" sldId="4875"/>
            <ac:picMk id="1032" creationId="{B27B2FA3-2CCA-DF17-B014-678EDCDCBE74}"/>
          </ac:picMkLst>
        </pc:picChg>
        <pc:picChg chg="add del mod">
          <ac:chgData name="Swapnil Raichandani" userId="857b48b4-3170-4a46-9423-b0f8bf67f14a" providerId="ADAL" clId="{378B5EED-8B03-49EB-B2BD-E9726B866780}" dt="2023-08-04T11:20:14.169" v="895"/>
          <ac:picMkLst>
            <pc:docMk/>
            <pc:sldMk cId="1999562739" sldId="4875"/>
            <ac:picMk id="1034" creationId="{4D7163F1-DD5B-92BD-56B1-C71942D37222}"/>
          </ac:picMkLst>
        </pc:picChg>
        <pc:picChg chg="add mod">
          <ac:chgData name="Swapnil Raichandani" userId="857b48b4-3170-4a46-9423-b0f8bf67f14a" providerId="ADAL" clId="{378B5EED-8B03-49EB-B2BD-E9726B866780}" dt="2023-08-04T11:21:01.614" v="907" actId="1036"/>
          <ac:picMkLst>
            <pc:docMk/>
            <pc:sldMk cId="1999562739" sldId="4875"/>
            <ac:picMk id="1036" creationId="{0F8B7758-5A44-DD22-BA4D-EBAC3BF0913F}"/>
          </ac:picMkLst>
        </pc:picChg>
      </pc:sldChg>
      <pc:sldChg chg="addSp delSp modSp new mod">
        <pc:chgData name="Swapnil Raichandani" userId="857b48b4-3170-4a46-9423-b0f8bf67f14a" providerId="ADAL" clId="{378B5EED-8B03-49EB-B2BD-E9726B866780}" dt="2023-08-04T11:41:09.592" v="1149" actId="478"/>
        <pc:sldMkLst>
          <pc:docMk/>
          <pc:sldMk cId="2779596076" sldId="4876"/>
        </pc:sldMkLst>
        <pc:spChg chg="del">
          <ac:chgData name="Swapnil Raichandani" userId="857b48b4-3170-4a46-9423-b0f8bf67f14a" providerId="ADAL" clId="{378B5EED-8B03-49EB-B2BD-E9726B866780}" dt="2023-08-04T11:07:37.833" v="761" actId="478"/>
          <ac:spMkLst>
            <pc:docMk/>
            <pc:sldMk cId="2779596076" sldId="4876"/>
            <ac:spMk id="2" creationId="{A791E0C4-671B-FACE-53DB-649CBFA8BA24}"/>
          </ac:spMkLst>
        </pc:spChg>
        <pc:spChg chg="add mod">
          <ac:chgData name="Swapnil Raichandani" userId="857b48b4-3170-4a46-9423-b0f8bf67f14a" providerId="ADAL" clId="{378B5EED-8B03-49EB-B2BD-E9726B866780}" dt="2023-08-04T11:40:13.789" v="1122"/>
          <ac:spMkLst>
            <pc:docMk/>
            <pc:sldMk cId="2779596076" sldId="4876"/>
            <ac:spMk id="2" creationId="{DEF09EF4-86D6-9E03-B2A5-F97B5B5F14FD}"/>
          </ac:spMkLst>
        </pc:spChg>
        <pc:spChg chg="add del mod">
          <ac:chgData name="Swapnil Raichandani" userId="857b48b4-3170-4a46-9423-b0f8bf67f14a" providerId="ADAL" clId="{378B5EED-8B03-49EB-B2BD-E9726B866780}" dt="2023-08-04T11:07:43.215" v="767"/>
          <ac:spMkLst>
            <pc:docMk/>
            <pc:sldMk cId="2779596076" sldId="4876"/>
            <ac:spMk id="3" creationId="{2C422F8D-C56C-72F8-838A-30BE200C6160}"/>
          </ac:spMkLst>
        </pc:spChg>
        <pc:spChg chg="add del mod">
          <ac:chgData name="Swapnil Raichandani" userId="857b48b4-3170-4a46-9423-b0f8bf67f14a" providerId="ADAL" clId="{378B5EED-8B03-49EB-B2BD-E9726B866780}" dt="2023-08-04T11:07:43.215" v="767"/>
          <ac:spMkLst>
            <pc:docMk/>
            <pc:sldMk cId="2779596076" sldId="4876"/>
            <ac:spMk id="4" creationId="{6205BAF2-05F7-ED9F-63A0-DFA54042C61B}"/>
          </ac:spMkLst>
        </pc:spChg>
        <pc:spChg chg="mod">
          <ac:chgData name="Swapnil Raichandani" userId="857b48b4-3170-4a46-9423-b0f8bf67f14a" providerId="ADAL" clId="{378B5EED-8B03-49EB-B2BD-E9726B866780}" dt="2023-08-04T11:40:48.233" v="1135"/>
          <ac:spMkLst>
            <pc:docMk/>
            <pc:sldMk cId="2779596076" sldId="4876"/>
            <ac:spMk id="4" creationId="{D4AA148E-EA59-C63B-72F0-80813D90E482}"/>
          </ac:spMkLst>
        </pc:spChg>
        <pc:spChg chg="mod">
          <ac:chgData name="Swapnil Raichandani" userId="857b48b4-3170-4a46-9423-b0f8bf67f14a" providerId="ADAL" clId="{378B5EED-8B03-49EB-B2BD-E9726B866780}" dt="2023-08-04T11:40:48.233" v="1135"/>
          <ac:spMkLst>
            <pc:docMk/>
            <pc:sldMk cId="2779596076" sldId="4876"/>
            <ac:spMk id="5" creationId="{1BEB28DE-7623-3F6A-B9A2-26842BCD0A7C}"/>
          </ac:spMkLst>
        </pc:spChg>
        <pc:spChg chg="add del mod">
          <ac:chgData name="Swapnil Raichandani" userId="857b48b4-3170-4a46-9423-b0f8bf67f14a" providerId="ADAL" clId="{378B5EED-8B03-49EB-B2BD-E9726B866780}" dt="2023-08-04T11:07:43.215" v="767"/>
          <ac:spMkLst>
            <pc:docMk/>
            <pc:sldMk cId="2779596076" sldId="4876"/>
            <ac:spMk id="5" creationId="{FA148F87-827B-F91C-36B9-3D42F0495FAA}"/>
          </ac:spMkLst>
        </pc:spChg>
        <pc:spChg chg="mod">
          <ac:chgData name="Swapnil Raichandani" userId="857b48b4-3170-4a46-9423-b0f8bf67f14a" providerId="ADAL" clId="{378B5EED-8B03-49EB-B2BD-E9726B866780}" dt="2023-08-04T11:40:48.233" v="1135"/>
          <ac:spMkLst>
            <pc:docMk/>
            <pc:sldMk cId="2779596076" sldId="4876"/>
            <ac:spMk id="6" creationId="{1C01D2D2-C0F1-2009-4CCF-EB0AAA80E338}"/>
          </ac:spMkLst>
        </pc:spChg>
        <pc:spChg chg="add del mod">
          <ac:chgData name="Swapnil Raichandani" userId="857b48b4-3170-4a46-9423-b0f8bf67f14a" providerId="ADAL" clId="{378B5EED-8B03-49EB-B2BD-E9726B866780}" dt="2023-08-04T11:07:43.215" v="767"/>
          <ac:spMkLst>
            <pc:docMk/>
            <pc:sldMk cId="2779596076" sldId="4876"/>
            <ac:spMk id="6" creationId="{F26B3086-D8C6-ED3A-CD0D-64213FC397C2}"/>
          </ac:spMkLst>
        </pc:spChg>
        <pc:spChg chg="mod">
          <ac:chgData name="Swapnil Raichandani" userId="857b48b4-3170-4a46-9423-b0f8bf67f14a" providerId="ADAL" clId="{378B5EED-8B03-49EB-B2BD-E9726B866780}" dt="2023-08-04T11:40:48.233" v="1135"/>
          <ac:spMkLst>
            <pc:docMk/>
            <pc:sldMk cId="2779596076" sldId="4876"/>
            <ac:spMk id="7" creationId="{46DD24C3-408E-C9F0-9AFC-7C3911DA3CD2}"/>
          </ac:spMkLst>
        </pc:spChg>
        <pc:spChg chg="add del mod">
          <ac:chgData name="Swapnil Raichandani" userId="857b48b4-3170-4a46-9423-b0f8bf67f14a" providerId="ADAL" clId="{378B5EED-8B03-49EB-B2BD-E9726B866780}" dt="2023-08-04T11:07:43.215" v="767"/>
          <ac:spMkLst>
            <pc:docMk/>
            <pc:sldMk cId="2779596076" sldId="4876"/>
            <ac:spMk id="7" creationId="{E5EB746F-0F77-7D1A-4DAE-B32CDA4100D3}"/>
          </ac:spMkLst>
        </pc:spChg>
        <pc:spChg chg="add del mod">
          <ac:chgData name="Swapnil Raichandani" userId="857b48b4-3170-4a46-9423-b0f8bf67f14a" providerId="ADAL" clId="{378B5EED-8B03-49EB-B2BD-E9726B866780}" dt="2023-08-04T11:07:43.215" v="767"/>
          <ac:spMkLst>
            <pc:docMk/>
            <pc:sldMk cId="2779596076" sldId="4876"/>
            <ac:spMk id="8" creationId="{AAB2B061-0A1B-57C1-A364-F5030038A49E}"/>
          </ac:spMkLst>
        </pc:spChg>
        <pc:spChg chg="mod">
          <ac:chgData name="Swapnil Raichandani" userId="857b48b4-3170-4a46-9423-b0f8bf67f14a" providerId="ADAL" clId="{378B5EED-8B03-49EB-B2BD-E9726B866780}" dt="2023-08-04T11:40:48.233" v="1135"/>
          <ac:spMkLst>
            <pc:docMk/>
            <pc:sldMk cId="2779596076" sldId="4876"/>
            <ac:spMk id="8" creationId="{B717A2C3-0261-A1AB-7381-A0D5B00F46E6}"/>
          </ac:spMkLst>
        </pc:spChg>
        <pc:spChg chg="mod">
          <ac:chgData name="Swapnil Raichandani" userId="857b48b4-3170-4a46-9423-b0f8bf67f14a" providerId="ADAL" clId="{378B5EED-8B03-49EB-B2BD-E9726B866780}" dt="2023-08-04T11:40:48.233" v="1135"/>
          <ac:spMkLst>
            <pc:docMk/>
            <pc:sldMk cId="2779596076" sldId="4876"/>
            <ac:spMk id="9" creationId="{4871A131-E4A8-600D-0E65-40AB0F4B332D}"/>
          </ac:spMkLst>
        </pc:spChg>
        <pc:spChg chg="add del mod">
          <ac:chgData name="Swapnil Raichandani" userId="857b48b4-3170-4a46-9423-b0f8bf67f14a" providerId="ADAL" clId="{378B5EED-8B03-49EB-B2BD-E9726B866780}" dt="2023-08-04T11:07:43.215" v="767"/>
          <ac:spMkLst>
            <pc:docMk/>
            <pc:sldMk cId="2779596076" sldId="4876"/>
            <ac:spMk id="9" creationId="{FAA4DDE7-5BB2-5265-F750-35A3B5BC95E3}"/>
          </ac:spMkLst>
        </pc:spChg>
        <pc:spChg chg="mod">
          <ac:chgData name="Swapnil Raichandani" userId="857b48b4-3170-4a46-9423-b0f8bf67f14a" providerId="ADAL" clId="{378B5EED-8B03-49EB-B2BD-E9726B866780}" dt="2023-08-04T11:40:48.233" v="1135"/>
          <ac:spMkLst>
            <pc:docMk/>
            <pc:sldMk cId="2779596076" sldId="4876"/>
            <ac:spMk id="10" creationId="{A20977B4-6855-F320-0DB9-E398B5B69C99}"/>
          </ac:spMkLst>
        </pc:spChg>
        <pc:spChg chg="add del mod">
          <ac:chgData name="Swapnil Raichandani" userId="857b48b4-3170-4a46-9423-b0f8bf67f14a" providerId="ADAL" clId="{378B5EED-8B03-49EB-B2BD-E9726B866780}" dt="2023-08-04T11:07:43.215" v="767"/>
          <ac:spMkLst>
            <pc:docMk/>
            <pc:sldMk cId="2779596076" sldId="4876"/>
            <ac:spMk id="10" creationId="{CA1FC37C-3A25-6C20-F234-EB87D874E2A0}"/>
          </ac:spMkLst>
        </pc:spChg>
        <pc:spChg chg="add del mod">
          <ac:chgData name="Swapnil Raichandani" userId="857b48b4-3170-4a46-9423-b0f8bf67f14a" providerId="ADAL" clId="{378B5EED-8B03-49EB-B2BD-E9726B866780}" dt="2023-08-04T11:07:43.215" v="767"/>
          <ac:spMkLst>
            <pc:docMk/>
            <pc:sldMk cId="2779596076" sldId="4876"/>
            <ac:spMk id="11" creationId="{1A0C736F-94AA-4D27-5885-C4BFC73A68B0}"/>
          </ac:spMkLst>
        </pc:spChg>
        <pc:spChg chg="mod">
          <ac:chgData name="Swapnil Raichandani" userId="857b48b4-3170-4a46-9423-b0f8bf67f14a" providerId="ADAL" clId="{378B5EED-8B03-49EB-B2BD-E9726B866780}" dt="2023-08-04T11:40:48.233" v="1135"/>
          <ac:spMkLst>
            <pc:docMk/>
            <pc:sldMk cId="2779596076" sldId="4876"/>
            <ac:spMk id="11" creationId="{EDAE83E8-E4C7-4FB4-E562-5EAB92A3FA69}"/>
          </ac:spMkLst>
        </pc:spChg>
        <pc:spChg chg="mod">
          <ac:chgData name="Swapnil Raichandani" userId="857b48b4-3170-4a46-9423-b0f8bf67f14a" providerId="ADAL" clId="{378B5EED-8B03-49EB-B2BD-E9726B866780}" dt="2023-08-04T11:40:48.233" v="1135"/>
          <ac:spMkLst>
            <pc:docMk/>
            <pc:sldMk cId="2779596076" sldId="4876"/>
            <ac:spMk id="12" creationId="{083AD7EE-41A8-5D63-3BF9-290F7EBE5B63}"/>
          </ac:spMkLst>
        </pc:spChg>
        <pc:spChg chg="add del mod">
          <ac:chgData name="Swapnil Raichandani" userId="857b48b4-3170-4a46-9423-b0f8bf67f14a" providerId="ADAL" clId="{378B5EED-8B03-49EB-B2BD-E9726B866780}" dt="2023-08-04T11:07:43.215" v="767"/>
          <ac:spMkLst>
            <pc:docMk/>
            <pc:sldMk cId="2779596076" sldId="4876"/>
            <ac:spMk id="12" creationId="{2F612582-898F-FC18-9654-176868682139}"/>
          </ac:spMkLst>
        </pc:spChg>
        <pc:spChg chg="mod">
          <ac:chgData name="Swapnil Raichandani" userId="857b48b4-3170-4a46-9423-b0f8bf67f14a" providerId="ADAL" clId="{378B5EED-8B03-49EB-B2BD-E9726B866780}" dt="2023-08-04T11:40:48.233" v="1135"/>
          <ac:spMkLst>
            <pc:docMk/>
            <pc:sldMk cId="2779596076" sldId="4876"/>
            <ac:spMk id="13" creationId="{29D0CDDD-2877-5DF7-493F-529102733C42}"/>
          </ac:spMkLst>
        </pc:spChg>
        <pc:spChg chg="add del mod">
          <ac:chgData name="Swapnil Raichandani" userId="857b48b4-3170-4a46-9423-b0f8bf67f14a" providerId="ADAL" clId="{378B5EED-8B03-49EB-B2BD-E9726B866780}" dt="2023-08-04T11:07:43.215" v="767"/>
          <ac:spMkLst>
            <pc:docMk/>
            <pc:sldMk cId="2779596076" sldId="4876"/>
            <ac:spMk id="13" creationId="{F9BEB6B5-92CB-F143-B923-45515548E081}"/>
          </ac:spMkLst>
        </pc:spChg>
        <pc:spChg chg="mod">
          <ac:chgData name="Swapnil Raichandani" userId="857b48b4-3170-4a46-9423-b0f8bf67f14a" providerId="ADAL" clId="{378B5EED-8B03-49EB-B2BD-E9726B866780}" dt="2023-08-04T11:40:48.233" v="1135"/>
          <ac:spMkLst>
            <pc:docMk/>
            <pc:sldMk cId="2779596076" sldId="4876"/>
            <ac:spMk id="14" creationId="{BF2BBDAD-5AA7-02B9-3FC1-507739D9A654}"/>
          </ac:spMkLst>
        </pc:spChg>
        <pc:spChg chg="mod">
          <ac:chgData name="Swapnil Raichandani" userId="857b48b4-3170-4a46-9423-b0f8bf67f14a" providerId="ADAL" clId="{378B5EED-8B03-49EB-B2BD-E9726B866780}" dt="2023-08-04T11:07:38.865" v="762"/>
          <ac:spMkLst>
            <pc:docMk/>
            <pc:sldMk cId="2779596076" sldId="4876"/>
            <ac:spMk id="15" creationId="{1A771F55-A7D6-33A0-3F12-7406EC3DD56C}"/>
          </ac:spMkLst>
        </pc:spChg>
        <pc:spChg chg="mod">
          <ac:chgData name="Swapnil Raichandani" userId="857b48b4-3170-4a46-9423-b0f8bf67f14a" providerId="ADAL" clId="{378B5EED-8B03-49EB-B2BD-E9726B866780}" dt="2023-08-04T11:40:48.233" v="1135"/>
          <ac:spMkLst>
            <pc:docMk/>
            <pc:sldMk cId="2779596076" sldId="4876"/>
            <ac:spMk id="15" creationId="{36129F20-B384-F2F3-F660-1F942DA99F1A}"/>
          </ac:spMkLst>
        </pc:spChg>
        <pc:spChg chg="mod">
          <ac:chgData name="Swapnil Raichandani" userId="857b48b4-3170-4a46-9423-b0f8bf67f14a" providerId="ADAL" clId="{378B5EED-8B03-49EB-B2BD-E9726B866780}" dt="2023-08-04T11:40:48.233" v="1135"/>
          <ac:spMkLst>
            <pc:docMk/>
            <pc:sldMk cId="2779596076" sldId="4876"/>
            <ac:spMk id="16" creationId="{5BB78F81-B70F-6FA6-A8B4-37EA7CC04E5C}"/>
          </ac:spMkLst>
        </pc:spChg>
        <pc:spChg chg="mod">
          <ac:chgData name="Swapnil Raichandani" userId="857b48b4-3170-4a46-9423-b0f8bf67f14a" providerId="ADAL" clId="{378B5EED-8B03-49EB-B2BD-E9726B866780}" dt="2023-08-04T11:07:38.865" v="762"/>
          <ac:spMkLst>
            <pc:docMk/>
            <pc:sldMk cId="2779596076" sldId="4876"/>
            <ac:spMk id="16" creationId="{75320A04-B040-6396-82C2-0053DA43E4FA}"/>
          </ac:spMkLst>
        </pc:spChg>
        <pc:spChg chg="mod">
          <ac:chgData name="Swapnil Raichandani" userId="857b48b4-3170-4a46-9423-b0f8bf67f14a" providerId="ADAL" clId="{378B5EED-8B03-49EB-B2BD-E9726B866780}" dt="2023-08-04T11:07:38.865" v="762"/>
          <ac:spMkLst>
            <pc:docMk/>
            <pc:sldMk cId="2779596076" sldId="4876"/>
            <ac:spMk id="17" creationId="{5511B71D-1054-A0C9-ADD9-C1E6E1FDB639}"/>
          </ac:spMkLst>
        </pc:spChg>
        <pc:spChg chg="mod">
          <ac:chgData name="Swapnil Raichandani" userId="857b48b4-3170-4a46-9423-b0f8bf67f14a" providerId="ADAL" clId="{378B5EED-8B03-49EB-B2BD-E9726B866780}" dt="2023-08-04T11:40:48.233" v="1135"/>
          <ac:spMkLst>
            <pc:docMk/>
            <pc:sldMk cId="2779596076" sldId="4876"/>
            <ac:spMk id="17" creationId="{9530550F-61A7-01B6-0936-281A9B12AC4A}"/>
          </ac:spMkLst>
        </pc:spChg>
        <pc:spChg chg="mod">
          <ac:chgData name="Swapnil Raichandani" userId="857b48b4-3170-4a46-9423-b0f8bf67f14a" providerId="ADAL" clId="{378B5EED-8B03-49EB-B2BD-E9726B866780}" dt="2023-08-04T11:07:38.865" v="762"/>
          <ac:spMkLst>
            <pc:docMk/>
            <pc:sldMk cId="2779596076" sldId="4876"/>
            <ac:spMk id="18" creationId="{9F3922D5-7413-4D97-928E-C79AEC71C713}"/>
          </ac:spMkLst>
        </pc:spChg>
        <pc:spChg chg="mod">
          <ac:chgData name="Swapnil Raichandani" userId="857b48b4-3170-4a46-9423-b0f8bf67f14a" providerId="ADAL" clId="{378B5EED-8B03-49EB-B2BD-E9726B866780}" dt="2023-08-04T11:07:38.865" v="762"/>
          <ac:spMkLst>
            <pc:docMk/>
            <pc:sldMk cId="2779596076" sldId="4876"/>
            <ac:spMk id="19" creationId="{6E00BCBE-9C76-0E45-C8E1-E5147C202BE2}"/>
          </ac:spMkLst>
        </pc:spChg>
        <pc:spChg chg="mod">
          <ac:chgData name="Swapnil Raichandani" userId="857b48b4-3170-4a46-9423-b0f8bf67f14a" providerId="ADAL" clId="{378B5EED-8B03-49EB-B2BD-E9726B866780}" dt="2023-08-04T11:07:38.865" v="762"/>
          <ac:spMkLst>
            <pc:docMk/>
            <pc:sldMk cId="2779596076" sldId="4876"/>
            <ac:spMk id="20" creationId="{1D560B27-4F6F-CF2E-1B4B-E6892D34C5D4}"/>
          </ac:spMkLst>
        </pc:spChg>
        <pc:spChg chg="mod">
          <ac:chgData name="Swapnil Raichandani" userId="857b48b4-3170-4a46-9423-b0f8bf67f14a" providerId="ADAL" clId="{378B5EED-8B03-49EB-B2BD-E9726B866780}" dt="2023-08-04T11:07:38.865" v="762"/>
          <ac:spMkLst>
            <pc:docMk/>
            <pc:sldMk cId="2779596076" sldId="4876"/>
            <ac:spMk id="21" creationId="{9B9FA29A-0679-5E97-5407-0CD85F44DC9C}"/>
          </ac:spMkLst>
        </pc:spChg>
        <pc:spChg chg="mod">
          <ac:chgData name="Swapnil Raichandani" userId="857b48b4-3170-4a46-9423-b0f8bf67f14a" providerId="ADAL" clId="{378B5EED-8B03-49EB-B2BD-E9726B866780}" dt="2023-08-04T11:07:38.865" v="762"/>
          <ac:spMkLst>
            <pc:docMk/>
            <pc:sldMk cId="2779596076" sldId="4876"/>
            <ac:spMk id="22" creationId="{F4BBF7D2-FA18-A249-375C-560DF9A92DB2}"/>
          </ac:spMkLst>
        </pc:spChg>
        <pc:spChg chg="mod">
          <ac:chgData name="Swapnil Raichandani" userId="857b48b4-3170-4a46-9423-b0f8bf67f14a" providerId="ADAL" clId="{378B5EED-8B03-49EB-B2BD-E9726B866780}" dt="2023-08-04T11:07:38.865" v="762"/>
          <ac:spMkLst>
            <pc:docMk/>
            <pc:sldMk cId="2779596076" sldId="4876"/>
            <ac:spMk id="23" creationId="{BB6224D5-9F18-60B9-EE5F-F00A663B63EB}"/>
          </ac:spMkLst>
        </pc:spChg>
        <pc:spChg chg="mod">
          <ac:chgData name="Swapnil Raichandani" userId="857b48b4-3170-4a46-9423-b0f8bf67f14a" providerId="ADAL" clId="{378B5EED-8B03-49EB-B2BD-E9726B866780}" dt="2023-08-04T11:07:38.865" v="762"/>
          <ac:spMkLst>
            <pc:docMk/>
            <pc:sldMk cId="2779596076" sldId="4876"/>
            <ac:spMk id="24" creationId="{F95BFFC2-A08B-BC96-A45A-9B1DE9E2CBC0}"/>
          </ac:spMkLst>
        </pc:spChg>
        <pc:spChg chg="mod">
          <ac:chgData name="Swapnil Raichandani" userId="857b48b4-3170-4a46-9423-b0f8bf67f14a" providerId="ADAL" clId="{378B5EED-8B03-49EB-B2BD-E9726B866780}" dt="2023-08-04T11:07:38.865" v="762"/>
          <ac:spMkLst>
            <pc:docMk/>
            <pc:sldMk cId="2779596076" sldId="4876"/>
            <ac:spMk id="25" creationId="{9B673B53-B13A-5BB3-EB02-05513CC52301}"/>
          </ac:spMkLst>
        </pc:spChg>
        <pc:spChg chg="mod">
          <ac:chgData name="Swapnil Raichandani" userId="857b48b4-3170-4a46-9423-b0f8bf67f14a" providerId="ADAL" clId="{378B5EED-8B03-49EB-B2BD-E9726B866780}" dt="2023-08-04T11:07:38.865" v="762"/>
          <ac:spMkLst>
            <pc:docMk/>
            <pc:sldMk cId="2779596076" sldId="4876"/>
            <ac:spMk id="26" creationId="{A2936E24-3B11-EB4F-C164-BB8AC3D7EB16}"/>
          </ac:spMkLst>
        </pc:spChg>
        <pc:spChg chg="mod">
          <ac:chgData name="Swapnil Raichandani" userId="857b48b4-3170-4a46-9423-b0f8bf67f14a" providerId="ADAL" clId="{378B5EED-8B03-49EB-B2BD-E9726B866780}" dt="2023-08-04T11:07:38.865" v="762"/>
          <ac:spMkLst>
            <pc:docMk/>
            <pc:sldMk cId="2779596076" sldId="4876"/>
            <ac:spMk id="27" creationId="{5DD5E52A-6684-6EED-EEC5-ACF523424749}"/>
          </ac:spMkLst>
        </pc:spChg>
        <pc:spChg chg="add mod">
          <ac:chgData name="Swapnil Raichandani" userId="857b48b4-3170-4a46-9423-b0f8bf67f14a" providerId="ADAL" clId="{378B5EED-8B03-49EB-B2BD-E9726B866780}" dt="2023-08-04T11:22:18.326" v="943" actId="1076"/>
          <ac:spMkLst>
            <pc:docMk/>
            <pc:sldMk cId="2779596076" sldId="4876"/>
            <ac:spMk id="29" creationId="{E6F94D10-BDAB-0387-3944-EA279EBA0FE3}"/>
          </ac:spMkLst>
        </pc:spChg>
        <pc:spChg chg="add mod">
          <ac:chgData name="Swapnil Raichandani" userId="857b48b4-3170-4a46-9423-b0f8bf67f14a" providerId="ADAL" clId="{378B5EED-8B03-49EB-B2BD-E9726B866780}" dt="2023-08-04T11:22:21.875" v="944" actId="1076"/>
          <ac:spMkLst>
            <pc:docMk/>
            <pc:sldMk cId="2779596076" sldId="4876"/>
            <ac:spMk id="30" creationId="{FE327382-F278-4B14-ABB2-EEFF1F30C458}"/>
          </ac:spMkLst>
        </pc:spChg>
        <pc:spChg chg="add mod">
          <ac:chgData name="Swapnil Raichandani" userId="857b48b4-3170-4a46-9423-b0f8bf67f14a" providerId="ADAL" clId="{378B5EED-8B03-49EB-B2BD-E9726B866780}" dt="2023-08-04T11:21:55.591" v="939" actId="1076"/>
          <ac:spMkLst>
            <pc:docMk/>
            <pc:sldMk cId="2779596076" sldId="4876"/>
            <ac:spMk id="31" creationId="{300D8A34-5B8A-25BC-6AE7-A532CA8E3100}"/>
          </ac:spMkLst>
        </pc:spChg>
        <pc:spChg chg="add mod">
          <ac:chgData name="Swapnil Raichandani" userId="857b48b4-3170-4a46-9423-b0f8bf67f14a" providerId="ADAL" clId="{378B5EED-8B03-49EB-B2BD-E9726B866780}" dt="2023-08-04T11:22:01.009" v="940" actId="1076"/>
          <ac:spMkLst>
            <pc:docMk/>
            <pc:sldMk cId="2779596076" sldId="4876"/>
            <ac:spMk id="32" creationId="{67D6F05C-9B1C-9723-786A-1BE47D9CFC64}"/>
          </ac:spMkLst>
        </pc:spChg>
        <pc:spChg chg="add mod">
          <ac:chgData name="Swapnil Raichandani" userId="857b48b4-3170-4a46-9423-b0f8bf67f14a" providerId="ADAL" clId="{378B5EED-8B03-49EB-B2BD-E9726B866780}" dt="2023-08-04T11:21:49.892" v="937" actId="1076"/>
          <ac:spMkLst>
            <pc:docMk/>
            <pc:sldMk cId="2779596076" sldId="4876"/>
            <ac:spMk id="33" creationId="{83718EF3-D050-3951-1763-9037AD3E9D63}"/>
          </ac:spMkLst>
        </pc:spChg>
        <pc:spChg chg="add mod">
          <ac:chgData name="Swapnil Raichandani" userId="857b48b4-3170-4a46-9423-b0f8bf67f14a" providerId="ADAL" clId="{378B5EED-8B03-49EB-B2BD-E9726B866780}" dt="2023-08-04T11:21:52.772" v="938" actId="1076"/>
          <ac:spMkLst>
            <pc:docMk/>
            <pc:sldMk cId="2779596076" sldId="4876"/>
            <ac:spMk id="34" creationId="{01E17A40-BCA4-FC19-4EB7-F51B8DBE50D9}"/>
          </ac:spMkLst>
        </pc:spChg>
        <pc:spChg chg="add mod">
          <ac:chgData name="Swapnil Raichandani" userId="857b48b4-3170-4a46-9423-b0f8bf67f14a" providerId="ADAL" clId="{378B5EED-8B03-49EB-B2BD-E9726B866780}" dt="2023-08-04T11:21:32.937" v="936" actId="208"/>
          <ac:spMkLst>
            <pc:docMk/>
            <pc:sldMk cId="2779596076" sldId="4876"/>
            <ac:spMk id="35" creationId="{9AF0578B-05DC-8F6F-6B20-C8B5C35BA702}"/>
          </ac:spMkLst>
        </pc:spChg>
        <pc:spChg chg="add mod">
          <ac:chgData name="Swapnil Raichandani" userId="857b48b4-3170-4a46-9423-b0f8bf67f14a" providerId="ADAL" clId="{378B5EED-8B03-49EB-B2BD-E9726B866780}" dt="2023-08-04T11:21:32.937" v="936" actId="208"/>
          <ac:spMkLst>
            <pc:docMk/>
            <pc:sldMk cId="2779596076" sldId="4876"/>
            <ac:spMk id="36" creationId="{758701CA-DF5D-6ECD-2DDD-AFD686B3420B}"/>
          </ac:spMkLst>
        </pc:spChg>
        <pc:spChg chg="add del mod">
          <ac:chgData name="Swapnil Raichandani" userId="857b48b4-3170-4a46-9423-b0f8bf67f14a" providerId="ADAL" clId="{378B5EED-8B03-49EB-B2BD-E9726B866780}" dt="2023-08-04T11:22:51.242" v="945" actId="478"/>
          <ac:spMkLst>
            <pc:docMk/>
            <pc:sldMk cId="2779596076" sldId="4876"/>
            <ac:spMk id="37" creationId="{F101C20A-1823-72E7-7989-E09F5AB4B2A9}"/>
          </ac:spMkLst>
        </pc:spChg>
        <pc:spChg chg="add mod">
          <ac:chgData name="Swapnil Raichandani" userId="857b48b4-3170-4a46-9423-b0f8bf67f14a" providerId="ADAL" clId="{378B5EED-8B03-49EB-B2BD-E9726B866780}" dt="2023-08-04T11:21:32.937" v="936" actId="208"/>
          <ac:spMkLst>
            <pc:docMk/>
            <pc:sldMk cId="2779596076" sldId="4876"/>
            <ac:spMk id="38" creationId="{4EB7AD03-199B-BE95-BC6B-1EFAB8F6A8B0}"/>
          </ac:spMkLst>
        </pc:spChg>
        <pc:spChg chg="add del mod">
          <ac:chgData name="Swapnil Raichandani" userId="857b48b4-3170-4a46-9423-b0f8bf67f14a" providerId="ADAL" clId="{378B5EED-8B03-49EB-B2BD-E9726B866780}" dt="2023-08-04T11:23:08.838" v="949" actId="478"/>
          <ac:spMkLst>
            <pc:docMk/>
            <pc:sldMk cId="2779596076" sldId="4876"/>
            <ac:spMk id="39" creationId="{DA4170B2-52F6-6941-4C8D-8F33CEB3707F}"/>
          </ac:spMkLst>
        </pc:spChg>
        <pc:spChg chg="mod">
          <ac:chgData name="Swapnil Raichandani" userId="857b48b4-3170-4a46-9423-b0f8bf67f14a" providerId="ADAL" clId="{378B5EED-8B03-49EB-B2BD-E9726B866780}" dt="2023-08-04T11:07:43.233" v="768"/>
          <ac:spMkLst>
            <pc:docMk/>
            <pc:sldMk cId="2779596076" sldId="4876"/>
            <ac:spMk id="41" creationId="{BA597476-B214-A8AE-6355-E05C6E276A1A}"/>
          </ac:spMkLst>
        </pc:spChg>
        <pc:spChg chg="mod">
          <ac:chgData name="Swapnil Raichandani" userId="857b48b4-3170-4a46-9423-b0f8bf67f14a" providerId="ADAL" clId="{378B5EED-8B03-49EB-B2BD-E9726B866780}" dt="2023-08-04T11:07:43.233" v="768"/>
          <ac:spMkLst>
            <pc:docMk/>
            <pc:sldMk cId="2779596076" sldId="4876"/>
            <ac:spMk id="42" creationId="{C9D3D8FE-43E7-8293-B27F-C6B2B9979CC5}"/>
          </ac:spMkLst>
        </pc:spChg>
        <pc:spChg chg="mod">
          <ac:chgData name="Swapnil Raichandani" userId="857b48b4-3170-4a46-9423-b0f8bf67f14a" providerId="ADAL" clId="{378B5EED-8B03-49EB-B2BD-E9726B866780}" dt="2023-08-04T11:07:43.233" v="768"/>
          <ac:spMkLst>
            <pc:docMk/>
            <pc:sldMk cId="2779596076" sldId="4876"/>
            <ac:spMk id="43" creationId="{1B60C5D1-4AB5-312A-2A92-DDEC6678FF50}"/>
          </ac:spMkLst>
        </pc:spChg>
        <pc:spChg chg="mod">
          <ac:chgData name="Swapnil Raichandani" userId="857b48b4-3170-4a46-9423-b0f8bf67f14a" providerId="ADAL" clId="{378B5EED-8B03-49EB-B2BD-E9726B866780}" dt="2023-08-04T11:07:43.233" v="768"/>
          <ac:spMkLst>
            <pc:docMk/>
            <pc:sldMk cId="2779596076" sldId="4876"/>
            <ac:spMk id="44" creationId="{43C60F99-C4E9-D4C0-9F17-6E3C2088C279}"/>
          </ac:spMkLst>
        </pc:spChg>
        <pc:spChg chg="mod">
          <ac:chgData name="Swapnil Raichandani" userId="857b48b4-3170-4a46-9423-b0f8bf67f14a" providerId="ADAL" clId="{378B5EED-8B03-49EB-B2BD-E9726B866780}" dt="2023-08-04T11:07:43.233" v="768"/>
          <ac:spMkLst>
            <pc:docMk/>
            <pc:sldMk cId="2779596076" sldId="4876"/>
            <ac:spMk id="45" creationId="{3FCE9CDA-641B-85FC-AF1A-D03A97A123A1}"/>
          </ac:spMkLst>
        </pc:spChg>
        <pc:spChg chg="mod">
          <ac:chgData name="Swapnil Raichandani" userId="857b48b4-3170-4a46-9423-b0f8bf67f14a" providerId="ADAL" clId="{378B5EED-8B03-49EB-B2BD-E9726B866780}" dt="2023-08-04T11:07:43.233" v="768"/>
          <ac:spMkLst>
            <pc:docMk/>
            <pc:sldMk cId="2779596076" sldId="4876"/>
            <ac:spMk id="46" creationId="{838BC41D-7BDB-843D-D60D-75A2BD6A9002}"/>
          </ac:spMkLst>
        </pc:spChg>
        <pc:spChg chg="mod">
          <ac:chgData name="Swapnil Raichandani" userId="857b48b4-3170-4a46-9423-b0f8bf67f14a" providerId="ADAL" clId="{378B5EED-8B03-49EB-B2BD-E9726B866780}" dt="2023-08-04T11:07:43.233" v="768"/>
          <ac:spMkLst>
            <pc:docMk/>
            <pc:sldMk cId="2779596076" sldId="4876"/>
            <ac:spMk id="47" creationId="{19346E79-B435-6DAA-8E6F-B6DD457B17E7}"/>
          </ac:spMkLst>
        </pc:spChg>
        <pc:spChg chg="mod">
          <ac:chgData name="Swapnil Raichandani" userId="857b48b4-3170-4a46-9423-b0f8bf67f14a" providerId="ADAL" clId="{378B5EED-8B03-49EB-B2BD-E9726B866780}" dt="2023-08-04T11:07:43.233" v="768"/>
          <ac:spMkLst>
            <pc:docMk/>
            <pc:sldMk cId="2779596076" sldId="4876"/>
            <ac:spMk id="48" creationId="{F9921024-8870-23C1-E954-1F646E3EE2B3}"/>
          </ac:spMkLst>
        </pc:spChg>
        <pc:spChg chg="mod">
          <ac:chgData name="Swapnil Raichandani" userId="857b48b4-3170-4a46-9423-b0f8bf67f14a" providerId="ADAL" clId="{378B5EED-8B03-49EB-B2BD-E9726B866780}" dt="2023-08-04T11:07:43.233" v="768"/>
          <ac:spMkLst>
            <pc:docMk/>
            <pc:sldMk cId="2779596076" sldId="4876"/>
            <ac:spMk id="49" creationId="{14E8D14B-EEA8-D727-54BF-553E06D99CCD}"/>
          </ac:spMkLst>
        </pc:spChg>
        <pc:spChg chg="mod">
          <ac:chgData name="Swapnil Raichandani" userId="857b48b4-3170-4a46-9423-b0f8bf67f14a" providerId="ADAL" clId="{378B5EED-8B03-49EB-B2BD-E9726B866780}" dt="2023-08-04T11:07:43.233" v="768"/>
          <ac:spMkLst>
            <pc:docMk/>
            <pc:sldMk cId="2779596076" sldId="4876"/>
            <ac:spMk id="50" creationId="{19BB980F-F54C-25DF-16FF-164CDBBD8083}"/>
          </ac:spMkLst>
        </pc:spChg>
        <pc:spChg chg="mod">
          <ac:chgData name="Swapnil Raichandani" userId="857b48b4-3170-4a46-9423-b0f8bf67f14a" providerId="ADAL" clId="{378B5EED-8B03-49EB-B2BD-E9726B866780}" dt="2023-08-04T11:07:43.233" v="768"/>
          <ac:spMkLst>
            <pc:docMk/>
            <pc:sldMk cId="2779596076" sldId="4876"/>
            <ac:spMk id="51" creationId="{5F0581F6-A117-8951-D4FD-10953B939AC0}"/>
          </ac:spMkLst>
        </pc:spChg>
        <pc:spChg chg="mod">
          <ac:chgData name="Swapnil Raichandani" userId="857b48b4-3170-4a46-9423-b0f8bf67f14a" providerId="ADAL" clId="{378B5EED-8B03-49EB-B2BD-E9726B866780}" dt="2023-08-04T11:07:43.233" v="768"/>
          <ac:spMkLst>
            <pc:docMk/>
            <pc:sldMk cId="2779596076" sldId="4876"/>
            <ac:spMk id="52" creationId="{53511DA0-B98C-2875-7F78-9D66C1D2E497}"/>
          </ac:spMkLst>
        </pc:spChg>
        <pc:spChg chg="mod">
          <ac:chgData name="Swapnil Raichandani" userId="857b48b4-3170-4a46-9423-b0f8bf67f14a" providerId="ADAL" clId="{378B5EED-8B03-49EB-B2BD-E9726B866780}" dt="2023-08-04T11:07:43.233" v="768"/>
          <ac:spMkLst>
            <pc:docMk/>
            <pc:sldMk cId="2779596076" sldId="4876"/>
            <ac:spMk id="53" creationId="{66AA2674-A8F4-C915-0317-5CA8A235D75A}"/>
          </ac:spMkLst>
        </pc:spChg>
        <pc:grpChg chg="add del mod">
          <ac:chgData name="Swapnil Raichandani" userId="857b48b4-3170-4a46-9423-b0f8bf67f14a" providerId="ADAL" clId="{378B5EED-8B03-49EB-B2BD-E9726B866780}" dt="2023-08-04T11:41:09.592" v="1149" actId="478"/>
          <ac:grpSpMkLst>
            <pc:docMk/>
            <pc:sldMk cId="2779596076" sldId="4876"/>
            <ac:grpSpMk id="3" creationId="{BDA1A16F-01F2-32A9-BEBB-F9A9348E665D}"/>
          </ac:grpSpMkLst>
        </pc:grpChg>
        <pc:grpChg chg="add del mod">
          <ac:chgData name="Swapnil Raichandani" userId="857b48b4-3170-4a46-9423-b0f8bf67f14a" providerId="ADAL" clId="{378B5EED-8B03-49EB-B2BD-E9726B866780}" dt="2023-08-04T11:07:43.215" v="767"/>
          <ac:grpSpMkLst>
            <pc:docMk/>
            <pc:sldMk cId="2779596076" sldId="4876"/>
            <ac:grpSpMk id="14" creationId="{A6EE8B4B-A6EA-5D93-75E5-055A80A14956}"/>
          </ac:grpSpMkLst>
        </pc:grpChg>
        <pc:grpChg chg="add mod">
          <ac:chgData name="Swapnil Raichandani" userId="857b48b4-3170-4a46-9423-b0f8bf67f14a" providerId="ADAL" clId="{378B5EED-8B03-49EB-B2BD-E9726B866780}" dt="2023-08-04T11:41:06.017" v="1148" actId="1037"/>
          <ac:grpSpMkLst>
            <pc:docMk/>
            <pc:sldMk cId="2779596076" sldId="4876"/>
            <ac:grpSpMk id="40" creationId="{A7501264-5A36-A99D-EBEA-AB8AA28CA1A7}"/>
          </ac:grpSpMkLst>
        </pc:grpChg>
        <pc:picChg chg="add del mod">
          <ac:chgData name="Swapnil Raichandani" userId="857b48b4-3170-4a46-9423-b0f8bf67f14a" providerId="ADAL" clId="{378B5EED-8B03-49EB-B2BD-E9726B866780}" dt="2023-08-04T11:07:43.215" v="767"/>
          <ac:picMkLst>
            <pc:docMk/>
            <pc:sldMk cId="2779596076" sldId="4876"/>
            <ac:picMk id="28" creationId="{820E2A17-AAC7-4C3A-9248-E067D8F11AEB}"/>
          </ac:picMkLst>
        </pc:picChg>
        <pc:picChg chg="add del mod">
          <ac:chgData name="Swapnil Raichandani" userId="857b48b4-3170-4a46-9423-b0f8bf67f14a" providerId="ADAL" clId="{378B5EED-8B03-49EB-B2BD-E9726B866780}" dt="2023-08-04T11:24:52.573" v="953" actId="478"/>
          <ac:picMkLst>
            <pc:docMk/>
            <pc:sldMk cId="2779596076" sldId="4876"/>
            <ac:picMk id="54" creationId="{FFD5824F-A937-15F6-BE84-06FBA69CFE0F}"/>
          </ac:picMkLst>
        </pc:picChg>
        <pc:picChg chg="add mod">
          <ac:chgData name="Swapnil Raichandani" userId="857b48b4-3170-4a46-9423-b0f8bf67f14a" providerId="ADAL" clId="{378B5EED-8B03-49EB-B2BD-E9726B866780}" dt="2023-08-04T11:23:07.157" v="948" actId="1076"/>
          <ac:picMkLst>
            <pc:docMk/>
            <pc:sldMk cId="2779596076" sldId="4876"/>
            <ac:picMk id="2050" creationId="{AE2598F9-457A-5048-84DE-729CF9DC932B}"/>
          </ac:picMkLst>
        </pc:picChg>
        <pc:picChg chg="add mod">
          <ac:chgData name="Swapnil Raichandani" userId="857b48b4-3170-4a46-9423-b0f8bf67f14a" providerId="ADAL" clId="{378B5EED-8B03-49EB-B2BD-E9726B866780}" dt="2023-08-04T11:23:52.306" v="952" actId="1076"/>
          <ac:picMkLst>
            <pc:docMk/>
            <pc:sldMk cId="2779596076" sldId="4876"/>
            <ac:picMk id="2052" creationId="{6914628E-0537-BCFA-D844-9E07A6E4366B}"/>
          </ac:picMkLst>
        </pc:picChg>
        <pc:picChg chg="add mod">
          <ac:chgData name="Swapnil Raichandani" userId="857b48b4-3170-4a46-9423-b0f8bf67f14a" providerId="ADAL" clId="{378B5EED-8B03-49EB-B2BD-E9726B866780}" dt="2023-08-04T11:26:08.518" v="970" actId="14100"/>
          <ac:picMkLst>
            <pc:docMk/>
            <pc:sldMk cId="2779596076" sldId="4876"/>
            <ac:picMk id="2054" creationId="{972DC3CE-3700-D150-5009-A945BF4FF548}"/>
          </ac:picMkLst>
        </pc:picChg>
      </pc:sldChg>
      <pc:sldChg chg="add del ord">
        <pc:chgData name="Swapnil Raichandani" userId="857b48b4-3170-4a46-9423-b0f8bf67f14a" providerId="ADAL" clId="{378B5EED-8B03-49EB-B2BD-E9726B866780}" dt="2023-08-04T11:27:37.807" v="978" actId="47"/>
        <pc:sldMkLst>
          <pc:docMk/>
          <pc:sldMk cId="186262939" sldId="2147374909"/>
        </pc:sldMkLst>
      </pc:sldChg>
      <pc:sldChg chg="modSp add mod">
        <pc:chgData name="Swapnil Raichandani" userId="857b48b4-3170-4a46-9423-b0f8bf67f14a" providerId="ADAL" clId="{378B5EED-8B03-49EB-B2BD-E9726B866780}" dt="2023-08-04T11:27:59.458" v="998" actId="403"/>
        <pc:sldMkLst>
          <pc:docMk/>
          <pc:sldMk cId="1953385677" sldId="2147374910"/>
        </pc:sldMkLst>
        <pc:spChg chg="mod">
          <ac:chgData name="Swapnil Raichandani" userId="857b48b4-3170-4a46-9423-b0f8bf67f14a" providerId="ADAL" clId="{378B5EED-8B03-49EB-B2BD-E9726B866780}" dt="2023-08-04T11:27:59.458" v="998" actId="403"/>
          <ac:spMkLst>
            <pc:docMk/>
            <pc:sldMk cId="1953385677" sldId="2147374910"/>
            <ac:spMk id="2" creationId="{650ACC24-8488-43C0-9A0A-195C0E6ED0D1}"/>
          </ac:spMkLst>
        </pc:spChg>
        <pc:spChg chg="mod">
          <ac:chgData name="Swapnil Raichandani" userId="857b48b4-3170-4a46-9423-b0f8bf67f14a" providerId="ADAL" clId="{378B5EED-8B03-49EB-B2BD-E9726B866780}" dt="2023-08-04T11:27:41.215" v="980" actId="20577"/>
          <ac:spMkLst>
            <pc:docMk/>
            <pc:sldMk cId="1953385677" sldId="2147374910"/>
            <ac:spMk id="3" creationId="{561E47C9-B240-494C-9E62-B493CF52B358}"/>
          </ac:spMkLst>
        </pc:spChg>
      </pc:sldChg>
      <pc:sldChg chg="modSp add mod ord">
        <pc:chgData name="Swapnil Raichandani" userId="857b48b4-3170-4a46-9423-b0f8bf67f14a" providerId="ADAL" clId="{378B5EED-8B03-49EB-B2BD-E9726B866780}" dt="2023-08-04T11:28:50.490" v="1034" actId="20577"/>
        <pc:sldMkLst>
          <pc:docMk/>
          <pc:sldMk cId="1444240" sldId="2147374911"/>
        </pc:sldMkLst>
        <pc:spChg chg="mod">
          <ac:chgData name="Swapnil Raichandani" userId="857b48b4-3170-4a46-9423-b0f8bf67f14a" providerId="ADAL" clId="{378B5EED-8B03-49EB-B2BD-E9726B866780}" dt="2023-08-04T11:28:50.490" v="1034" actId="20577"/>
          <ac:spMkLst>
            <pc:docMk/>
            <pc:sldMk cId="1444240" sldId="2147374911"/>
            <ac:spMk id="2" creationId="{650ACC24-8488-43C0-9A0A-195C0E6ED0D1}"/>
          </ac:spMkLst>
        </pc:spChg>
        <pc:spChg chg="mod">
          <ac:chgData name="Swapnil Raichandani" userId="857b48b4-3170-4a46-9423-b0f8bf67f14a" providerId="ADAL" clId="{378B5EED-8B03-49EB-B2BD-E9726B866780}" dt="2023-08-04T11:28:17.246" v="1022" actId="20577"/>
          <ac:spMkLst>
            <pc:docMk/>
            <pc:sldMk cId="1444240" sldId="2147374911"/>
            <ac:spMk id="3" creationId="{561E47C9-B240-494C-9E62-B493CF52B358}"/>
          </ac:spMkLst>
        </pc:spChg>
      </pc:sldChg>
      <pc:sldChg chg="modSp add mod ord">
        <pc:chgData name="Swapnil Raichandani" userId="857b48b4-3170-4a46-9423-b0f8bf67f14a" providerId="ADAL" clId="{378B5EED-8B03-49EB-B2BD-E9726B866780}" dt="2023-08-04T11:29:17.532" v="1042" actId="20577"/>
        <pc:sldMkLst>
          <pc:docMk/>
          <pc:sldMk cId="1792227948" sldId="2147374912"/>
        </pc:sldMkLst>
        <pc:spChg chg="mod">
          <ac:chgData name="Swapnil Raichandani" userId="857b48b4-3170-4a46-9423-b0f8bf67f14a" providerId="ADAL" clId="{378B5EED-8B03-49EB-B2BD-E9726B866780}" dt="2023-08-04T11:29:13.425" v="1040"/>
          <ac:spMkLst>
            <pc:docMk/>
            <pc:sldMk cId="1792227948" sldId="2147374912"/>
            <ac:spMk id="2" creationId="{650ACC24-8488-43C0-9A0A-195C0E6ED0D1}"/>
          </ac:spMkLst>
        </pc:spChg>
        <pc:spChg chg="mod">
          <ac:chgData name="Swapnil Raichandani" userId="857b48b4-3170-4a46-9423-b0f8bf67f14a" providerId="ADAL" clId="{378B5EED-8B03-49EB-B2BD-E9726B866780}" dt="2023-08-04T11:29:17.532" v="1042" actId="20577"/>
          <ac:spMkLst>
            <pc:docMk/>
            <pc:sldMk cId="1792227948" sldId="2147374912"/>
            <ac:spMk id="3" creationId="{561E47C9-B240-494C-9E62-B493CF52B358}"/>
          </ac:spMkLst>
        </pc:spChg>
      </pc:sldChg>
    </pc:docChg>
  </pc:docChgLst>
  <pc:docChgLst>
    <pc:chgData name="Utsav V Gokalgandhi" userId="666c3384-f3d0-4d9a-992b-6896f8413d41" providerId="ADAL" clId="{787C91BE-FC2C-4289-BBC2-858540202238}"/>
    <pc:docChg chg="modSld">
      <pc:chgData name="Utsav V Gokalgandhi" userId="666c3384-f3d0-4d9a-992b-6896f8413d41" providerId="ADAL" clId="{787C91BE-FC2C-4289-BBC2-858540202238}" dt="2023-08-04T11:47:52.980" v="2"/>
      <pc:docMkLst>
        <pc:docMk/>
      </pc:docMkLst>
      <pc:sldChg chg="addSp delSp modSp mod">
        <pc:chgData name="Utsav V Gokalgandhi" userId="666c3384-f3d0-4d9a-992b-6896f8413d41" providerId="ADAL" clId="{787C91BE-FC2C-4289-BBC2-858540202238}" dt="2023-08-04T11:47:52.980" v="2"/>
        <pc:sldMkLst>
          <pc:docMk/>
          <pc:sldMk cId="1481326454" sldId="4819"/>
        </pc:sldMkLst>
        <pc:spChg chg="mod">
          <ac:chgData name="Utsav V Gokalgandhi" userId="666c3384-f3d0-4d9a-992b-6896f8413d41" providerId="ADAL" clId="{787C91BE-FC2C-4289-BBC2-858540202238}" dt="2023-08-04T11:47:39.790" v="0" actId="113"/>
          <ac:spMkLst>
            <pc:docMk/>
            <pc:sldMk cId="1481326454" sldId="4819"/>
            <ac:spMk id="2" creationId="{B8ECE610-0436-4275-452F-A621A7C4ACCC}"/>
          </ac:spMkLst>
        </pc:spChg>
        <pc:graphicFrameChg chg="add del mod">
          <ac:chgData name="Utsav V Gokalgandhi" userId="666c3384-f3d0-4d9a-992b-6896f8413d41" providerId="ADAL" clId="{787C91BE-FC2C-4289-BBC2-858540202238}" dt="2023-08-04T11:47:52.980" v="2"/>
          <ac:graphicFrameMkLst>
            <pc:docMk/>
            <pc:sldMk cId="1481326454" sldId="4819"/>
            <ac:graphicFrameMk id="4" creationId="{80B1C8BB-EAC7-B5E0-D458-CD4478EE0175}"/>
          </ac:graphicFrameMkLst>
        </pc:graphicFrameChg>
        <pc:graphicFrameChg chg="del mod">
          <ac:chgData name="Utsav V Gokalgandhi" userId="666c3384-f3d0-4d9a-992b-6896f8413d41" providerId="ADAL" clId="{787C91BE-FC2C-4289-BBC2-858540202238}" dt="2023-08-04T11:47:52.980" v="2"/>
          <ac:graphicFrameMkLst>
            <pc:docMk/>
            <pc:sldMk cId="1481326454" sldId="4819"/>
            <ac:graphicFrameMk id="5" creationId="{878A0965-F0F9-921D-F71E-1A082FB6A0A7}"/>
          </ac:graphicFrameMkLst>
        </pc:graphicFrameChg>
        <pc:graphicFrameChg chg="add del mod">
          <ac:chgData name="Utsav V Gokalgandhi" userId="666c3384-f3d0-4d9a-992b-6896f8413d41" providerId="ADAL" clId="{787C91BE-FC2C-4289-BBC2-858540202238}" dt="2023-08-04T11:47:52.980" v="2"/>
          <ac:graphicFrameMkLst>
            <pc:docMk/>
            <pc:sldMk cId="1481326454" sldId="4819"/>
            <ac:graphicFrameMk id="6" creationId="{D4B8195B-C068-1A28-4AB5-B141190E9B3D}"/>
          </ac:graphicFrameMkLst>
        </pc:graphicFrameChg>
      </pc:sldChg>
    </pc:docChg>
  </pc:docChgLst>
  <pc:docChgLst>
    <pc:chgData name="Anjali Dwivedi" userId="5d021d5d-7ae3-40c8-98f7-906717a708a8" providerId="ADAL" clId="{2884530C-1040-4F70-8FB5-F4391A53C901}"/>
    <pc:docChg chg="undo redo custSel addSld delSld modSld sldOrd modMainMaster">
      <pc:chgData name="Anjali Dwivedi" userId="5d021d5d-7ae3-40c8-98f7-906717a708a8" providerId="ADAL" clId="{2884530C-1040-4F70-8FB5-F4391A53C901}" dt="2023-09-08T19:24:24.849" v="2475" actId="12"/>
      <pc:docMkLst>
        <pc:docMk/>
      </pc:docMkLst>
      <pc:sldChg chg="addSp delSp modSp del">
        <pc:chgData name="Anjali Dwivedi" userId="5d021d5d-7ae3-40c8-98f7-906717a708a8" providerId="ADAL" clId="{2884530C-1040-4F70-8FB5-F4391A53C901}" dt="2023-09-08T18:06:18.061" v="1610" actId="47"/>
        <pc:sldMkLst>
          <pc:docMk/>
          <pc:sldMk cId="623934806" sldId="256"/>
        </pc:sldMkLst>
        <pc:spChg chg="add del mod">
          <ac:chgData name="Anjali Dwivedi" userId="5d021d5d-7ae3-40c8-98f7-906717a708a8" providerId="ADAL" clId="{2884530C-1040-4F70-8FB5-F4391A53C901}" dt="2023-09-08T18:04:06.535" v="1491"/>
          <ac:spMkLst>
            <pc:docMk/>
            <pc:sldMk cId="623934806" sldId="256"/>
            <ac:spMk id="5" creationId="{3080CE3A-07C3-4FC9-8EE2-F788AA9351DE}"/>
          </ac:spMkLst>
        </pc:spChg>
        <pc:spChg chg="add del mod">
          <ac:chgData name="Anjali Dwivedi" userId="5d021d5d-7ae3-40c8-98f7-906717a708a8" providerId="ADAL" clId="{2884530C-1040-4F70-8FB5-F4391A53C901}" dt="2023-09-08T18:04:06.535" v="1491"/>
          <ac:spMkLst>
            <pc:docMk/>
            <pc:sldMk cId="623934806" sldId="256"/>
            <ac:spMk id="7" creationId="{AD70FB49-4622-4F4A-A2C0-6B64DD8AA6CA}"/>
          </ac:spMkLst>
        </pc:spChg>
        <pc:spChg chg="add del mod">
          <ac:chgData name="Anjali Dwivedi" userId="5d021d5d-7ae3-40c8-98f7-906717a708a8" providerId="ADAL" clId="{2884530C-1040-4F70-8FB5-F4391A53C901}" dt="2023-09-08T18:04:06.535" v="1491"/>
          <ac:spMkLst>
            <pc:docMk/>
            <pc:sldMk cId="623934806" sldId="256"/>
            <ac:spMk id="9" creationId="{5FB9C116-9BAB-41CA-9416-ED42F58A4244}"/>
          </ac:spMkLst>
        </pc:spChg>
        <pc:spChg chg="add del mod">
          <ac:chgData name="Anjali Dwivedi" userId="5d021d5d-7ae3-40c8-98f7-906717a708a8" providerId="ADAL" clId="{2884530C-1040-4F70-8FB5-F4391A53C901}" dt="2023-09-08T18:04:06.535" v="1491"/>
          <ac:spMkLst>
            <pc:docMk/>
            <pc:sldMk cId="623934806" sldId="256"/>
            <ac:spMk id="10" creationId="{1E435587-16D5-40DB-BDE6-8EDBCFC38846}"/>
          </ac:spMkLst>
        </pc:spChg>
      </pc:sldChg>
      <pc:sldChg chg="addSp delSp modSp del mod">
        <pc:chgData name="Anjali Dwivedi" userId="5d021d5d-7ae3-40c8-98f7-906717a708a8" providerId="ADAL" clId="{2884530C-1040-4F70-8FB5-F4391A53C901}" dt="2023-09-08T19:18:44.477" v="2446" actId="47"/>
        <pc:sldMkLst>
          <pc:docMk/>
          <pc:sldMk cId="1481326454" sldId="4819"/>
        </pc:sldMkLst>
        <pc:spChg chg="del mod">
          <ac:chgData name="Anjali Dwivedi" userId="5d021d5d-7ae3-40c8-98f7-906717a708a8" providerId="ADAL" clId="{2884530C-1040-4F70-8FB5-F4391A53C901}" dt="2023-09-08T16:32:55.945" v="19" actId="478"/>
          <ac:spMkLst>
            <pc:docMk/>
            <pc:sldMk cId="1481326454" sldId="4819"/>
            <ac:spMk id="2" creationId="{B8ECE610-0436-4275-452F-A621A7C4ACCC}"/>
          </ac:spMkLst>
        </pc:spChg>
        <pc:spChg chg="del mod">
          <ac:chgData name="Anjali Dwivedi" userId="5d021d5d-7ae3-40c8-98f7-906717a708a8" providerId="ADAL" clId="{2884530C-1040-4F70-8FB5-F4391A53C901}" dt="2023-09-08T16:32:51.431" v="17" actId="478"/>
          <ac:spMkLst>
            <pc:docMk/>
            <pc:sldMk cId="1481326454" sldId="4819"/>
            <ac:spMk id="3" creationId="{CAF7F773-1C95-FF97-BD42-90E884726689}"/>
          </ac:spMkLst>
        </pc:spChg>
        <pc:spChg chg="mod">
          <ac:chgData name="Anjali Dwivedi" userId="5d021d5d-7ae3-40c8-98f7-906717a708a8" providerId="ADAL" clId="{2884530C-1040-4F70-8FB5-F4391A53C901}" dt="2023-09-08T16:33:42.150" v="33" actId="1037"/>
          <ac:spMkLst>
            <pc:docMk/>
            <pc:sldMk cId="1481326454" sldId="4819"/>
            <ac:spMk id="6" creationId="{3C560FA2-7880-45A5-B237-EDACE50F694D}"/>
          </ac:spMkLst>
        </pc:spChg>
        <pc:spChg chg="mod">
          <ac:chgData name="Anjali Dwivedi" userId="5d021d5d-7ae3-40c8-98f7-906717a708a8" providerId="ADAL" clId="{2884530C-1040-4F70-8FB5-F4391A53C901}" dt="2023-09-08T16:31:57.425" v="10"/>
          <ac:spMkLst>
            <pc:docMk/>
            <pc:sldMk cId="1481326454" sldId="4819"/>
            <ac:spMk id="7" creationId="{20310953-F154-4E54-8EDD-451015E849D7}"/>
          </ac:spMkLst>
        </pc:spChg>
        <pc:spChg chg="add del mod">
          <ac:chgData name="Anjali Dwivedi" userId="5d021d5d-7ae3-40c8-98f7-906717a708a8" providerId="ADAL" clId="{2884530C-1040-4F70-8FB5-F4391A53C901}" dt="2023-09-08T18:01:38.785" v="1458" actId="478"/>
          <ac:spMkLst>
            <pc:docMk/>
            <pc:sldMk cId="1481326454" sldId="4819"/>
            <ac:spMk id="8" creationId="{713DC404-BF8E-4A4A-BB36-B4713B601719}"/>
          </ac:spMkLst>
        </pc:spChg>
        <pc:spChg chg="add del mod">
          <ac:chgData name="Anjali Dwivedi" userId="5d021d5d-7ae3-40c8-98f7-906717a708a8" providerId="ADAL" clId="{2884530C-1040-4F70-8FB5-F4391A53C901}" dt="2023-09-08T16:32:54.174" v="18" actId="478"/>
          <ac:spMkLst>
            <pc:docMk/>
            <pc:sldMk cId="1481326454" sldId="4819"/>
            <ac:spMk id="10" creationId="{4DB9C596-C08C-4EAB-BA43-D9D4D739F3BD}"/>
          </ac:spMkLst>
        </pc:spChg>
        <pc:spChg chg="add del mod">
          <ac:chgData name="Anjali Dwivedi" userId="5d021d5d-7ae3-40c8-98f7-906717a708a8" providerId="ADAL" clId="{2884530C-1040-4F70-8FB5-F4391A53C901}" dt="2023-09-08T16:32:58.452" v="20" actId="478"/>
          <ac:spMkLst>
            <pc:docMk/>
            <pc:sldMk cId="1481326454" sldId="4819"/>
            <ac:spMk id="12" creationId="{62348C3D-A05B-4013-843D-7CC0F5197547}"/>
          </ac:spMkLst>
        </pc:spChg>
        <pc:spChg chg="add mod">
          <ac:chgData name="Anjali Dwivedi" userId="5d021d5d-7ae3-40c8-98f7-906717a708a8" providerId="ADAL" clId="{2884530C-1040-4F70-8FB5-F4391A53C901}" dt="2023-09-08T18:02:32.874" v="1475" actId="1076"/>
          <ac:spMkLst>
            <pc:docMk/>
            <pc:sldMk cId="1481326454" sldId="4819"/>
            <ac:spMk id="13" creationId="{E0727D7A-C1AE-4114-9541-85CA7D2AFE0F}"/>
          </ac:spMkLst>
        </pc:spChg>
        <pc:spChg chg="add mod">
          <ac:chgData name="Anjali Dwivedi" userId="5d021d5d-7ae3-40c8-98f7-906717a708a8" providerId="ADAL" clId="{2884530C-1040-4F70-8FB5-F4391A53C901}" dt="2023-09-08T19:18:35.469" v="2445" actId="1035"/>
          <ac:spMkLst>
            <pc:docMk/>
            <pc:sldMk cId="1481326454" sldId="4819"/>
            <ac:spMk id="14" creationId="{4C55B967-15C0-411A-BA1F-DE53F916E9D5}"/>
          </ac:spMkLst>
        </pc:spChg>
        <pc:spChg chg="add mod ord">
          <ac:chgData name="Anjali Dwivedi" userId="5d021d5d-7ae3-40c8-98f7-906717a708a8" providerId="ADAL" clId="{2884530C-1040-4F70-8FB5-F4391A53C901}" dt="2023-09-08T18:07:12.544" v="1612" actId="14861"/>
          <ac:spMkLst>
            <pc:docMk/>
            <pc:sldMk cId="1481326454" sldId="4819"/>
            <ac:spMk id="15" creationId="{76D87692-132F-4E51-8693-88F7B6A2A0E3}"/>
          </ac:spMkLst>
        </pc:spChg>
        <pc:spChg chg="add mod ord">
          <ac:chgData name="Anjali Dwivedi" userId="5d021d5d-7ae3-40c8-98f7-906717a708a8" providerId="ADAL" clId="{2884530C-1040-4F70-8FB5-F4391A53C901}" dt="2023-09-08T18:10:12.802" v="1626" actId="207"/>
          <ac:spMkLst>
            <pc:docMk/>
            <pc:sldMk cId="1481326454" sldId="4819"/>
            <ac:spMk id="16" creationId="{6C9E4EF4-5065-4C97-A5D5-54D9DE876DF6}"/>
          </ac:spMkLst>
        </pc:spChg>
        <pc:grpChg chg="add del mod">
          <ac:chgData name="Anjali Dwivedi" userId="5d021d5d-7ae3-40c8-98f7-906717a708a8" providerId="ADAL" clId="{2884530C-1040-4F70-8FB5-F4391A53C901}" dt="2023-09-08T18:01:40.483" v="1459" actId="478"/>
          <ac:grpSpMkLst>
            <pc:docMk/>
            <pc:sldMk cId="1481326454" sldId="4819"/>
            <ac:grpSpMk id="5" creationId="{61374B20-45C9-4A5C-B98A-B52219E25C27}"/>
          </ac:grpSpMkLst>
        </pc:grpChg>
        <pc:picChg chg="add mod ord">
          <ac:chgData name="Anjali Dwivedi" userId="5d021d5d-7ae3-40c8-98f7-906717a708a8" providerId="ADAL" clId="{2884530C-1040-4F70-8FB5-F4391A53C901}" dt="2023-09-08T18:08:43.176" v="1619" actId="170"/>
          <ac:picMkLst>
            <pc:docMk/>
            <pc:sldMk cId="1481326454" sldId="4819"/>
            <ac:picMk id="4" creationId="{468E8417-AEED-4597-981F-0A986620696C}"/>
          </ac:picMkLst>
        </pc:picChg>
      </pc:sldChg>
      <pc:sldChg chg="addSp delSp modSp del">
        <pc:chgData name="Anjali Dwivedi" userId="5d021d5d-7ae3-40c8-98f7-906717a708a8" providerId="ADAL" clId="{2884530C-1040-4F70-8FB5-F4391A53C901}" dt="2023-09-08T19:15:54.882" v="2431" actId="47"/>
        <pc:sldMkLst>
          <pc:docMk/>
          <pc:sldMk cId="3452608626" sldId="4871"/>
        </pc:sldMkLst>
        <pc:spChg chg="add del mod">
          <ac:chgData name="Anjali Dwivedi" userId="5d021d5d-7ae3-40c8-98f7-906717a708a8" providerId="ADAL" clId="{2884530C-1040-4F70-8FB5-F4391A53C901}" dt="2023-09-08T17:02:30.310" v="213"/>
          <ac:spMkLst>
            <pc:docMk/>
            <pc:sldMk cId="3452608626" sldId="4871"/>
            <ac:spMk id="41" creationId="{971712DB-B04B-4E73-98AC-D6955551607E}"/>
          </ac:spMkLst>
        </pc:spChg>
        <pc:spChg chg="add del mod">
          <ac:chgData name="Anjali Dwivedi" userId="5d021d5d-7ae3-40c8-98f7-906717a708a8" providerId="ADAL" clId="{2884530C-1040-4F70-8FB5-F4391A53C901}" dt="2023-09-08T17:02:30.310" v="213"/>
          <ac:spMkLst>
            <pc:docMk/>
            <pc:sldMk cId="3452608626" sldId="4871"/>
            <ac:spMk id="42" creationId="{B35929FA-4A02-4C0A-9CC5-77BDD02F2DC8}"/>
          </ac:spMkLst>
        </pc:spChg>
        <pc:spChg chg="add del mod">
          <ac:chgData name="Anjali Dwivedi" userId="5d021d5d-7ae3-40c8-98f7-906717a708a8" providerId="ADAL" clId="{2884530C-1040-4F70-8FB5-F4391A53C901}" dt="2023-09-08T17:02:30.310" v="213"/>
          <ac:spMkLst>
            <pc:docMk/>
            <pc:sldMk cId="3452608626" sldId="4871"/>
            <ac:spMk id="43" creationId="{F0F7E27D-C22B-46BF-972D-7038FE351BA3}"/>
          </ac:spMkLst>
        </pc:spChg>
        <pc:spChg chg="add del mod">
          <ac:chgData name="Anjali Dwivedi" userId="5d021d5d-7ae3-40c8-98f7-906717a708a8" providerId="ADAL" clId="{2884530C-1040-4F70-8FB5-F4391A53C901}" dt="2023-09-08T17:02:30.310" v="213"/>
          <ac:spMkLst>
            <pc:docMk/>
            <pc:sldMk cId="3452608626" sldId="4871"/>
            <ac:spMk id="44" creationId="{F0B0DC5D-F739-48D2-AE9F-E5AF0AC614BC}"/>
          </ac:spMkLst>
        </pc:spChg>
        <pc:spChg chg="add del mod">
          <ac:chgData name="Anjali Dwivedi" userId="5d021d5d-7ae3-40c8-98f7-906717a708a8" providerId="ADAL" clId="{2884530C-1040-4F70-8FB5-F4391A53C901}" dt="2023-09-08T17:02:30.310" v="213"/>
          <ac:spMkLst>
            <pc:docMk/>
            <pc:sldMk cId="3452608626" sldId="4871"/>
            <ac:spMk id="45" creationId="{186BAB53-923B-4D63-88AD-24B654454F8E}"/>
          </ac:spMkLst>
        </pc:spChg>
        <pc:spChg chg="add del mod">
          <ac:chgData name="Anjali Dwivedi" userId="5d021d5d-7ae3-40c8-98f7-906717a708a8" providerId="ADAL" clId="{2884530C-1040-4F70-8FB5-F4391A53C901}" dt="2023-09-08T17:02:30.310" v="213"/>
          <ac:spMkLst>
            <pc:docMk/>
            <pc:sldMk cId="3452608626" sldId="4871"/>
            <ac:spMk id="46" creationId="{6458B812-3C07-412A-A783-05A5CB80D385}"/>
          </ac:spMkLst>
        </pc:spChg>
        <pc:spChg chg="add del mod">
          <ac:chgData name="Anjali Dwivedi" userId="5d021d5d-7ae3-40c8-98f7-906717a708a8" providerId="ADAL" clId="{2884530C-1040-4F70-8FB5-F4391A53C901}" dt="2023-09-08T17:02:30.310" v="213"/>
          <ac:spMkLst>
            <pc:docMk/>
            <pc:sldMk cId="3452608626" sldId="4871"/>
            <ac:spMk id="47" creationId="{E4F4034B-5EE7-4BB3-AAB1-466764ED847D}"/>
          </ac:spMkLst>
        </pc:spChg>
        <pc:spChg chg="add del mod">
          <ac:chgData name="Anjali Dwivedi" userId="5d021d5d-7ae3-40c8-98f7-906717a708a8" providerId="ADAL" clId="{2884530C-1040-4F70-8FB5-F4391A53C901}" dt="2023-09-08T17:02:30.310" v="213"/>
          <ac:spMkLst>
            <pc:docMk/>
            <pc:sldMk cId="3452608626" sldId="4871"/>
            <ac:spMk id="48" creationId="{46BF53F1-A455-4D55-BFB0-87714052E23E}"/>
          </ac:spMkLst>
        </pc:spChg>
        <pc:spChg chg="add del mod">
          <ac:chgData name="Anjali Dwivedi" userId="5d021d5d-7ae3-40c8-98f7-906717a708a8" providerId="ADAL" clId="{2884530C-1040-4F70-8FB5-F4391A53C901}" dt="2023-09-08T17:02:30.310" v="213"/>
          <ac:spMkLst>
            <pc:docMk/>
            <pc:sldMk cId="3452608626" sldId="4871"/>
            <ac:spMk id="49" creationId="{66BF400E-A5B3-4F83-B135-9EA1213723A1}"/>
          </ac:spMkLst>
        </pc:spChg>
      </pc:sldChg>
      <pc:sldChg chg="addSp delSp modSp del mod">
        <pc:chgData name="Anjali Dwivedi" userId="5d021d5d-7ae3-40c8-98f7-906717a708a8" providerId="ADAL" clId="{2884530C-1040-4F70-8FB5-F4391A53C901}" dt="2023-09-08T17:31:27.741" v="862" actId="47"/>
        <pc:sldMkLst>
          <pc:docMk/>
          <pc:sldMk cId="3295215869" sldId="4872"/>
        </pc:sldMkLst>
        <pc:spChg chg="add mod">
          <ac:chgData name="Anjali Dwivedi" userId="5d021d5d-7ae3-40c8-98f7-906717a708a8" providerId="ADAL" clId="{2884530C-1040-4F70-8FB5-F4391A53C901}" dt="2023-09-08T16:54:55.049" v="210" actId="404"/>
          <ac:spMkLst>
            <pc:docMk/>
            <pc:sldMk cId="3295215869" sldId="4872"/>
            <ac:spMk id="2" creationId="{F8078296-DA4B-412C-9ABC-DC6FED3D3304}"/>
          </ac:spMkLst>
        </pc:spChg>
        <pc:spChg chg="mod">
          <ac:chgData name="Anjali Dwivedi" userId="5d021d5d-7ae3-40c8-98f7-906717a708a8" providerId="ADAL" clId="{2884530C-1040-4F70-8FB5-F4391A53C901}" dt="2023-09-08T16:51:49.429" v="134" actId="207"/>
          <ac:spMkLst>
            <pc:docMk/>
            <pc:sldMk cId="3295215869" sldId="4872"/>
            <ac:spMk id="21" creationId="{9624A37E-057E-B62E-5930-7D5DDE0EB981}"/>
          </ac:spMkLst>
        </pc:spChg>
        <pc:spChg chg="mod">
          <ac:chgData name="Anjali Dwivedi" userId="5d021d5d-7ae3-40c8-98f7-906717a708a8" providerId="ADAL" clId="{2884530C-1040-4F70-8FB5-F4391A53C901}" dt="2023-09-08T16:42:23.929" v="102" actId="1076"/>
          <ac:spMkLst>
            <pc:docMk/>
            <pc:sldMk cId="3295215869" sldId="4872"/>
            <ac:spMk id="22" creationId="{03C31852-D904-6A76-78A0-5BBB5216337D}"/>
          </ac:spMkLst>
        </pc:spChg>
        <pc:spChg chg="add mod">
          <ac:chgData name="Anjali Dwivedi" userId="5d021d5d-7ae3-40c8-98f7-906717a708a8" providerId="ADAL" clId="{2884530C-1040-4F70-8FB5-F4391A53C901}" dt="2023-09-08T16:43:32.429" v="109" actId="1035"/>
          <ac:spMkLst>
            <pc:docMk/>
            <pc:sldMk cId="3295215869" sldId="4872"/>
            <ac:spMk id="23" creationId="{42FD9717-4F87-4417-856B-39A348C1C298}"/>
          </ac:spMkLst>
        </pc:spChg>
        <pc:spChg chg="mod">
          <ac:chgData name="Anjali Dwivedi" userId="5d021d5d-7ae3-40c8-98f7-906717a708a8" providerId="ADAL" clId="{2884530C-1040-4F70-8FB5-F4391A53C901}" dt="2023-09-08T16:43:09.858" v="104" actId="571"/>
          <ac:spMkLst>
            <pc:docMk/>
            <pc:sldMk cId="3295215869" sldId="4872"/>
            <ac:spMk id="33" creationId="{DF3C93E6-9659-4570-BDDD-492F362F8E6B}"/>
          </ac:spMkLst>
        </pc:spChg>
        <pc:spChg chg="mod">
          <ac:chgData name="Anjali Dwivedi" userId="5d021d5d-7ae3-40c8-98f7-906717a708a8" providerId="ADAL" clId="{2884530C-1040-4F70-8FB5-F4391A53C901}" dt="2023-09-08T16:43:09.858" v="104" actId="571"/>
          <ac:spMkLst>
            <pc:docMk/>
            <pc:sldMk cId="3295215869" sldId="4872"/>
            <ac:spMk id="34" creationId="{474DF98A-14AB-4FDF-A5CE-DAB9FDD8F695}"/>
          </ac:spMkLst>
        </pc:spChg>
        <pc:spChg chg="mod">
          <ac:chgData name="Anjali Dwivedi" userId="5d021d5d-7ae3-40c8-98f7-906717a708a8" providerId="ADAL" clId="{2884530C-1040-4F70-8FB5-F4391A53C901}" dt="2023-09-08T16:52:18.909" v="138" actId="207"/>
          <ac:spMkLst>
            <pc:docMk/>
            <pc:sldMk cId="3295215869" sldId="4872"/>
            <ac:spMk id="36" creationId="{F0BC1140-FAAC-5831-2836-EFA3FB4971F3}"/>
          </ac:spMkLst>
        </pc:spChg>
        <pc:spChg chg="mod">
          <ac:chgData name="Anjali Dwivedi" userId="5d021d5d-7ae3-40c8-98f7-906717a708a8" providerId="ADAL" clId="{2884530C-1040-4F70-8FB5-F4391A53C901}" dt="2023-09-08T16:52:25.052" v="139" actId="207"/>
          <ac:spMkLst>
            <pc:docMk/>
            <pc:sldMk cId="3295215869" sldId="4872"/>
            <ac:spMk id="37" creationId="{771737BA-DDB2-0F72-6F8F-87D8EE3A8F5B}"/>
          </ac:spMkLst>
        </pc:spChg>
        <pc:spChg chg="add mod">
          <ac:chgData name="Anjali Dwivedi" userId="5d021d5d-7ae3-40c8-98f7-906717a708a8" providerId="ADAL" clId="{2884530C-1040-4F70-8FB5-F4391A53C901}" dt="2023-09-08T16:52:30.141" v="140" actId="207"/>
          <ac:spMkLst>
            <pc:docMk/>
            <pc:sldMk cId="3295215869" sldId="4872"/>
            <ac:spMk id="38" creationId="{21B5C31E-9140-4C36-A15D-2318A5FB8EA5}"/>
          </ac:spMkLst>
        </pc:spChg>
        <pc:spChg chg="add mod">
          <ac:chgData name="Anjali Dwivedi" userId="5d021d5d-7ae3-40c8-98f7-906717a708a8" providerId="ADAL" clId="{2884530C-1040-4F70-8FB5-F4391A53C901}" dt="2023-09-08T16:54:58.735" v="211"/>
          <ac:spMkLst>
            <pc:docMk/>
            <pc:sldMk cId="3295215869" sldId="4872"/>
            <ac:spMk id="39" creationId="{8951005B-769C-406C-A29E-7611B7277A13}"/>
          </ac:spMkLst>
        </pc:spChg>
        <pc:spChg chg="add del mod">
          <ac:chgData name="Anjali Dwivedi" userId="5d021d5d-7ae3-40c8-98f7-906717a708a8" providerId="ADAL" clId="{2884530C-1040-4F70-8FB5-F4391A53C901}" dt="2023-09-08T16:50:49.954" v="129" actId="478"/>
          <ac:spMkLst>
            <pc:docMk/>
            <pc:sldMk cId="3295215869" sldId="4872"/>
            <ac:spMk id="40" creationId="{CC72BCB8-4B52-4046-9448-E5CCAC8477B7}"/>
          </ac:spMkLst>
        </pc:spChg>
        <pc:spChg chg="add del mod">
          <ac:chgData name="Anjali Dwivedi" userId="5d021d5d-7ae3-40c8-98f7-906717a708a8" providerId="ADAL" clId="{2884530C-1040-4F70-8FB5-F4391A53C901}" dt="2023-09-08T16:53:58.436" v="149"/>
          <ac:spMkLst>
            <pc:docMk/>
            <pc:sldMk cId="3295215869" sldId="4872"/>
            <ac:spMk id="41" creationId="{BC6F53A9-2907-4439-A614-A0CF5071D8A0}"/>
          </ac:spMkLst>
        </pc:spChg>
        <pc:spChg chg="del">
          <ac:chgData name="Anjali Dwivedi" userId="5d021d5d-7ae3-40c8-98f7-906717a708a8" providerId="ADAL" clId="{2884530C-1040-4F70-8FB5-F4391A53C901}" dt="2023-09-08T16:43:57.934" v="115" actId="478"/>
          <ac:spMkLst>
            <pc:docMk/>
            <pc:sldMk cId="3295215869" sldId="4872"/>
            <ac:spMk id="44" creationId="{7DCD1069-A6F1-5DDE-9B84-85EA9446AA49}"/>
          </ac:spMkLst>
        </pc:spChg>
        <pc:spChg chg="mod">
          <ac:chgData name="Anjali Dwivedi" userId="5d021d5d-7ae3-40c8-98f7-906717a708a8" providerId="ADAL" clId="{2884530C-1040-4F70-8FB5-F4391A53C901}" dt="2023-09-08T16:44:02.097" v="117" actId="6549"/>
          <ac:spMkLst>
            <pc:docMk/>
            <pc:sldMk cId="3295215869" sldId="4872"/>
            <ac:spMk id="46" creationId="{238F6754-7111-13DE-887B-68743A098ED2}"/>
          </ac:spMkLst>
        </pc:spChg>
        <pc:spChg chg="del">
          <ac:chgData name="Anjali Dwivedi" userId="5d021d5d-7ae3-40c8-98f7-906717a708a8" providerId="ADAL" clId="{2884530C-1040-4F70-8FB5-F4391A53C901}" dt="2023-09-08T16:44:06.692" v="118" actId="478"/>
          <ac:spMkLst>
            <pc:docMk/>
            <pc:sldMk cId="3295215869" sldId="4872"/>
            <ac:spMk id="49" creationId="{534489F4-479F-3856-FCE9-B806D3BF3143}"/>
          </ac:spMkLst>
        </pc:spChg>
        <pc:spChg chg="mod">
          <ac:chgData name="Anjali Dwivedi" userId="5d021d5d-7ae3-40c8-98f7-906717a708a8" providerId="ADAL" clId="{2884530C-1040-4F70-8FB5-F4391A53C901}" dt="2023-09-08T16:42:23.929" v="102" actId="1076"/>
          <ac:spMkLst>
            <pc:docMk/>
            <pc:sldMk cId="3295215869" sldId="4872"/>
            <ac:spMk id="50" creationId="{D63598B1-94D5-4C75-B055-661FCE97A6D2}"/>
          </ac:spMkLst>
        </pc:spChg>
        <pc:spChg chg="mod">
          <ac:chgData name="Anjali Dwivedi" userId="5d021d5d-7ae3-40c8-98f7-906717a708a8" providerId="ADAL" clId="{2884530C-1040-4F70-8FB5-F4391A53C901}" dt="2023-09-08T16:42:23.929" v="102" actId="1076"/>
          <ac:spMkLst>
            <pc:docMk/>
            <pc:sldMk cId="3295215869" sldId="4872"/>
            <ac:spMk id="51" creationId="{FEFE8D5C-18D9-E44A-1169-DDED1A0EFADB}"/>
          </ac:spMkLst>
        </pc:spChg>
        <pc:grpChg chg="mod">
          <ac:chgData name="Anjali Dwivedi" userId="5d021d5d-7ae3-40c8-98f7-906717a708a8" providerId="ADAL" clId="{2884530C-1040-4F70-8FB5-F4391A53C901}" dt="2023-09-08T16:43:16.743" v="106" actId="14100"/>
          <ac:grpSpMkLst>
            <pc:docMk/>
            <pc:sldMk cId="3295215869" sldId="4872"/>
            <ac:grpSpMk id="24" creationId="{E62B08B2-1150-7583-F377-2C37D36167AC}"/>
          </ac:grpSpMkLst>
        </pc:grpChg>
        <pc:grpChg chg="mod">
          <ac:chgData name="Anjali Dwivedi" userId="5d021d5d-7ae3-40c8-98f7-906717a708a8" providerId="ADAL" clId="{2884530C-1040-4F70-8FB5-F4391A53C901}" dt="2023-09-08T16:42:31.188" v="103" actId="14100"/>
          <ac:grpSpMkLst>
            <pc:docMk/>
            <pc:sldMk cId="3295215869" sldId="4872"/>
            <ac:grpSpMk id="28" creationId="{0A6A868E-F0AD-7961-275E-7E9560C2EE44}"/>
          </ac:grpSpMkLst>
        </pc:grpChg>
        <pc:grpChg chg="add mod">
          <ac:chgData name="Anjali Dwivedi" userId="5d021d5d-7ae3-40c8-98f7-906717a708a8" providerId="ADAL" clId="{2884530C-1040-4F70-8FB5-F4391A53C901}" dt="2023-09-08T16:43:09.858" v="104" actId="571"/>
          <ac:grpSpMkLst>
            <pc:docMk/>
            <pc:sldMk cId="3295215869" sldId="4872"/>
            <ac:grpSpMk id="32" creationId="{ACC20458-B352-4BFF-BA6A-3AD88A966D3F}"/>
          </ac:grpSpMkLst>
        </pc:grpChg>
        <pc:grpChg chg="del">
          <ac:chgData name="Anjali Dwivedi" userId="5d021d5d-7ae3-40c8-98f7-906717a708a8" providerId="ADAL" clId="{2884530C-1040-4F70-8FB5-F4391A53C901}" dt="2023-09-08T16:44:07.722" v="119" actId="478"/>
          <ac:grpSpMkLst>
            <pc:docMk/>
            <pc:sldMk cId="3295215869" sldId="4872"/>
            <ac:grpSpMk id="45" creationId="{5C29321E-24FA-AF12-B725-B9958CA0AEA3}"/>
          </ac:grpSpMkLst>
        </pc:grpChg>
        <pc:cxnChg chg="mod">
          <ac:chgData name="Anjali Dwivedi" userId="5d021d5d-7ae3-40c8-98f7-906717a708a8" providerId="ADAL" clId="{2884530C-1040-4F70-8FB5-F4391A53C901}" dt="2023-09-08T16:43:48.710" v="112" actId="1035"/>
          <ac:cxnSpMkLst>
            <pc:docMk/>
            <pc:sldMk cId="3295215869" sldId="4872"/>
            <ac:cxnSpMk id="35" creationId="{34E39C4F-3BB1-40EC-98D9-BEDCEA280AB1}"/>
          </ac:cxnSpMkLst>
        </pc:cxnChg>
      </pc:sldChg>
      <pc:sldChg chg="modSp del mod">
        <pc:chgData name="Anjali Dwivedi" userId="5d021d5d-7ae3-40c8-98f7-906717a708a8" providerId="ADAL" clId="{2884530C-1040-4F70-8FB5-F4391A53C901}" dt="2023-09-08T18:59:48.434" v="1802" actId="47"/>
        <pc:sldMkLst>
          <pc:docMk/>
          <pc:sldMk cId="3324184534" sldId="4873"/>
        </pc:sldMkLst>
        <pc:spChg chg="mod">
          <ac:chgData name="Anjali Dwivedi" userId="5d021d5d-7ae3-40c8-98f7-906717a708a8" providerId="ADAL" clId="{2884530C-1040-4F70-8FB5-F4391A53C901}" dt="2023-09-08T17:59:36.886" v="1455" actId="14100"/>
          <ac:spMkLst>
            <pc:docMk/>
            <pc:sldMk cId="3324184534" sldId="4873"/>
            <ac:spMk id="6" creationId="{90F55759-1492-9F02-0863-A08285FBE928}"/>
          </ac:spMkLst>
        </pc:spChg>
        <pc:spChg chg="mod">
          <ac:chgData name="Anjali Dwivedi" userId="5d021d5d-7ae3-40c8-98f7-906717a708a8" providerId="ADAL" clId="{2884530C-1040-4F70-8FB5-F4391A53C901}" dt="2023-09-08T17:58:35.477" v="1453" actId="14861"/>
          <ac:spMkLst>
            <pc:docMk/>
            <pc:sldMk cId="3324184534" sldId="4873"/>
            <ac:spMk id="28" creationId="{0FDF84BD-0E5B-E33D-2CC8-52547465B990}"/>
          </ac:spMkLst>
        </pc:spChg>
        <pc:spChg chg="mod">
          <ac:chgData name="Anjali Dwivedi" userId="5d021d5d-7ae3-40c8-98f7-906717a708a8" providerId="ADAL" clId="{2884530C-1040-4F70-8FB5-F4391A53C901}" dt="2023-09-08T17:59:11.982" v="1454" actId="14861"/>
          <ac:spMkLst>
            <pc:docMk/>
            <pc:sldMk cId="3324184534" sldId="4873"/>
            <ac:spMk id="29" creationId="{F32975CC-4EC5-0801-4BB8-28EA1B9B7FB7}"/>
          </ac:spMkLst>
        </pc:spChg>
        <pc:spChg chg="mod">
          <ac:chgData name="Anjali Dwivedi" userId="5d021d5d-7ae3-40c8-98f7-906717a708a8" providerId="ADAL" clId="{2884530C-1040-4F70-8FB5-F4391A53C901}" dt="2023-09-08T17:59:11.982" v="1454" actId="14861"/>
          <ac:spMkLst>
            <pc:docMk/>
            <pc:sldMk cId="3324184534" sldId="4873"/>
            <ac:spMk id="30" creationId="{841A5629-287B-A713-2408-EC82BCB23F28}"/>
          </ac:spMkLst>
        </pc:spChg>
        <pc:spChg chg="mod">
          <ac:chgData name="Anjali Dwivedi" userId="5d021d5d-7ae3-40c8-98f7-906717a708a8" providerId="ADAL" clId="{2884530C-1040-4F70-8FB5-F4391A53C901}" dt="2023-09-08T17:59:11.982" v="1454" actId="14861"/>
          <ac:spMkLst>
            <pc:docMk/>
            <pc:sldMk cId="3324184534" sldId="4873"/>
            <ac:spMk id="31" creationId="{DF7A5BCD-9EB7-FC6A-44CD-7D856A7C10FE}"/>
          </ac:spMkLst>
        </pc:spChg>
        <pc:spChg chg="mod">
          <ac:chgData name="Anjali Dwivedi" userId="5d021d5d-7ae3-40c8-98f7-906717a708a8" providerId="ADAL" clId="{2884530C-1040-4F70-8FB5-F4391A53C901}" dt="2023-09-08T17:59:11.982" v="1454" actId="14861"/>
          <ac:spMkLst>
            <pc:docMk/>
            <pc:sldMk cId="3324184534" sldId="4873"/>
            <ac:spMk id="32" creationId="{C77BCA6A-1E18-435F-E91B-0B226E9229C4}"/>
          </ac:spMkLst>
        </pc:spChg>
        <pc:spChg chg="mod">
          <ac:chgData name="Anjali Dwivedi" userId="5d021d5d-7ae3-40c8-98f7-906717a708a8" providerId="ADAL" clId="{2884530C-1040-4F70-8FB5-F4391A53C901}" dt="2023-09-08T17:58:35.477" v="1453" actId="14861"/>
          <ac:spMkLst>
            <pc:docMk/>
            <pc:sldMk cId="3324184534" sldId="4873"/>
            <ac:spMk id="33" creationId="{03128477-DD9B-F0A9-7808-30ECC7F02EAE}"/>
          </ac:spMkLst>
        </pc:spChg>
        <pc:spChg chg="mod">
          <ac:chgData name="Anjali Dwivedi" userId="5d021d5d-7ae3-40c8-98f7-906717a708a8" providerId="ADAL" clId="{2884530C-1040-4F70-8FB5-F4391A53C901}" dt="2023-09-08T17:58:35.477" v="1453" actId="14861"/>
          <ac:spMkLst>
            <pc:docMk/>
            <pc:sldMk cId="3324184534" sldId="4873"/>
            <ac:spMk id="34" creationId="{5126BBD7-D0E4-25A4-F558-C0F1DF6C0BCE}"/>
          </ac:spMkLst>
        </pc:spChg>
        <pc:spChg chg="mod">
          <ac:chgData name="Anjali Dwivedi" userId="5d021d5d-7ae3-40c8-98f7-906717a708a8" providerId="ADAL" clId="{2884530C-1040-4F70-8FB5-F4391A53C901}" dt="2023-09-08T17:58:35.477" v="1453" actId="14861"/>
          <ac:spMkLst>
            <pc:docMk/>
            <pc:sldMk cId="3324184534" sldId="4873"/>
            <ac:spMk id="35" creationId="{3A0C9C47-1C86-07C3-7DF3-E7DDFD3EF1F5}"/>
          </ac:spMkLst>
        </pc:spChg>
        <pc:spChg chg="mod">
          <ac:chgData name="Anjali Dwivedi" userId="5d021d5d-7ae3-40c8-98f7-906717a708a8" providerId="ADAL" clId="{2884530C-1040-4F70-8FB5-F4391A53C901}" dt="2023-09-08T17:58:35.477" v="1453" actId="14861"/>
          <ac:spMkLst>
            <pc:docMk/>
            <pc:sldMk cId="3324184534" sldId="4873"/>
            <ac:spMk id="36" creationId="{3C49449E-EC7E-D719-FB87-46C4C3079949}"/>
          </ac:spMkLst>
        </pc:spChg>
        <pc:spChg chg="mod">
          <ac:chgData name="Anjali Dwivedi" userId="5d021d5d-7ae3-40c8-98f7-906717a708a8" providerId="ADAL" clId="{2884530C-1040-4F70-8FB5-F4391A53C901}" dt="2023-09-08T17:59:11.982" v="1454" actId="14861"/>
          <ac:spMkLst>
            <pc:docMk/>
            <pc:sldMk cId="3324184534" sldId="4873"/>
            <ac:spMk id="37" creationId="{1C8E7DDD-68ED-EF94-DFDB-1E0881A3F5D0}"/>
          </ac:spMkLst>
        </pc:spChg>
        <pc:spChg chg="mod">
          <ac:chgData name="Anjali Dwivedi" userId="5d021d5d-7ae3-40c8-98f7-906717a708a8" providerId="ADAL" clId="{2884530C-1040-4F70-8FB5-F4391A53C901}" dt="2023-09-08T17:58:35.477" v="1453" actId="14861"/>
          <ac:spMkLst>
            <pc:docMk/>
            <pc:sldMk cId="3324184534" sldId="4873"/>
            <ac:spMk id="38" creationId="{442E3632-0A43-6D03-DAFD-CE27C510E7DC}"/>
          </ac:spMkLst>
        </pc:spChg>
        <pc:spChg chg="mod">
          <ac:chgData name="Anjali Dwivedi" userId="5d021d5d-7ae3-40c8-98f7-906717a708a8" providerId="ADAL" clId="{2884530C-1040-4F70-8FB5-F4391A53C901}" dt="2023-09-08T17:58:35.477" v="1453" actId="14861"/>
          <ac:spMkLst>
            <pc:docMk/>
            <pc:sldMk cId="3324184534" sldId="4873"/>
            <ac:spMk id="39" creationId="{E0C2A74A-83C3-7A7C-20C7-DC8741BBE793}"/>
          </ac:spMkLst>
        </pc:spChg>
        <pc:spChg chg="mod">
          <ac:chgData name="Anjali Dwivedi" userId="5d021d5d-7ae3-40c8-98f7-906717a708a8" providerId="ADAL" clId="{2884530C-1040-4F70-8FB5-F4391A53C901}" dt="2023-09-08T17:58:35.477" v="1453" actId="14861"/>
          <ac:spMkLst>
            <pc:docMk/>
            <pc:sldMk cId="3324184534" sldId="4873"/>
            <ac:spMk id="40" creationId="{B4590D65-21B1-51BE-EBF5-D8131E270385}"/>
          </ac:spMkLst>
        </pc:spChg>
        <pc:spChg chg="mod">
          <ac:chgData name="Anjali Dwivedi" userId="5d021d5d-7ae3-40c8-98f7-906717a708a8" providerId="ADAL" clId="{2884530C-1040-4F70-8FB5-F4391A53C901}" dt="2023-09-08T17:58:35.477" v="1453" actId="14861"/>
          <ac:spMkLst>
            <pc:docMk/>
            <pc:sldMk cId="3324184534" sldId="4873"/>
            <ac:spMk id="41" creationId="{6E85571C-0F42-A29A-C22E-CA794ED40D52}"/>
          </ac:spMkLst>
        </pc:spChg>
        <pc:spChg chg="mod">
          <ac:chgData name="Anjali Dwivedi" userId="5d021d5d-7ae3-40c8-98f7-906717a708a8" providerId="ADAL" clId="{2884530C-1040-4F70-8FB5-F4391A53C901}" dt="2023-09-08T17:58:35.477" v="1453" actId="14861"/>
          <ac:spMkLst>
            <pc:docMk/>
            <pc:sldMk cId="3324184534" sldId="4873"/>
            <ac:spMk id="42" creationId="{7B9066C9-290C-D840-6685-1AA039CCCF47}"/>
          </ac:spMkLst>
        </pc:spChg>
        <pc:spChg chg="mod">
          <ac:chgData name="Anjali Dwivedi" userId="5d021d5d-7ae3-40c8-98f7-906717a708a8" providerId="ADAL" clId="{2884530C-1040-4F70-8FB5-F4391A53C901}" dt="2023-09-08T17:58:35.477" v="1453" actId="14861"/>
          <ac:spMkLst>
            <pc:docMk/>
            <pc:sldMk cId="3324184534" sldId="4873"/>
            <ac:spMk id="43" creationId="{EECB366C-3102-A2DE-E6A1-2B68A3540E2C}"/>
          </ac:spMkLst>
        </pc:spChg>
        <pc:spChg chg="mod">
          <ac:chgData name="Anjali Dwivedi" userId="5d021d5d-7ae3-40c8-98f7-906717a708a8" providerId="ADAL" clId="{2884530C-1040-4F70-8FB5-F4391A53C901}" dt="2023-09-08T17:58:35.477" v="1453" actId="14861"/>
          <ac:spMkLst>
            <pc:docMk/>
            <pc:sldMk cId="3324184534" sldId="4873"/>
            <ac:spMk id="44" creationId="{E7C6AB2D-C79B-64FD-0C1D-75BF3C76883F}"/>
          </ac:spMkLst>
        </pc:spChg>
        <pc:spChg chg="mod">
          <ac:chgData name="Anjali Dwivedi" userId="5d021d5d-7ae3-40c8-98f7-906717a708a8" providerId="ADAL" clId="{2884530C-1040-4F70-8FB5-F4391A53C901}" dt="2023-09-08T17:58:35.477" v="1453" actId="14861"/>
          <ac:spMkLst>
            <pc:docMk/>
            <pc:sldMk cId="3324184534" sldId="4873"/>
            <ac:spMk id="46" creationId="{1FE7B7B3-3F87-AC7E-53E4-4CC2F8948CA0}"/>
          </ac:spMkLst>
        </pc:spChg>
        <pc:spChg chg="mod">
          <ac:chgData name="Anjali Dwivedi" userId="5d021d5d-7ae3-40c8-98f7-906717a708a8" providerId="ADAL" clId="{2884530C-1040-4F70-8FB5-F4391A53C901}" dt="2023-09-08T17:58:35.477" v="1453" actId="14861"/>
          <ac:spMkLst>
            <pc:docMk/>
            <pc:sldMk cId="3324184534" sldId="4873"/>
            <ac:spMk id="47" creationId="{466F35DC-0642-EDB9-D87D-29156CEB4EBA}"/>
          </ac:spMkLst>
        </pc:spChg>
      </pc:sldChg>
      <pc:sldChg chg="addSp delSp modSp mod">
        <pc:chgData name="Anjali Dwivedi" userId="5d021d5d-7ae3-40c8-98f7-906717a708a8" providerId="ADAL" clId="{2884530C-1040-4F70-8FB5-F4391A53C901}" dt="2023-09-08T19:23:01.325" v="2451" actId="2711"/>
        <pc:sldMkLst>
          <pc:docMk/>
          <pc:sldMk cId="916565778" sldId="4874"/>
        </pc:sldMkLst>
        <pc:spChg chg="del mod">
          <ac:chgData name="Anjali Dwivedi" userId="5d021d5d-7ae3-40c8-98f7-906717a708a8" providerId="ADAL" clId="{2884530C-1040-4F70-8FB5-F4391A53C901}" dt="2023-09-08T17:35:32.526" v="873" actId="478"/>
          <ac:spMkLst>
            <pc:docMk/>
            <pc:sldMk cId="916565778" sldId="4874"/>
            <ac:spMk id="2" creationId="{8DD760C1-5707-39B7-FD08-FBDCEE85191C}"/>
          </ac:spMkLst>
        </pc:spChg>
        <pc:spChg chg="mod">
          <ac:chgData name="Anjali Dwivedi" userId="5d021d5d-7ae3-40c8-98f7-906717a708a8" providerId="ADAL" clId="{2884530C-1040-4F70-8FB5-F4391A53C901}" dt="2023-09-08T19:23:01.325" v="2451" actId="2711"/>
          <ac:spMkLst>
            <pc:docMk/>
            <pc:sldMk cId="916565778" sldId="4874"/>
            <ac:spMk id="3" creationId="{C994091E-296F-FE4D-766C-89802AE41C39}"/>
          </ac:spMkLst>
        </pc:spChg>
        <pc:spChg chg="del">
          <ac:chgData name="Anjali Dwivedi" userId="5d021d5d-7ae3-40c8-98f7-906717a708a8" providerId="ADAL" clId="{2884530C-1040-4F70-8FB5-F4391A53C901}" dt="2023-09-08T17:35:32.526" v="873" actId="478"/>
          <ac:spMkLst>
            <pc:docMk/>
            <pc:sldMk cId="916565778" sldId="4874"/>
            <ac:spMk id="42" creationId="{5D3ED879-6787-0FEA-54D5-947727066A95}"/>
          </ac:spMkLst>
        </pc:spChg>
        <pc:spChg chg="add del mod">
          <ac:chgData name="Anjali Dwivedi" userId="5d021d5d-7ae3-40c8-98f7-906717a708a8" providerId="ADAL" clId="{2884530C-1040-4F70-8FB5-F4391A53C901}" dt="2023-09-08T17:35:34.449" v="874" actId="478"/>
          <ac:spMkLst>
            <pc:docMk/>
            <pc:sldMk cId="916565778" sldId="4874"/>
            <ac:spMk id="43" creationId="{81608FEC-58C7-47E9-8370-F9268B61D2A7}"/>
          </ac:spMkLst>
        </pc:spChg>
        <pc:spChg chg="add del mod">
          <ac:chgData name="Anjali Dwivedi" userId="5d021d5d-7ae3-40c8-98f7-906717a708a8" providerId="ADAL" clId="{2884530C-1040-4F70-8FB5-F4391A53C901}" dt="2023-09-08T17:36:37.352" v="879" actId="478"/>
          <ac:spMkLst>
            <pc:docMk/>
            <pc:sldMk cId="916565778" sldId="4874"/>
            <ac:spMk id="53" creationId="{7EB278E9-83E6-4F26-8882-6D93DC17A3F4}"/>
          </ac:spMkLst>
        </pc:spChg>
        <pc:spChg chg="add mod">
          <ac:chgData name="Anjali Dwivedi" userId="5d021d5d-7ae3-40c8-98f7-906717a708a8" providerId="ADAL" clId="{2884530C-1040-4F70-8FB5-F4391A53C901}" dt="2023-09-08T19:23:01.325" v="2451" actId="2711"/>
          <ac:spMkLst>
            <pc:docMk/>
            <pc:sldMk cId="916565778" sldId="4874"/>
            <ac:spMk id="54" creationId="{237EF04A-38C6-4C80-AB9F-ED56DD080924}"/>
          </ac:spMkLst>
        </pc:spChg>
        <pc:spChg chg="add mod">
          <ac:chgData name="Anjali Dwivedi" userId="5d021d5d-7ae3-40c8-98f7-906717a708a8" providerId="ADAL" clId="{2884530C-1040-4F70-8FB5-F4391A53C901}" dt="2023-09-08T19:23:01.325" v="2451" actId="2711"/>
          <ac:spMkLst>
            <pc:docMk/>
            <pc:sldMk cId="916565778" sldId="4874"/>
            <ac:spMk id="55" creationId="{0F44E737-950A-4786-B12F-E5A3B425624A}"/>
          </ac:spMkLst>
        </pc:spChg>
        <pc:spChg chg="add del mod">
          <ac:chgData name="Anjali Dwivedi" userId="5d021d5d-7ae3-40c8-98f7-906717a708a8" providerId="ADAL" clId="{2884530C-1040-4F70-8FB5-F4391A53C901}" dt="2023-09-08T17:36:41.965" v="882" actId="478"/>
          <ac:spMkLst>
            <pc:docMk/>
            <pc:sldMk cId="916565778" sldId="4874"/>
            <ac:spMk id="56" creationId="{E4B9FB54-E4D1-4D20-974E-64A4207FC706}"/>
          </ac:spMkLst>
        </pc:spChg>
        <pc:spChg chg="add del mod">
          <ac:chgData name="Anjali Dwivedi" userId="5d021d5d-7ae3-40c8-98f7-906717a708a8" providerId="ADAL" clId="{2884530C-1040-4F70-8FB5-F4391A53C901}" dt="2023-09-08T17:36:37.352" v="879" actId="478"/>
          <ac:spMkLst>
            <pc:docMk/>
            <pc:sldMk cId="916565778" sldId="4874"/>
            <ac:spMk id="57" creationId="{52A547EF-FF1E-418D-8F23-88594039CB48}"/>
          </ac:spMkLst>
        </pc:spChg>
        <pc:spChg chg="add del mod">
          <ac:chgData name="Anjali Dwivedi" userId="5d021d5d-7ae3-40c8-98f7-906717a708a8" providerId="ADAL" clId="{2884530C-1040-4F70-8FB5-F4391A53C901}" dt="2023-09-08T17:36:37.352" v="879" actId="478"/>
          <ac:spMkLst>
            <pc:docMk/>
            <pc:sldMk cId="916565778" sldId="4874"/>
            <ac:spMk id="58" creationId="{D04273FC-1073-437A-B86A-65958011D757}"/>
          </ac:spMkLst>
        </pc:spChg>
        <pc:spChg chg="add del mod">
          <ac:chgData name="Anjali Dwivedi" userId="5d021d5d-7ae3-40c8-98f7-906717a708a8" providerId="ADAL" clId="{2884530C-1040-4F70-8FB5-F4391A53C901}" dt="2023-09-08T17:36:37.352" v="879" actId="478"/>
          <ac:spMkLst>
            <pc:docMk/>
            <pc:sldMk cId="916565778" sldId="4874"/>
            <ac:spMk id="59" creationId="{AA863842-EB43-4A80-AE07-51955A603CF7}"/>
          </ac:spMkLst>
        </pc:spChg>
        <pc:spChg chg="add del mod">
          <ac:chgData name="Anjali Dwivedi" userId="5d021d5d-7ae3-40c8-98f7-906717a708a8" providerId="ADAL" clId="{2884530C-1040-4F70-8FB5-F4391A53C901}" dt="2023-09-08T17:36:25.582" v="878" actId="478"/>
          <ac:spMkLst>
            <pc:docMk/>
            <pc:sldMk cId="916565778" sldId="4874"/>
            <ac:spMk id="60" creationId="{0A11394A-E220-49E6-A7F7-5454A851A320}"/>
          </ac:spMkLst>
        </pc:spChg>
        <pc:spChg chg="add del mod">
          <ac:chgData name="Anjali Dwivedi" userId="5d021d5d-7ae3-40c8-98f7-906717a708a8" providerId="ADAL" clId="{2884530C-1040-4F70-8FB5-F4391A53C901}" dt="2023-09-08T17:36:37.352" v="879" actId="478"/>
          <ac:spMkLst>
            <pc:docMk/>
            <pc:sldMk cId="916565778" sldId="4874"/>
            <ac:spMk id="61" creationId="{FECD18B9-F251-484A-986A-D08F5B7FF7E2}"/>
          </ac:spMkLst>
        </pc:spChg>
        <pc:spChg chg="add del mod">
          <ac:chgData name="Anjali Dwivedi" userId="5d021d5d-7ae3-40c8-98f7-906717a708a8" providerId="ADAL" clId="{2884530C-1040-4F70-8FB5-F4391A53C901}" dt="2023-09-08T17:36:37.352" v="879" actId="478"/>
          <ac:spMkLst>
            <pc:docMk/>
            <pc:sldMk cId="916565778" sldId="4874"/>
            <ac:spMk id="62" creationId="{3C4A0294-EE07-4553-9049-1E0333344D0D}"/>
          </ac:spMkLst>
        </pc:spChg>
        <pc:spChg chg="add del mod">
          <ac:chgData name="Anjali Dwivedi" userId="5d021d5d-7ae3-40c8-98f7-906717a708a8" providerId="ADAL" clId="{2884530C-1040-4F70-8FB5-F4391A53C901}" dt="2023-09-08T17:36:25.582" v="878" actId="478"/>
          <ac:spMkLst>
            <pc:docMk/>
            <pc:sldMk cId="916565778" sldId="4874"/>
            <ac:spMk id="63" creationId="{205A3C3E-201C-4357-B4CF-4357B2656C0C}"/>
          </ac:spMkLst>
        </pc:spChg>
        <pc:spChg chg="add del mod">
          <ac:chgData name="Anjali Dwivedi" userId="5d021d5d-7ae3-40c8-98f7-906717a708a8" providerId="ADAL" clId="{2884530C-1040-4F70-8FB5-F4391A53C901}" dt="2023-09-08T17:36:25.582" v="878" actId="478"/>
          <ac:spMkLst>
            <pc:docMk/>
            <pc:sldMk cId="916565778" sldId="4874"/>
            <ac:spMk id="64" creationId="{D47B2BD6-3E49-4009-8694-6C028A073A2C}"/>
          </ac:spMkLst>
        </pc:spChg>
        <pc:spChg chg="add del mod">
          <ac:chgData name="Anjali Dwivedi" userId="5d021d5d-7ae3-40c8-98f7-906717a708a8" providerId="ADAL" clId="{2884530C-1040-4F70-8FB5-F4391A53C901}" dt="2023-09-08T17:36:25.582" v="878" actId="478"/>
          <ac:spMkLst>
            <pc:docMk/>
            <pc:sldMk cId="916565778" sldId="4874"/>
            <ac:spMk id="65" creationId="{F510024D-DB2A-4047-B4B2-6D5E09BB75D9}"/>
          </ac:spMkLst>
        </pc:spChg>
        <pc:spChg chg="add del mod">
          <ac:chgData name="Anjali Dwivedi" userId="5d021d5d-7ae3-40c8-98f7-906717a708a8" providerId="ADAL" clId="{2884530C-1040-4F70-8FB5-F4391A53C901}" dt="2023-09-08T17:40:29.602" v="884"/>
          <ac:spMkLst>
            <pc:docMk/>
            <pc:sldMk cId="916565778" sldId="4874"/>
            <ac:spMk id="66" creationId="{853F82D2-DD98-4E86-803B-D46CD8FB52F1}"/>
          </ac:spMkLst>
        </pc:spChg>
        <pc:spChg chg="add del mod">
          <ac:chgData name="Anjali Dwivedi" userId="5d021d5d-7ae3-40c8-98f7-906717a708a8" providerId="ADAL" clId="{2884530C-1040-4F70-8FB5-F4391A53C901}" dt="2023-09-08T17:40:29.602" v="884"/>
          <ac:spMkLst>
            <pc:docMk/>
            <pc:sldMk cId="916565778" sldId="4874"/>
            <ac:spMk id="68" creationId="{BF18BB38-2ED0-41A9-B787-F1773FAE90D3}"/>
          </ac:spMkLst>
        </pc:spChg>
        <pc:spChg chg="add del mod">
          <ac:chgData name="Anjali Dwivedi" userId="5d021d5d-7ae3-40c8-98f7-906717a708a8" providerId="ADAL" clId="{2884530C-1040-4F70-8FB5-F4391A53C901}" dt="2023-09-08T17:40:29.602" v="884"/>
          <ac:spMkLst>
            <pc:docMk/>
            <pc:sldMk cId="916565778" sldId="4874"/>
            <ac:spMk id="69" creationId="{468DA757-70D7-4BC5-A064-E0C1121532F4}"/>
          </ac:spMkLst>
        </pc:spChg>
        <pc:spChg chg="add del mod">
          <ac:chgData name="Anjali Dwivedi" userId="5d021d5d-7ae3-40c8-98f7-906717a708a8" providerId="ADAL" clId="{2884530C-1040-4F70-8FB5-F4391A53C901}" dt="2023-09-08T17:40:29.602" v="884"/>
          <ac:spMkLst>
            <pc:docMk/>
            <pc:sldMk cId="916565778" sldId="4874"/>
            <ac:spMk id="70" creationId="{ADBD4A04-FEAC-465D-BD2E-374E91F9A177}"/>
          </ac:spMkLst>
        </pc:spChg>
        <pc:spChg chg="add del mod">
          <ac:chgData name="Anjali Dwivedi" userId="5d021d5d-7ae3-40c8-98f7-906717a708a8" providerId="ADAL" clId="{2884530C-1040-4F70-8FB5-F4391A53C901}" dt="2023-09-08T17:40:29.602" v="884"/>
          <ac:spMkLst>
            <pc:docMk/>
            <pc:sldMk cId="916565778" sldId="4874"/>
            <ac:spMk id="72" creationId="{74264517-43F0-4D3E-8FBD-85D9205AD76F}"/>
          </ac:spMkLst>
        </pc:spChg>
        <pc:spChg chg="add del mod">
          <ac:chgData name="Anjali Dwivedi" userId="5d021d5d-7ae3-40c8-98f7-906717a708a8" providerId="ADAL" clId="{2884530C-1040-4F70-8FB5-F4391A53C901}" dt="2023-09-08T17:40:29.602" v="884"/>
          <ac:spMkLst>
            <pc:docMk/>
            <pc:sldMk cId="916565778" sldId="4874"/>
            <ac:spMk id="73" creationId="{E4AE1D83-2A67-4BD2-BE1B-C2FD4A766665}"/>
          </ac:spMkLst>
        </pc:spChg>
        <pc:spChg chg="add del mod">
          <ac:chgData name="Anjali Dwivedi" userId="5d021d5d-7ae3-40c8-98f7-906717a708a8" providerId="ADAL" clId="{2884530C-1040-4F70-8FB5-F4391A53C901}" dt="2023-09-08T17:40:29.602" v="884"/>
          <ac:spMkLst>
            <pc:docMk/>
            <pc:sldMk cId="916565778" sldId="4874"/>
            <ac:spMk id="74" creationId="{37467FE9-7D5F-4AB2-96B1-ABB4BA097CFB}"/>
          </ac:spMkLst>
        </pc:spChg>
        <pc:spChg chg="add del mod">
          <ac:chgData name="Anjali Dwivedi" userId="5d021d5d-7ae3-40c8-98f7-906717a708a8" providerId="ADAL" clId="{2884530C-1040-4F70-8FB5-F4391A53C901}" dt="2023-09-08T17:40:29.602" v="884"/>
          <ac:spMkLst>
            <pc:docMk/>
            <pc:sldMk cId="916565778" sldId="4874"/>
            <ac:spMk id="76" creationId="{4FBF822F-FB0F-4EC4-993D-9D4F19E0AF24}"/>
          </ac:spMkLst>
        </pc:spChg>
        <pc:spChg chg="add del mod">
          <ac:chgData name="Anjali Dwivedi" userId="5d021d5d-7ae3-40c8-98f7-906717a708a8" providerId="ADAL" clId="{2884530C-1040-4F70-8FB5-F4391A53C901}" dt="2023-09-08T17:40:29.602" v="884"/>
          <ac:spMkLst>
            <pc:docMk/>
            <pc:sldMk cId="916565778" sldId="4874"/>
            <ac:spMk id="77" creationId="{036BD1F7-28A5-4A93-9B6F-CDE80AD753FB}"/>
          </ac:spMkLst>
        </pc:spChg>
        <pc:spChg chg="add del mod">
          <ac:chgData name="Anjali Dwivedi" userId="5d021d5d-7ae3-40c8-98f7-906717a708a8" providerId="ADAL" clId="{2884530C-1040-4F70-8FB5-F4391A53C901}" dt="2023-09-08T17:40:29.602" v="884"/>
          <ac:spMkLst>
            <pc:docMk/>
            <pc:sldMk cId="916565778" sldId="4874"/>
            <ac:spMk id="78" creationId="{EF6D5084-52D3-44D5-B7CA-654B097974F2}"/>
          </ac:spMkLst>
        </pc:spChg>
        <pc:spChg chg="del mod">
          <ac:chgData name="Anjali Dwivedi" userId="5d021d5d-7ae3-40c8-98f7-906717a708a8" providerId="ADAL" clId="{2884530C-1040-4F70-8FB5-F4391A53C901}" dt="2023-09-08T17:35:32.526" v="873" actId="478"/>
          <ac:spMkLst>
            <pc:docMk/>
            <pc:sldMk cId="916565778" sldId="4874"/>
            <ac:spMk id="80" creationId="{8200E294-37F6-15AD-C5C3-956B8DCDC75D}"/>
          </ac:spMkLst>
        </pc:spChg>
        <pc:spChg chg="add del mod">
          <ac:chgData name="Anjali Dwivedi" userId="5d021d5d-7ae3-40c8-98f7-906717a708a8" providerId="ADAL" clId="{2884530C-1040-4F70-8FB5-F4391A53C901}" dt="2023-09-08T17:40:29.602" v="884"/>
          <ac:spMkLst>
            <pc:docMk/>
            <pc:sldMk cId="916565778" sldId="4874"/>
            <ac:spMk id="81" creationId="{1B6CBE22-9E33-4946-86DE-7214C68129DD}"/>
          </ac:spMkLst>
        </pc:spChg>
        <pc:spChg chg="add del mod">
          <ac:chgData name="Anjali Dwivedi" userId="5d021d5d-7ae3-40c8-98f7-906717a708a8" providerId="ADAL" clId="{2884530C-1040-4F70-8FB5-F4391A53C901}" dt="2023-09-08T17:40:29.602" v="884"/>
          <ac:spMkLst>
            <pc:docMk/>
            <pc:sldMk cId="916565778" sldId="4874"/>
            <ac:spMk id="82" creationId="{94206845-E580-44CA-B01E-5F6ED1E22372}"/>
          </ac:spMkLst>
        </pc:spChg>
        <pc:spChg chg="del">
          <ac:chgData name="Anjali Dwivedi" userId="5d021d5d-7ae3-40c8-98f7-906717a708a8" providerId="ADAL" clId="{2884530C-1040-4F70-8FB5-F4391A53C901}" dt="2023-09-08T17:35:32.526" v="873" actId="478"/>
          <ac:spMkLst>
            <pc:docMk/>
            <pc:sldMk cId="916565778" sldId="4874"/>
            <ac:spMk id="83" creationId="{683F0002-6C26-9E60-7A75-32AA016CB116}"/>
          </ac:spMkLst>
        </pc:spChg>
        <pc:spChg chg="del">
          <ac:chgData name="Anjali Dwivedi" userId="5d021d5d-7ae3-40c8-98f7-906717a708a8" providerId="ADAL" clId="{2884530C-1040-4F70-8FB5-F4391A53C901}" dt="2023-09-08T17:35:32.526" v="873" actId="478"/>
          <ac:spMkLst>
            <pc:docMk/>
            <pc:sldMk cId="916565778" sldId="4874"/>
            <ac:spMk id="84" creationId="{C7004A99-37F9-9B61-CF8D-F6CFEA630F63}"/>
          </ac:spMkLst>
        </pc:spChg>
        <pc:spChg chg="del">
          <ac:chgData name="Anjali Dwivedi" userId="5d021d5d-7ae3-40c8-98f7-906717a708a8" providerId="ADAL" clId="{2884530C-1040-4F70-8FB5-F4391A53C901}" dt="2023-09-08T17:35:32.526" v="873" actId="478"/>
          <ac:spMkLst>
            <pc:docMk/>
            <pc:sldMk cId="916565778" sldId="4874"/>
            <ac:spMk id="85" creationId="{6B15B512-24AD-678B-56CD-CECD02A9B8AF}"/>
          </ac:spMkLst>
        </pc:spChg>
        <pc:spChg chg="del">
          <ac:chgData name="Anjali Dwivedi" userId="5d021d5d-7ae3-40c8-98f7-906717a708a8" providerId="ADAL" clId="{2884530C-1040-4F70-8FB5-F4391A53C901}" dt="2023-09-08T17:35:32.526" v="873" actId="478"/>
          <ac:spMkLst>
            <pc:docMk/>
            <pc:sldMk cId="916565778" sldId="4874"/>
            <ac:spMk id="86" creationId="{2F7268B2-BDF1-931E-EACA-288E6772E692}"/>
          </ac:spMkLst>
        </pc:spChg>
        <pc:spChg chg="del">
          <ac:chgData name="Anjali Dwivedi" userId="5d021d5d-7ae3-40c8-98f7-906717a708a8" providerId="ADAL" clId="{2884530C-1040-4F70-8FB5-F4391A53C901}" dt="2023-09-08T17:35:32.526" v="873" actId="478"/>
          <ac:spMkLst>
            <pc:docMk/>
            <pc:sldMk cId="916565778" sldId="4874"/>
            <ac:spMk id="87" creationId="{C4547097-3EC6-AA4F-CB37-75EE3B6F06AD}"/>
          </ac:spMkLst>
        </pc:spChg>
        <pc:spChg chg="del">
          <ac:chgData name="Anjali Dwivedi" userId="5d021d5d-7ae3-40c8-98f7-906717a708a8" providerId="ADAL" clId="{2884530C-1040-4F70-8FB5-F4391A53C901}" dt="2023-09-08T17:35:32.526" v="873" actId="478"/>
          <ac:spMkLst>
            <pc:docMk/>
            <pc:sldMk cId="916565778" sldId="4874"/>
            <ac:spMk id="88" creationId="{80E50863-5D99-0716-7C14-9842E80502C8}"/>
          </ac:spMkLst>
        </pc:spChg>
        <pc:spChg chg="del">
          <ac:chgData name="Anjali Dwivedi" userId="5d021d5d-7ae3-40c8-98f7-906717a708a8" providerId="ADAL" clId="{2884530C-1040-4F70-8FB5-F4391A53C901}" dt="2023-09-08T17:35:32.526" v="873" actId="478"/>
          <ac:spMkLst>
            <pc:docMk/>
            <pc:sldMk cId="916565778" sldId="4874"/>
            <ac:spMk id="89" creationId="{EC3BC67E-0EB2-D89F-28A7-E43732719287}"/>
          </ac:spMkLst>
        </pc:spChg>
        <pc:spChg chg="del">
          <ac:chgData name="Anjali Dwivedi" userId="5d021d5d-7ae3-40c8-98f7-906717a708a8" providerId="ADAL" clId="{2884530C-1040-4F70-8FB5-F4391A53C901}" dt="2023-09-08T17:35:32.526" v="873" actId="478"/>
          <ac:spMkLst>
            <pc:docMk/>
            <pc:sldMk cId="916565778" sldId="4874"/>
            <ac:spMk id="90" creationId="{8BC32EC1-3C5C-549B-672E-1B24B4702B1F}"/>
          </ac:spMkLst>
        </pc:spChg>
        <pc:spChg chg="add del mod">
          <ac:chgData name="Anjali Dwivedi" userId="5d021d5d-7ae3-40c8-98f7-906717a708a8" providerId="ADAL" clId="{2884530C-1040-4F70-8FB5-F4391A53C901}" dt="2023-09-08T17:40:29.602" v="884"/>
          <ac:spMkLst>
            <pc:docMk/>
            <pc:sldMk cId="916565778" sldId="4874"/>
            <ac:spMk id="91" creationId="{A1259733-66D8-4622-BBF6-9FE4D218AEBA}"/>
          </ac:spMkLst>
        </pc:spChg>
        <pc:spChg chg="add del mod">
          <ac:chgData name="Anjali Dwivedi" userId="5d021d5d-7ae3-40c8-98f7-906717a708a8" providerId="ADAL" clId="{2884530C-1040-4F70-8FB5-F4391A53C901}" dt="2023-09-08T17:40:29.602" v="884"/>
          <ac:spMkLst>
            <pc:docMk/>
            <pc:sldMk cId="916565778" sldId="4874"/>
            <ac:spMk id="93" creationId="{BF52D85B-65FB-4AF4-AAF1-C750A9589456}"/>
          </ac:spMkLst>
        </pc:spChg>
        <pc:spChg chg="add del mod">
          <ac:chgData name="Anjali Dwivedi" userId="5d021d5d-7ae3-40c8-98f7-906717a708a8" providerId="ADAL" clId="{2884530C-1040-4F70-8FB5-F4391A53C901}" dt="2023-09-08T17:40:29.602" v="884"/>
          <ac:spMkLst>
            <pc:docMk/>
            <pc:sldMk cId="916565778" sldId="4874"/>
            <ac:spMk id="94" creationId="{F8257942-8F59-4247-A667-189F991F428C}"/>
          </ac:spMkLst>
        </pc:spChg>
        <pc:spChg chg="add del mod">
          <ac:chgData name="Anjali Dwivedi" userId="5d021d5d-7ae3-40c8-98f7-906717a708a8" providerId="ADAL" clId="{2884530C-1040-4F70-8FB5-F4391A53C901}" dt="2023-09-08T17:40:29.602" v="884"/>
          <ac:spMkLst>
            <pc:docMk/>
            <pc:sldMk cId="916565778" sldId="4874"/>
            <ac:spMk id="95" creationId="{D1A41CAB-41EA-477E-BE05-B400ED7955E3}"/>
          </ac:spMkLst>
        </pc:spChg>
        <pc:spChg chg="add del mod">
          <ac:chgData name="Anjali Dwivedi" userId="5d021d5d-7ae3-40c8-98f7-906717a708a8" providerId="ADAL" clId="{2884530C-1040-4F70-8FB5-F4391A53C901}" dt="2023-09-08T17:40:29.602" v="884"/>
          <ac:spMkLst>
            <pc:docMk/>
            <pc:sldMk cId="916565778" sldId="4874"/>
            <ac:spMk id="97" creationId="{782722B9-9BD3-4B8D-ACAF-5CCCF39DA648}"/>
          </ac:spMkLst>
        </pc:spChg>
        <pc:spChg chg="add del mod">
          <ac:chgData name="Anjali Dwivedi" userId="5d021d5d-7ae3-40c8-98f7-906717a708a8" providerId="ADAL" clId="{2884530C-1040-4F70-8FB5-F4391A53C901}" dt="2023-09-08T17:40:29.602" v="884"/>
          <ac:spMkLst>
            <pc:docMk/>
            <pc:sldMk cId="916565778" sldId="4874"/>
            <ac:spMk id="98" creationId="{2BC35B24-706E-4BD3-8548-3C4D6A3F9B0B}"/>
          </ac:spMkLst>
        </pc:spChg>
        <pc:spChg chg="add del mod">
          <ac:chgData name="Anjali Dwivedi" userId="5d021d5d-7ae3-40c8-98f7-906717a708a8" providerId="ADAL" clId="{2884530C-1040-4F70-8FB5-F4391A53C901}" dt="2023-09-08T17:40:57.348" v="886" actId="478"/>
          <ac:spMkLst>
            <pc:docMk/>
            <pc:sldMk cId="916565778" sldId="4874"/>
            <ac:spMk id="99" creationId="{D6C67041-1683-4A17-8765-90FC77A3FED2}"/>
          </ac:spMkLst>
        </pc:spChg>
        <pc:spChg chg="add del mod">
          <ac:chgData name="Anjali Dwivedi" userId="5d021d5d-7ae3-40c8-98f7-906717a708a8" providerId="ADAL" clId="{2884530C-1040-4F70-8FB5-F4391A53C901}" dt="2023-09-08T17:40:57.348" v="886" actId="478"/>
          <ac:spMkLst>
            <pc:docMk/>
            <pc:sldMk cId="916565778" sldId="4874"/>
            <ac:spMk id="100" creationId="{9593A70D-AA5E-4635-A71C-BF1DA16F8B34}"/>
          </ac:spMkLst>
        </pc:spChg>
        <pc:spChg chg="add del mod">
          <ac:chgData name="Anjali Dwivedi" userId="5d021d5d-7ae3-40c8-98f7-906717a708a8" providerId="ADAL" clId="{2884530C-1040-4F70-8FB5-F4391A53C901}" dt="2023-09-08T17:40:57.348" v="886" actId="478"/>
          <ac:spMkLst>
            <pc:docMk/>
            <pc:sldMk cId="916565778" sldId="4874"/>
            <ac:spMk id="102" creationId="{4AE8DC4C-349A-48C3-AB26-32DECD3E8F32}"/>
          </ac:spMkLst>
        </pc:spChg>
        <pc:spChg chg="add del mod">
          <ac:chgData name="Anjali Dwivedi" userId="5d021d5d-7ae3-40c8-98f7-906717a708a8" providerId="ADAL" clId="{2884530C-1040-4F70-8FB5-F4391A53C901}" dt="2023-09-08T17:40:57.348" v="886" actId="478"/>
          <ac:spMkLst>
            <pc:docMk/>
            <pc:sldMk cId="916565778" sldId="4874"/>
            <ac:spMk id="103" creationId="{63EA8764-9500-4CA5-9AFB-54DED97A3086}"/>
          </ac:spMkLst>
        </pc:spChg>
        <pc:spChg chg="add del mod">
          <ac:chgData name="Anjali Dwivedi" userId="5d021d5d-7ae3-40c8-98f7-906717a708a8" providerId="ADAL" clId="{2884530C-1040-4F70-8FB5-F4391A53C901}" dt="2023-09-08T17:40:57.348" v="886" actId="478"/>
          <ac:spMkLst>
            <pc:docMk/>
            <pc:sldMk cId="916565778" sldId="4874"/>
            <ac:spMk id="104" creationId="{6745A79B-4B79-4566-AB0D-C9434F036A2D}"/>
          </ac:spMkLst>
        </pc:spChg>
        <pc:spChg chg="add del mod">
          <ac:chgData name="Anjali Dwivedi" userId="5d021d5d-7ae3-40c8-98f7-906717a708a8" providerId="ADAL" clId="{2884530C-1040-4F70-8FB5-F4391A53C901}" dt="2023-09-08T17:40:57.348" v="886" actId="478"/>
          <ac:spMkLst>
            <pc:docMk/>
            <pc:sldMk cId="916565778" sldId="4874"/>
            <ac:spMk id="105" creationId="{E2F7BE18-7D4F-433D-9166-CD3E79D0252B}"/>
          </ac:spMkLst>
        </pc:spChg>
        <pc:spChg chg="add del mod">
          <ac:chgData name="Anjali Dwivedi" userId="5d021d5d-7ae3-40c8-98f7-906717a708a8" providerId="ADAL" clId="{2884530C-1040-4F70-8FB5-F4391A53C901}" dt="2023-09-08T17:40:57.348" v="886" actId="478"/>
          <ac:spMkLst>
            <pc:docMk/>
            <pc:sldMk cId="916565778" sldId="4874"/>
            <ac:spMk id="107" creationId="{2A742E47-9F46-4DBB-932A-9D6518B5BE43}"/>
          </ac:spMkLst>
        </pc:spChg>
        <pc:spChg chg="add del mod">
          <ac:chgData name="Anjali Dwivedi" userId="5d021d5d-7ae3-40c8-98f7-906717a708a8" providerId="ADAL" clId="{2884530C-1040-4F70-8FB5-F4391A53C901}" dt="2023-09-08T17:40:57.348" v="886" actId="478"/>
          <ac:spMkLst>
            <pc:docMk/>
            <pc:sldMk cId="916565778" sldId="4874"/>
            <ac:spMk id="108" creationId="{076BEC05-5101-4745-8472-CAC2A1579D63}"/>
          </ac:spMkLst>
        </pc:spChg>
        <pc:spChg chg="add del mod">
          <ac:chgData name="Anjali Dwivedi" userId="5d021d5d-7ae3-40c8-98f7-906717a708a8" providerId="ADAL" clId="{2884530C-1040-4F70-8FB5-F4391A53C901}" dt="2023-09-08T17:40:57.348" v="886" actId="478"/>
          <ac:spMkLst>
            <pc:docMk/>
            <pc:sldMk cId="916565778" sldId="4874"/>
            <ac:spMk id="109" creationId="{5AAF1D8B-A24A-4564-9578-E5BA49932D76}"/>
          </ac:spMkLst>
        </pc:spChg>
        <pc:spChg chg="add del mod">
          <ac:chgData name="Anjali Dwivedi" userId="5d021d5d-7ae3-40c8-98f7-906717a708a8" providerId="ADAL" clId="{2884530C-1040-4F70-8FB5-F4391A53C901}" dt="2023-09-08T17:40:57.348" v="886" actId="478"/>
          <ac:spMkLst>
            <pc:docMk/>
            <pc:sldMk cId="916565778" sldId="4874"/>
            <ac:spMk id="110" creationId="{AF88613C-852F-4045-A026-EEB58852C451}"/>
          </ac:spMkLst>
        </pc:spChg>
        <pc:spChg chg="add del mod">
          <ac:chgData name="Anjali Dwivedi" userId="5d021d5d-7ae3-40c8-98f7-906717a708a8" providerId="ADAL" clId="{2884530C-1040-4F70-8FB5-F4391A53C901}" dt="2023-09-08T17:40:57.348" v="886" actId="478"/>
          <ac:spMkLst>
            <pc:docMk/>
            <pc:sldMk cId="916565778" sldId="4874"/>
            <ac:spMk id="112" creationId="{47A807D4-1DE5-42B0-807F-2F0967C4E720}"/>
          </ac:spMkLst>
        </pc:spChg>
        <pc:spChg chg="add del mod">
          <ac:chgData name="Anjali Dwivedi" userId="5d021d5d-7ae3-40c8-98f7-906717a708a8" providerId="ADAL" clId="{2884530C-1040-4F70-8FB5-F4391A53C901}" dt="2023-09-08T17:40:57.348" v="886" actId="478"/>
          <ac:spMkLst>
            <pc:docMk/>
            <pc:sldMk cId="916565778" sldId="4874"/>
            <ac:spMk id="113" creationId="{7385CD64-AAFC-41CB-9531-04E4147A07EB}"/>
          </ac:spMkLst>
        </pc:spChg>
        <pc:spChg chg="add del mod">
          <ac:chgData name="Anjali Dwivedi" userId="5d021d5d-7ae3-40c8-98f7-906717a708a8" providerId="ADAL" clId="{2884530C-1040-4F70-8FB5-F4391A53C901}" dt="2023-09-08T17:40:57.348" v="886" actId="478"/>
          <ac:spMkLst>
            <pc:docMk/>
            <pc:sldMk cId="916565778" sldId="4874"/>
            <ac:spMk id="114" creationId="{2E54BE6C-8577-46ED-9051-332CDD114E99}"/>
          </ac:spMkLst>
        </pc:spChg>
        <pc:spChg chg="add del mod">
          <ac:chgData name="Anjali Dwivedi" userId="5d021d5d-7ae3-40c8-98f7-906717a708a8" providerId="ADAL" clId="{2884530C-1040-4F70-8FB5-F4391A53C901}" dt="2023-09-08T17:40:57.348" v="886" actId="478"/>
          <ac:spMkLst>
            <pc:docMk/>
            <pc:sldMk cId="916565778" sldId="4874"/>
            <ac:spMk id="115" creationId="{F709594E-1945-45EE-8CFA-9C10BF2A959D}"/>
          </ac:spMkLst>
        </pc:spChg>
        <pc:spChg chg="add del mod">
          <ac:chgData name="Anjali Dwivedi" userId="5d021d5d-7ae3-40c8-98f7-906717a708a8" providerId="ADAL" clId="{2884530C-1040-4F70-8FB5-F4391A53C901}" dt="2023-09-08T17:40:57.348" v="886" actId="478"/>
          <ac:spMkLst>
            <pc:docMk/>
            <pc:sldMk cId="916565778" sldId="4874"/>
            <ac:spMk id="117" creationId="{04CEF6D9-35CA-4AEC-B1A1-B72F94D96A84}"/>
          </ac:spMkLst>
        </pc:spChg>
        <pc:spChg chg="add del mod">
          <ac:chgData name="Anjali Dwivedi" userId="5d021d5d-7ae3-40c8-98f7-906717a708a8" providerId="ADAL" clId="{2884530C-1040-4F70-8FB5-F4391A53C901}" dt="2023-09-08T17:40:57.348" v="886" actId="478"/>
          <ac:spMkLst>
            <pc:docMk/>
            <pc:sldMk cId="916565778" sldId="4874"/>
            <ac:spMk id="118" creationId="{83A5A101-4F8B-485C-9426-ACE670B7550C}"/>
          </ac:spMkLst>
        </pc:spChg>
        <pc:spChg chg="add del mod">
          <ac:chgData name="Anjali Dwivedi" userId="5d021d5d-7ae3-40c8-98f7-906717a708a8" providerId="ADAL" clId="{2884530C-1040-4F70-8FB5-F4391A53C901}" dt="2023-09-08T17:40:57.348" v="886" actId="478"/>
          <ac:spMkLst>
            <pc:docMk/>
            <pc:sldMk cId="916565778" sldId="4874"/>
            <ac:spMk id="119" creationId="{74208E1F-BDA7-4E86-A434-37D95E9CBC0B}"/>
          </ac:spMkLst>
        </pc:spChg>
        <pc:spChg chg="add del mod">
          <ac:chgData name="Anjali Dwivedi" userId="5d021d5d-7ae3-40c8-98f7-906717a708a8" providerId="ADAL" clId="{2884530C-1040-4F70-8FB5-F4391A53C901}" dt="2023-09-08T17:40:57.348" v="886" actId="478"/>
          <ac:spMkLst>
            <pc:docMk/>
            <pc:sldMk cId="916565778" sldId="4874"/>
            <ac:spMk id="121" creationId="{A1BA4E19-83EF-4C79-BBD3-AEE2E56C905C}"/>
          </ac:spMkLst>
        </pc:spChg>
        <pc:spChg chg="add del mod">
          <ac:chgData name="Anjali Dwivedi" userId="5d021d5d-7ae3-40c8-98f7-906717a708a8" providerId="ADAL" clId="{2884530C-1040-4F70-8FB5-F4391A53C901}" dt="2023-09-08T17:40:57.348" v="886" actId="478"/>
          <ac:spMkLst>
            <pc:docMk/>
            <pc:sldMk cId="916565778" sldId="4874"/>
            <ac:spMk id="122" creationId="{56314245-915F-4879-B237-7BF64BB745A5}"/>
          </ac:spMkLst>
        </pc:spChg>
        <pc:spChg chg="add del mod">
          <ac:chgData name="Anjali Dwivedi" userId="5d021d5d-7ae3-40c8-98f7-906717a708a8" providerId="ADAL" clId="{2884530C-1040-4F70-8FB5-F4391A53C901}" dt="2023-09-08T17:40:57.348" v="886" actId="478"/>
          <ac:spMkLst>
            <pc:docMk/>
            <pc:sldMk cId="916565778" sldId="4874"/>
            <ac:spMk id="123" creationId="{5A50356E-C681-47FB-ADE2-C9E519EC12E9}"/>
          </ac:spMkLst>
        </pc:spChg>
        <pc:spChg chg="add del mod">
          <ac:chgData name="Anjali Dwivedi" userId="5d021d5d-7ae3-40c8-98f7-906717a708a8" providerId="ADAL" clId="{2884530C-1040-4F70-8FB5-F4391A53C901}" dt="2023-09-08T17:40:57.348" v="886" actId="478"/>
          <ac:spMkLst>
            <pc:docMk/>
            <pc:sldMk cId="916565778" sldId="4874"/>
            <ac:spMk id="125" creationId="{985BD2FF-CFF4-4273-98BD-B231F8CFA8A1}"/>
          </ac:spMkLst>
        </pc:spChg>
        <pc:spChg chg="add del mod">
          <ac:chgData name="Anjali Dwivedi" userId="5d021d5d-7ae3-40c8-98f7-906717a708a8" providerId="ADAL" clId="{2884530C-1040-4F70-8FB5-F4391A53C901}" dt="2023-09-08T17:40:57.348" v="886" actId="478"/>
          <ac:spMkLst>
            <pc:docMk/>
            <pc:sldMk cId="916565778" sldId="4874"/>
            <ac:spMk id="126" creationId="{74F495A2-4469-4B06-B6EC-5E4E9A530C9A}"/>
          </ac:spMkLst>
        </pc:spChg>
        <pc:spChg chg="add mod topLvl">
          <ac:chgData name="Anjali Dwivedi" userId="5d021d5d-7ae3-40c8-98f7-906717a708a8" providerId="ADAL" clId="{2884530C-1040-4F70-8FB5-F4391A53C901}" dt="2023-09-08T19:23:01.325" v="2451" actId="2711"/>
          <ac:spMkLst>
            <pc:docMk/>
            <pc:sldMk cId="916565778" sldId="4874"/>
            <ac:spMk id="127" creationId="{57EBF6E5-7EAF-4D9A-9530-42480636CDC4}"/>
          </ac:spMkLst>
        </pc:spChg>
        <pc:spChg chg="add mod topLvl">
          <ac:chgData name="Anjali Dwivedi" userId="5d021d5d-7ae3-40c8-98f7-906717a708a8" providerId="ADAL" clId="{2884530C-1040-4F70-8FB5-F4391A53C901}" dt="2023-09-08T19:23:01.325" v="2451" actId="2711"/>
          <ac:spMkLst>
            <pc:docMk/>
            <pc:sldMk cId="916565778" sldId="4874"/>
            <ac:spMk id="128" creationId="{BF37D9E6-5E03-4C6B-AB82-385728C5E8B2}"/>
          </ac:spMkLst>
        </pc:spChg>
        <pc:spChg chg="add mod topLvl">
          <ac:chgData name="Anjali Dwivedi" userId="5d021d5d-7ae3-40c8-98f7-906717a708a8" providerId="ADAL" clId="{2884530C-1040-4F70-8FB5-F4391A53C901}" dt="2023-09-08T19:23:01.325" v="2451" actId="2711"/>
          <ac:spMkLst>
            <pc:docMk/>
            <pc:sldMk cId="916565778" sldId="4874"/>
            <ac:spMk id="130" creationId="{85E74DEE-D9B5-4DA0-9840-4E372F314EDF}"/>
          </ac:spMkLst>
        </pc:spChg>
        <pc:spChg chg="add mod topLvl">
          <ac:chgData name="Anjali Dwivedi" userId="5d021d5d-7ae3-40c8-98f7-906717a708a8" providerId="ADAL" clId="{2884530C-1040-4F70-8FB5-F4391A53C901}" dt="2023-09-08T19:23:01.325" v="2451" actId="2711"/>
          <ac:spMkLst>
            <pc:docMk/>
            <pc:sldMk cId="916565778" sldId="4874"/>
            <ac:spMk id="131" creationId="{EBFAAE1E-B78C-46A3-9199-4B19CCB0644A}"/>
          </ac:spMkLst>
        </pc:spChg>
        <pc:spChg chg="add del mod">
          <ac:chgData name="Anjali Dwivedi" userId="5d021d5d-7ae3-40c8-98f7-906717a708a8" providerId="ADAL" clId="{2884530C-1040-4F70-8FB5-F4391A53C901}" dt="2023-09-08T17:41:30.288" v="898" actId="478"/>
          <ac:spMkLst>
            <pc:docMk/>
            <pc:sldMk cId="916565778" sldId="4874"/>
            <ac:spMk id="132" creationId="{B4364E1C-0DEB-4BD4-B444-908E8D28C0BC}"/>
          </ac:spMkLst>
        </pc:spChg>
        <pc:spChg chg="add del mod">
          <ac:chgData name="Anjali Dwivedi" userId="5d021d5d-7ae3-40c8-98f7-906717a708a8" providerId="ADAL" clId="{2884530C-1040-4F70-8FB5-F4391A53C901}" dt="2023-09-08T17:41:29.403" v="897" actId="478"/>
          <ac:spMkLst>
            <pc:docMk/>
            <pc:sldMk cId="916565778" sldId="4874"/>
            <ac:spMk id="133" creationId="{C30989C9-B45A-4818-A577-027D44F965B4}"/>
          </ac:spMkLst>
        </pc:spChg>
        <pc:spChg chg="add mod topLvl">
          <ac:chgData name="Anjali Dwivedi" userId="5d021d5d-7ae3-40c8-98f7-906717a708a8" providerId="ADAL" clId="{2884530C-1040-4F70-8FB5-F4391A53C901}" dt="2023-09-08T19:23:01.325" v="2451" actId="2711"/>
          <ac:spMkLst>
            <pc:docMk/>
            <pc:sldMk cId="916565778" sldId="4874"/>
            <ac:spMk id="135" creationId="{D4CDDFF3-7566-4EE1-A34C-235B0B660D11}"/>
          </ac:spMkLst>
        </pc:spChg>
        <pc:spChg chg="add del mod">
          <ac:chgData name="Anjali Dwivedi" userId="5d021d5d-7ae3-40c8-98f7-906717a708a8" providerId="ADAL" clId="{2884530C-1040-4F70-8FB5-F4391A53C901}" dt="2023-09-08T17:41:32.592" v="900" actId="478"/>
          <ac:spMkLst>
            <pc:docMk/>
            <pc:sldMk cId="916565778" sldId="4874"/>
            <ac:spMk id="136" creationId="{715CFEB3-CE18-4D6C-96B4-27DAD796F425}"/>
          </ac:spMkLst>
        </pc:spChg>
        <pc:spChg chg="add del mod">
          <ac:chgData name="Anjali Dwivedi" userId="5d021d5d-7ae3-40c8-98f7-906717a708a8" providerId="ADAL" clId="{2884530C-1040-4F70-8FB5-F4391A53C901}" dt="2023-09-08T17:41:33.668" v="901" actId="478"/>
          <ac:spMkLst>
            <pc:docMk/>
            <pc:sldMk cId="916565778" sldId="4874"/>
            <ac:spMk id="137" creationId="{8346DFED-617D-45CD-B950-7B18F57A5A4D}"/>
          </ac:spMkLst>
        </pc:spChg>
        <pc:spChg chg="add del mod">
          <ac:chgData name="Anjali Dwivedi" userId="5d021d5d-7ae3-40c8-98f7-906717a708a8" providerId="ADAL" clId="{2884530C-1040-4F70-8FB5-F4391A53C901}" dt="2023-09-08T17:41:36.481" v="903" actId="478"/>
          <ac:spMkLst>
            <pc:docMk/>
            <pc:sldMk cId="916565778" sldId="4874"/>
            <ac:spMk id="138" creationId="{281D1B9F-0D13-463E-8250-B390454FA1DC}"/>
          </ac:spMkLst>
        </pc:spChg>
        <pc:spChg chg="add mod topLvl">
          <ac:chgData name="Anjali Dwivedi" userId="5d021d5d-7ae3-40c8-98f7-906717a708a8" providerId="ADAL" clId="{2884530C-1040-4F70-8FB5-F4391A53C901}" dt="2023-09-08T19:23:01.325" v="2451" actId="2711"/>
          <ac:spMkLst>
            <pc:docMk/>
            <pc:sldMk cId="916565778" sldId="4874"/>
            <ac:spMk id="140" creationId="{BBFAB623-52D9-4B9A-B047-35C298226A34}"/>
          </ac:spMkLst>
        </pc:spChg>
        <pc:spChg chg="add del mod">
          <ac:chgData name="Anjali Dwivedi" userId="5d021d5d-7ae3-40c8-98f7-906717a708a8" providerId="ADAL" clId="{2884530C-1040-4F70-8FB5-F4391A53C901}" dt="2023-09-08T17:41:42.195" v="910" actId="478"/>
          <ac:spMkLst>
            <pc:docMk/>
            <pc:sldMk cId="916565778" sldId="4874"/>
            <ac:spMk id="141" creationId="{AD8CA16D-36A1-4EF3-8232-C700DEE8ED78}"/>
          </ac:spMkLst>
        </pc:spChg>
        <pc:spChg chg="add del mod">
          <ac:chgData name="Anjali Dwivedi" userId="5d021d5d-7ae3-40c8-98f7-906717a708a8" providerId="ADAL" clId="{2884530C-1040-4F70-8FB5-F4391A53C901}" dt="2023-09-08T17:41:38.009" v="905" actId="478"/>
          <ac:spMkLst>
            <pc:docMk/>
            <pc:sldMk cId="916565778" sldId="4874"/>
            <ac:spMk id="142" creationId="{2BB48069-5BBD-416D-AB76-09E712B4160A}"/>
          </ac:spMkLst>
        </pc:spChg>
        <pc:spChg chg="add del mod">
          <ac:chgData name="Anjali Dwivedi" userId="5d021d5d-7ae3-40c8-98f7-906717a708a8" providerId="ADAL" clId="{2884530C-1040-4F70-8FB5-F4391A53C901}" dt="2023-09-08T17:41:40.507" v="908" actId="478"/>
          <ac:spMkLst>
            <pc:docMk/>
            <pc:sldMk cId="916565778" sldId="4874"/>
            <ac:spMk id="143" creationId="{3BD41EFE-6F47-4546-8A7A-C42A05F3E1C9}"/>
          </ac:spMkLst>
        </pc:spChg>
        <pc:spChg chg="add del mod">
          <ac:chgData name="Anjali Dwivedi" userId="5d021d5d-7ae3-40c8-98f7-906717a708a8" providerId="ADAL" clId="{2884530C-1040-4F70-8FB5-F4391A53C901}" dt="2023-09-08T17:41:38.834" v="906" actId="478"/>
          <ac:spMkLst>
            <pc:docMk/>
            <pc:sldMk cId="916565778" sldId="4874"/>
            <ac:spMk id="145" creationId="{666FEE04-F0E5-4B29-89F3-7C8A2C1B5FBC}"/>
          </ac:spMkLst>
        </pc:spChg>
        <pc:spChg chg="add del mod">
          <ac:chgData name="Anjali Dwivedi" userId="5d021d5d-7ae3-40c8-98f7-906717a708a8" providerId="ADAL" clId="{2884530C-1040-4F70-8FB5-F4391A53C901}" dt="2023-09-08T17:41:39.650" v="907" actId="478"/>
          <ac:spMkLst>
            <pc:docMk/>
            <pc:sldMk cId="916565778" sldId="4874"/>
            <ac:spMk id="146" creationId="{BCF1F1F6-26F7-4AF8-A25C-1966C70EA75F}"/>
          </ac:spMkLst>
        </pc:spChg>
        <pc:spChg chg="add del mod">
          <ac:chgData name="Anjali Dwivedi" userId="5d021d5d-7ae3-40c8-98f7-906717a708a8" providerId="ADAL" clId="{2884530C-1040-4F70-8FB5-F4391A53C901}" dt="2023-09-08T17:41:09.137" v="892" actId="478"/>
          <ac:spMkLst>
            <pc:docMk/>
            <pc:sldMk cId="916565778" sldId="4874"/>
            <ac:spMk id="147" creationId="{47AD2D7A-1562-4FC6-9DD0-7F128A64F1DF}"/>
          </ac:spMkLst>
        </pc:spChg>
        <pc:spChg chg="add del mod">
          <ac:chgData name="Anjali Dwivedi" userId="5d021d5d-7ae3-40c8-98f7-906717a708a8" providerId="ADAL" clId="{2884530C-1040-4F70-8FB5-F4391A53C901}" dt="2023-09-08T17:41:04.633" v="888" actId="478"/>
          <ac:spMkLst>
            <pc:docMk/>
            <pc:sldMk cId="916565778" sldId="4874"/>
            <ac:spMk id="149" creationId="{233197F3-5C26-4063-B33B-6F916A4DBCC2}"/>
          </ac:spMkLst>
        </pc:spChg>
        <pc:spChg chg="add del mod">
          <ac:chgData name="Anjali Dwivedi" userId="5d021d5d-7ae3-40c8-98f7-906717a708a8" providerId="ADAL" clId="{2884530C-1040-4F70-8FB5-F4391A53C901}" dt="2023-09-08T17:41:06.988" v="890" actId="478"/>
          <ac:spMkLst>
            <pc:docMk/>
            <pc:sldMk cId="916565778" sldId="4874"/>
            <ac:spMk id="150" creationId="{AC7D783B-BB4E-4693-B121-7F7C049E1D04}"/>
          </ac:spMkLst>
        </pc:spChg>
        <pc:spChg chg="add del mod">
          <ac:chgData name="Anjali Dwivedi" userId="5d021d5d-7ae3-40c8-98f7-906717a708a8" providerId="ADAL" clId="{2884530C-1040-4F70-8FB5-F4391A53C901}" dt="2023-09-08T17:41:12.190" v="895" actId="478"/>
          <ac:spMkLst>
            <pc:docMk/>
            <pc:sldMk cId="916565778" sldId="4874"/>
            <ac:spMk id="151" creationId="{18ED5DEE-BFF6-49DA-987A-C29E5AD025DC}"/>
          </ac:spMkLst>
        </pc:spChg>
        <pc:spChg chg="add del mod">
          <ac:chgData name="Anjali Dwivedi" userId="5d021d5d-7ae3-40c8-98f7-906717a708a8" providerId="ADAL" clId="{2884530C-1040-4F70-8FB5-F4391A53C901}" dt="2023-09-08T17:44:00.627" v="1248" actId="478"/>
          <ac:spMkLst>
            <pc:docMk/>
            <pc:sldMk cId="916565778" sldId="4874"/>
            <ac:spMk id="153" creationId="{9A0D06F3-18CD-4BCF-A9DB-2EB62827ECDC}"/>
          </ac:spMkLst>
        </pc:spChg>
        <pc:spChg chg="add del mod">
          <ac:chgData name="Anjali Dwivedi" userId="5d021d5d-7ae3-40c8-98f7-906717a708a8" providerId="ADAL" clId="{2884530C-1040-4F70-8FB5-F4391A53C901}" dt="2023-09-08T17:41:13.061" v="896" actId="478"/>
          <ac:spMkLst>
            <pc:docMk/>
            <pc:sldMk cId="916565778" sldId="4874"/>
            <ac:spMk id="154" creationId="{668D7BA3-DF8F-42B5-94A3-A042BFFB7288}"/>
          </ac:spMkLst>
        </pc:spChg>
        <pc:spChg chg="add mod topLvl">
          <ac:chgData name="Anjali Dwivedi" userId="5d021d5d-7ae3-40c8-98f7-906717a708a8" providerId="ADAL" clId="{2884530C-1040-4F70-8FB5-F4391A53C901}" dt="2023-09-08T19:23:01.325" v="2451" actId="2711"/>
          <ac:spMkLst>
            <pc:docMk/>
            <pc:sldMk cId="916565778" sldId="4874"/>
            <ac:spMk id="155" creationId="{38865177-4945-42C3-B73F-12B73E3753C7}"/>
          </ac:spMkLst>
        </pc:spChg>
        <pc:spChg chg="add mod topLvl">
          <ac:chgData name="Anjali Dwivedi" userId="5d021d5d-7ae3-40c8-98f7-906717a708a8" providerId="ADAL" clId="{2884530C-1040-4F70-8FB5-F4391A53C901}" dt="2023-09-08T19:23:01.325" v="2451" actId="2711"/>
          <ac:spMkLst>
            <pc:docMk/>
            <pc:sldMk cId="916565778" sldId="4874"/>
            <ac:spMk id="156" creationId="{2DB75323-CEBE-4B9C-A16F-20C10BC06041}"/>
          </ac:spMkLst>
        </pc:spChg>
        <pc:spChg chg="add mod topLvl">
          <ac:chgData name="Anjali Dwivedi" userId="5d021d5d-7ae3-40c8-98f7-906717a708a8" providerId="ADAL" clId="{2884530C-1040-4F70-8FB5-F4391A53C901}" dt="2023-09-08T19:23:01.325" v="2451" actId="2711"/>
          <ac:spMkLst>
            <pc:docMk/>
            <pc:sldMk cId="916565778" sldId="4874"/>
            <ac:spMk id="158" creationId="{BAD1B051-4981-45DC-8BB4-1FDAC3A333C8}"/>
          </ac:spMkLst>
        </pc:spChg>
        <pc:spChg chg="add mod topLvl">
          <ac:chgData name="Anjali Dwivedi" userId="5d021d5d-7ae3-40c8-98f7-906717a708a8" providerId="ADAL" clId="{2884530C-1040-4F70-8FB5-F4391A53C901}" dt="2023-09-08T19:23:01.325" v="2451" actId="2711"/>
          <ac:spMkLst>
            <pc:docMk/>
            <pc:sldMk cId="916565778" sldId="4874"/>
            <ac:spMk id="159" creationId="{91CAAB54-D8C6-4E15-90D5-40591163F3C1}"/>
          </ac:spMkLst>
        </pc:spChg>
        <pc:spChg chg="add mod topLvl">
          <ac:chgData name="Anjali Dwivedi" userId="5d021d5d-7ae3-40c8-98f7-906717a708a8" providerId="ADAL" clId="{2884530C-1040-4F70-8FB5-F4391A53C901}" dt="2023-09-08T19:23:01.325" v="2451" actId="2711"/>
          <ac:spMkLst>
            <pc:docMk/>
            <pc:sldMk cId="916565778" sldId="4874"/>
            <ac:spMk id="160" creationId="{3923CFB3-6608-46AD-98C1-116F39ABD682}"/>
          </ac:spMkLst>
        </pc:spChg>
        <pc:spChg chg="add mod topLvl">
          <ac:chgData name="Anjali Dwivedi" userId="5d021d5d-7ae3-40c8-98f7-906717a708a8" providerId="ADAL" clId="{2884530C-1040-4F70-8FB5-F4391A53C901}" dt="2023-09-08T19:23:01.325" v="2451" actId="2711"/>
          <ac:spMkLst>
            <pc:docMk/>
            <pc:sldMk cId="916565778" sldId="4874"/>
            <ac:spMk id="161" creationId="{E1EAB0B0-30B7-4005-87CB-069DFE2E5373}"/>
          </ac:spMkLst>
        </pc:spChg>
        <pc:spChg chg="add mod topLvl">
          <ac:chgData name="Anjali Dwivedi" userId="5d021d5d-7ae3-40c8-98f7-906717a708a8" providerId="ADAL" clId="{2884530C-1040-4F70-8FB5-F4391A53C901}" dt="2023-09-08T19:23:01.325" v="2451" actId="2711"/>
          <ac:spMkLst>
            <pc:docMk/>
            <pc:sldMk cId="916565778" sldId="4874"/>
            <ac:spMk id="163" creationId="{FAE6C425-96F7-47A8-8215-589DE3B05FDC}"/>
          </ac:spMkLst>
        </pc:spChg>
        <pc:spChg chg="add mod topLvl">
          <ac:chgData name="Anjali Dwivedi" userId="5d021d5d-7ae3-40c8-98f7-906717a708a8" providerId="ADAL" clId="{2884530C-1040-4F70-8FB5-F4391A53C901}" dt="2023-09-08T19:23:01.325" v="2451" actId="2711"/>
          <ac:spMkLst>
            <pc:docMk/>
            <pc:sldMk cId="916565778" sldId="4874"/>
            <ac:spMk id="164" creationId="{55573729-BD91-4CB9-9102-CE77CB7D6136}"/>
          </ac:spMkLst>
        </pc:spChg>
        <pc:spChg chg="add mod topLvl">
          <ac:chgData name="Anjali Dwivedi" userId="5d021d5d-7ae3-40c8-98f7-906717a708a8" providerId="ADAL" clId="{2884530C-1040-4F70-8FB5-F4391A53C901}" dt="2023-09-08T19:23:01.325" v="2451" actId="2711"/>
          <ac:spMkLst>
            <pc:docMk/>
            <pc:sldMk cId="916565778" sldId="4874"/>
            <ac:spMk id="165" creationId="{E850C5C2-F826-46B4-90EF-1D018AF43EAD}"/>
          </ac:spMkLst>
        </pc:spChg>
        <pc:spChg chg="add mod topLvl">
          <ac:chgData name="Anjali Dwivedi" userId="5d021d5d-7ae3-40c8-98f7-906717a708a8" providerId="ADAL" clId="{2884530C-1040-4F70-8FB5-F4391A53C901}" dt="2023-09-08T19:23:01.325" v="2451" actId="2711"/>
          <ac:spMkLst>
            <pc:docMk/>
            <pc:sldMk cId="916565778" sldId="4874"/>
            <ac:spMk id="166" creationId="{F81502B0-1DDE-4E1F-9A57-C312DF3F7A3B}"/>
          </ac:spMkLst>
        </pc:spChg>
        <pc:spChg chg="add mod topLvl">
          <ac:chgData name="Anjali Dwivedi" userId="5d021d5d-7ae3-40c8-98f7-906717a708a8" providerId="ADAL" clId="{2884530C-1040-4F70-8FB5-F4391A53C901}" dt="2023-09-08T19:23:01.325" v="2451" actId="2711"/>
          <ac:spMkLst>
            <pc:docMk/>
            <pc:sldMk cId="916565778" sldId="4874"/>
            <ac:spMk id="168" creationId="{B6660645-CA5F-47E3-9F81-ECD6A9387304}"/>
          </ac:spMkLst>
        </pc:spChg>
        <pc:spChg chg="add mod topLvl">
          <ac:chgData name="Anjali Dwivedi" userId="5d021d5d-7ae3-40c8-98f7-906717a708a8" providerId="ADAL" clId="{2884530C-1040-4F70-8FB5-F4391A53C901}" dt="2023-09-08T19:23:01.325" v="2451" actId="2711"/>
          <ac:spMkLst>
            <pc:docMk/>
            <pc:sldMk cId="916565778" sldId="4874"/>
            <ac:spMk id="169" creationId="{26E60354-A748-45C2-B536-6ED48D323D57}"/>
          </ac:spMkLst>
        </pc:spChg>
        <pc:spChg chg="add mod">
          <ac:chgData name="Anjali Dwivedi" userId="5d021d5d-7ae3-40c8-98f7-906717a708a8" providerId="ADAL" clId="{2884530C-1040-4F70-8FB5-F4391A53C901}" dt="2023-09-08T19:23:01.325" v="2451" actId="2711"/>
          <ac:spMkLst>
            <pc:docMk/>
            <pc:sldMk cId="916565778" sldId="4874"/>
            <ac:spMk id="170" creationId="{07ACFDB4-4E77-49B3-8E88-D2B399673A30}"/>
          </ac:spMkLst>
        </pc:spChg>
        <pc:spChg chg="add mod">
          <ac:chgData name="Anjali Dwivedi" userId="5d021d5d-7ae3-40c8-98f7-906717a708a8" providerId="ADAL" clId="{2884530C-1040-4F70-8FB5-F4391A53C901}" dt="2023-09-08T19:23:01.325" v="2451" actId="2711"/>
          <ac:spMkLst>
            <pc:docMk/>
            <pc:sldMk cId="916565778" sldId="4874"/>
            <ac:spMk id="171" creationId="{C88E21BC-590D-4907-A642-9A0FF869DAA5}"/>
          </ac:spMkLst>
        </pc:spChg>
        <pc:spChg chg="add mod">
          <ac:chgData name="Anjali Dwivedi" userId="5d021d5d-7ae3-40c8-98f7-906717a708a8" providerId="ADAL" clId="{2884530C-1040-4F70-8FB5-F4391A53C901}" dt="2023-09-08T19:23:01.325" v="2451" actId="2711"/>
          <ac:spMkLst>
            <pc:docMk/>
            <pc:sldMk cId="916565778" sldId="4874"/>
            <ac:spMk id="172" creationId="{4D1C3E16-2D95-47C8-9D16-3F75B10755FA}"/>
          </ac:spMkLst>
        </pc:spChg>
        <pc:spChg chg="add mod">
          <ac:chgData name="Anjali Dwivedi" userId="5d021d5d-7ae3-40c8-98f7-906717a708a8" providerId="ADAL" clId="{2884530C-1040-4F70-8FB5-F4391A53C901}" dt="2023-09-08T19:23:01.325" v="2451" actId="2711"/>
          <ac:spMkLst>
            <pc:docMk/>
            <pc:sldMk cId="916565778" sldId="4874"/>
            <ac:spMk id="173" creationId="{1CA0C9F9-2C77-431E-A263-DE29692692A9}"/>
          </ac:spMkLst>
        </pc:spChg>
        <pc:spChg chg="add mod">
          <ac:chgData name="Anjali Dwivedi" userId="5d021d5d-7ae3-40c8-98f7-906717a708a8" providerId="ADAL" clId="{2884530C-1040-4F70-8FB5-F4391A53C901}" dt="2023-09-08T19:23:01.325" v="2451" actId="2711"/>
          <ac:spMkLst>
            <pc:docMk/>
            <pc:sldMk cId="916565778" sldId="4874"/>
            <ac:spMk id="174" creationId="{4A43767E-D2A1-4FF0-A36E-5917968F4B3D}"/>
          </ac:spMkLst>
        </pc:spChg>
        <pc:spChg chg="add mod">
          <ac:chgData name="Anjali Dwivedi" userId="5d021d5d-7ae3-40c8-98f7-906717a708a8" providerId="ADAL" clId="{2884530C-1040-4F70-8FB5-F4391A53C901}" dt="2023-09-08T19:23:01.325" v="2451" actId="2711"/>
          <ac:spMkLst>
            <pc:docMk/>
            <pc:sldMk cId="916565778" sldId="4874"/>
            <ac:spMk id="175" creationId="{FC85EA84-EF9C-4AF5-B551-A11B690AC9A1}"/>
          </ac:spMkLst>
        </pc:spChg>
        <pc:grpChg chg="del">
          <ac:chgData name="Anjali Dwivedi" userId="5d021d5d-7ae3-40c8-98f7-906717a708a8" providerId="ADAL" clId="{2884530C-1040-4F70-8FB5-F4391A53C901}" dt="2023-09-08T17:35:32.526" v="873" actId="478"/>
          <ac:grpSpMkLst>
            <pc:docMk/>
            <pc:sldMk cId="916565778" sldId="4874"/>
            <ac:grpSpMk id="4" creationId="{6FD5DC0E-D8E5-EE6D-9E21-63008ED29874}"/>
          </ac:grpSpMkLst>
        </pc:grpChg>
        <pc:grpChg chg="add del mod">
          <ac:chgData name="Anjali Dwivedi" userId="5d021d5d-7ae3-40c8-98f7-906717a708a8" providerId="ADAL" clId="{2884530C-1040-4F70-8FB5-F4391A53C901}" dt="2023-09-08T17:49:16.939" v="1274" actId="165"/>
          <ac:grpSpMkLst>
            <pc:docMk/>
            <pc:sldMk cId="916565778" sldId="4874"/>
            <ac:grpSpMk id="49" creationId="{A9CB8986-3AB1-43C1-A1C7-D1B6FB131F9F}"/>
          </ac:grpSpMkLst>
        </pc:grpChg>
        <pc:cxnChg chg="mod">
          <ac:chgData name="Anjali Dwivedi" userId="5d021d5d-7ae3-40c8-98f7-906717a708a8" providerId="ADAL" clId="{2884530C-1040-4F70-8FB5-F4391A53C901}" dt="2023-09-08T17:35:32.526" v="873" actId="478"/>
          <ac:cxnSpMkLst>
            <pc:docMk/>
            <pc:sldMk cId="916565778" sldId="4874"/>
            <ac:cxnSpMk id="15" creationId="{C364F07C-F125-176E-0611-0BC48236AFC9}"/>
          </ac:cxnSpMkLst>
        </pc:cxnChg>
        <pc:cxnChg chg="mod">
          <ac:chgData name="Anjali Dwivedi" userId="5d021d5d-7ae3-40c8-98f7-906717a708a8" providerId="ADAL" clId="{2884530C-1040-4F70-8FB5-F4391A53C901}" dt="2023-09-08T17:35:32.526" v="873" actId="478"/>
          <ac:cxnSpMkLst>
            <pc:docMk/>
            <pc:sldMk cId="916565778" sldId="4874"/>
            <ac:cxnSpMk id="16" creationId="{A0C9B6C3-2397-ED30-1496-A6E5BD12940C}"/>
          </ac:cxnSpMkLst>
        </pc:cxnChg>
        <pc:cxnChg chg="mod">
          <ac:chgData name="Anjali Dwivedi" userId="5d021d5d-7ae3-40c8-98f7-906717a708a8" providerId="ADAL" clId="{2884530C-1040-4F70-8FB5-F4391A53C901}" dt="2023-09-08T17:35:32.526" v="873" actId="478"/>
          <ac:cxnSpMkLst>
            <pc:docMk/>
            <pc:sldMk cId="916565778" sldId="4874"/>
            <ac:cxnSpMk id="17" creationId="{896A0260-57E4-3521-79C7-384F9B8C9430}"/>
          </ac:cxnSpMkLst>
        </pc:cxnChg>
        <pc:cxnChg chg="mod">
          <ac:chgData name="Anjali Dwivedi" userId="5d021d5d-7ae3-40c8-98f7-906717a708a8" providerId="ADAL" clId="{2884530C-1040-4F70-8FB5-F4391A53C901}" dt="2023-09-08T17:35:32.526" v="873" actId="478"/>
          <ac:cxnSpMkLst>
            <pc:docMk/>
            <pc:sldMk cId="916565778" sldId="4874"/>
            <ac:cxnSpMk id="18" creationId="{F59FB0B3-7FD0-1F1F-D1B6-BFCDC98D1A4F}"/>
          </ac:cxnSpMkLst>
        </pc:cxnChg>
        <pc:cxnChg chg="mod">
          <ac:chgData name="Anjali Dwivedi" userId="5d021d5d-7ae3-40c8-98f7-906717a708a8" providerId="ADAL" clId="{2884530C-1040-4F70-8FB5-F4391A53C901}" dt="2023-09-08T17:35:32.526" v="873" actId="478"/>
          <ac:cxnSpMkLst>
            <pc:docMk/>
            <pc:sldMk cId="916565778" sldId="4874"/>
            <ac:cxnSpMk id="19" creationId="{B8BAABF6-C47B-903F-E33F-2D75A063B943}"/>
          </ac:cxnSpMkLst>
        </pc:cxnChg>
        <pc:cxnChg chg="mod">
          <ac:chgData name="Anjali Dwivedi" userId="5d021d5d-7ae3-40c8-98f7-906717a708a8" providerId="ADAL" clId="{2884530C-1040-4F70-8FB5-F4391A53C901}" dt="2023-09-08T17:35:32.526" v="873" actId="478"/>
          <ac:cxnSpMkLst>
            <pc:docMk/>
            <pc:sldMk cId="916565778" sldId="4874"/>
            <ac:cxnSpMk id="20" creationId="{08C855C8-682A-DEF3-7EFB-EE49F581BA59}"/>
          </ac:cxnSpMkLst>
        </pc:cxnChg>
        <pc:cxnChg chg="mod">
          <ac:chgData name="Anjali Dwivedi" userId="5d021d5d-7ae3-40c8-98f7-906717a708a8" providerId="ADAL" clId="{2884530C-1040-4F70-8FB5-F4391A53C901}" dt="2023-09-08T17:35:32.526" v="873" actId="478"/>
          <ac:cxnSpMkLst>
            <pc:docMk/>
            <pc:sldMk cId="916565778" sldId="4874"/>
            <ac:cxnSpMk id="31" creationId="{81591824-C55A-9BF2-5BFD-21F09768BD0B}"/>
          </ac:cxnSpMkLst>
        </pc:cxnChg>
        <pc:cxnChg chg="mod">
          <ac:chgData name="Anjali Dwivedi" userId="5d021d5d-7ae3-40c8-98f7-906717a708a8" providerId="ADAL" clId="{2884530C-1040-4F70-8FB5-F4391A53C901}" dt="2023-09-08T17:35:32.526" v="873" actId="478"/>
          <ac:cxnSpMkLst>
            <pc:docMk/>
            <pc:sldMk cId="916565778" sldId="4874"/>
            <ac:cxnSpMk id="32" creationId="{12E13083-ACA8-49A8-97F3-EAD898843FCF}"/>
          </ac:cxnSpMkLst>
        </pc:cxnChg>
        <pc:cxnChg chg="mod">
          <ac:chgData name="Anjali Dwivedi" userId="5d021d5d-7ae3-40c8-98f7-906717a708a8" providerId="ADAL" clId="{2884530C-1040-4F70-8FB5-F4391A53C901}" dt="2023-09-08T17:35:32.526" v="873" actId="478"/>
          <ac:cxnSpMkLst>
            <pc:docMk/>
            <pc:sldMk cId="916565778" sldId="4874"/>
            <ac:cxnSpMk id="33" creationId="{9A54911C-4A21-65FD-236C-E5EEF99D5856}"/>
          </ac:cxnSpMkLst>
        </pc:cxnChg>
        <pc:cxnChg chg="mod">
          <ac:chgData name="Anjali Dwivedi" userId="5d021d5d-7ae3-40c8-98f7-906717a708a8" providerId="ADAL" clId="{2884530C-1040-4F70-8FB5-F4391A53C901}" dt="2023-09-08T17:35:32.526" v="873" actId="478"/>
          <ac:cxnSpMkLst>
            <pc:docMk/>
            <pc:sldMk cId="916565778" sldId="4874"/>
            <ac:cxnSpMk id="34" creationId="{A8E6365F-F8CF-2A47-5CBF-43A2915B2CE4}"/>
          </ac:cxnSpMkLst>
        </pc:cxnChg>
        <pc:cxnChg chg="mod">
          <ac:chgData name="Anjali Dwivedi" userId="5d021d5d-7ae3-40c8-98f7-906717a708a8" providerId="ADAL" clId="{2884530C-1040-4F70-8FB5-F4391A53C901}" dt="2023-09-08T17:35:32.526" v="873" actId="478"/>
          <ac:cxnSpMkLst>
            <pc:docMk/>
            <pc:sldMk cId="916565778" sldId="4874"/>
            <ac:cxnSpMk id="35" creationId="{DE98A60C-337E-E9C4-8963-1F22E4DADED8}"/>
          </ac:cxnSpMkLst>
        </pc:cxnChg>
        <pc:cxnChg chg="mod">
          <ac:chgData name="Anjali Dwivedi" userId="5d021d5d-7ae3-40c8-98f7-906717a708a8" providerId="ADAL" clId="{2884530C-1040-4F70-8FB5-F4391A53C901}" dt="2023-09-08T17:35:32.526" v="873" actId="478"/>
          <ac:cxnSpMkLst>
            <pc:docMk/>
            <pc:sldMk cId="916565778" sldId="4874"/>
            <ac:cxnSpMk id="36" creationId="{4455A782-5E38-F28A-22F0-8D1FD02BDEC4}"/>
          </ac:cxnSpMkLst>
        </pc:cxnChg>
        <pc:cxnChg chg="mod">
          <ac:chgData name="Anjali Dwivedi" userId="5d021d5d-7ae3-40c8-98f7-906717a708a8" providerId="ADAL" clId="{2884530C-1040-4F70-8FB5-F4391A53C901}" dt="2023-09-08T17:35:32.526" v="873" actId="478"/>
          <ac:cxnSpMkLst>
            <pc:docMk/>
            <pc:sldMk cId="916565778" sldId="4874"/>
            <ac:cxnSpMk id="37" creationId="{F37E5C1C-C156-CA04-36C7-B6EB60F9DED3}"/>
          </ac:cxnSpMkLst>
        </pc:cxnChg>
        <pc:cxnChg chg="mod">
          <ac:chgData name="Anjali Dwivedi" userId="5d021d5d-7ae3-40c8-98f7-906717a708a8" providerId="ADAL" clId="{2884530C-1040-4F70-8FB5-F4391A53C901}" dt="2023-09-08T17:35:32.526" v="873" actId="478"/>
          <ac:cxnSpMkLst>
            <pc:docMk/>
            <pc:sldMk cId="916565778" sldId="4874"/>
            <ac:cxnSpMk id="38" creationId="{AB4FD9D7-E711-F5DD-1350-C2CEED3750B8}"/>
          </ac:cxnSpMkLst>
        </pc:cxnChg>
        <pc:cxnChg chg="mod">
          <ac:chgData name="Anjali Dwivedi" userId="5d021d5d-7ae3-40c8-98f7-906717a708a8" providerId="ADAL" clId="{2884530C-1040-4F70-8FB5-F4391A53C901}" dt="2023-09-08T17:35:32.526" v="873" actId="478"/>
          <ac:cxnSpMkLst>
            <pc:docMk/>
            <pc:sldMk cId="916565778" sldId="4874"/>
            <ac:cxnSpMk id="39" creationId="{48163891-96FE-8900-345E-BED168D30165}"/>
          </ac:cxnSpMkLst>
        </pc:cxnChg>
        <pc:cxnChg chg="mod">
          <ac:chgData name="Anjali Dwivedi" userId="5d021d5d-7ae3-40c8-98f7-906717a708a8" providerId="ADAL" clId="{2884530C-1040-4F70-8FB5-F4391A53C901}" dt="2023-09-08T17:35:32.526" v="873" actId="478"/>
          <ac:cxnSpMkLst>
            <pc:docMk/>
            <pc:sldMk cId="916565778" sldId="4874"/>
            <ac:cxnSpMk id="40" creationId="{7A51D8F4-26C8-D522-4D54-B710DBDEC11A}"/>
          </ac:cxnSpMkLst>
        </pc:cxnChg>
        <pc:cxnChg chg="add del mod">
          <ac:chgData name="Anjali Dwivedi" userId="5d021d5d-7ae3-40c8-98f7-906717a708a8" providerId="ADAL" clId="{2884530C-1040-4F70-8FB5-F4391A53C901}" dt="2023-09-08T17:40:29.602" v="884"/>
          <ac:cxnSpMkLst>
            <pc:docMk/>
            <pc:sldMk cId="916565778" sldId="4874"/>
            <ac:cxnSpMk id="67" creationId="{E6BF3ED1-A97C-4935-AE94-8C943FD5426D}"/>
          </ac:cxnSpMkLst>
        </pc:cxnChg>
        <pc:cxnChg chg="add del mod">
          <ac:chgData name="Anjali Dwivedi" userId="5d021d5d-7ae3-40c8-98f7-906717a708a8" providerId="ADAL" clId="{2884530C-1040-4F70-8FB5-F4391A53C901}" dt="2023-09-08T17:40:29.602" v="884"/>
          <ac:cxnSpMkLst>
            <pc:docMk/>
            <pc:sldMk cId="916565778" sldId="4874"/>
            <ac:cxnSpMk id="71" creationId="{4C2FD462-A5D8-416F-8A5E-4F72BA16B36E}"/>
          </ac:cxnSpMkLst>
        </pc:cxnChg>
        <pc:cxnChg chg="add del mod">
          <ac:chgData name="Anjali Dwivedi" userId="5d021d5d-7ae3-40c8-98f7-906717a708a8" providerId="ADAL" clId="{2884530C-1040-4F70-8FB5-F4391A53C901}" dt="2023-09-08T17:40:29.602" v="884"/>
          <ac:cxnSpMkLst>
            <pc:docMk/>
            <pc:sldMk cId="916565778" sldId="4874"/>
            <ac:cxnSpMk id="75" creationId="{107E193E-E775-4CB2-A1F9-1038DF6F43C6}"/>
          </ac:cxnSpMkLst>
        </pc:cxnChg>
        <pc:cxnChg chg="add del mod">
          <ac:chgData name="Anjali Dwivedi" userId="5d021d5d-7ae3-40c8-98f7-906717a708a8" providerId="ADAL" clId="{2884530C-1040-4F70-8FB5-F4391A53C901}" dt="2023-09-08T17:40:29.602" v="884"/>
          <ac:cxnSpMkLst>
            <pc:docMk/>
            <pc:sldMk cId="916565778" sldId="4874"/>
            <ac:cxnSpMk id="79" creationId="{705DD704-F569-4CEF-8886-83FD4FC6C469}"/>
          </ac:cxnSpMkLst>
        </pc:cxnChg>
        <pc:cxnChg chg="add del mod">
          <ac:chgData name="Anjali Dwivedi" userId="5d021d5d-7ae3-40c8-98f7-906717a708a8" providerId="ADAL" clId="{2884530C-1040-4F70-8FB5-F4391A53C901}" dt="2023-09-08T17:40:29.602" v="884"/>
          <ac:cxnSpMkLst>
            <pc:docMk/>
            <pc:sldMk cId="916565778" sldId="4874"/>
            <ac:cxnSpMk id="92" creationId="{6CC7E72A-D57C-40AD-B390-F11B161EF838}"/>
          </ac:cxnSpMkLst>
        </pc:cxnChg>
        <pc:cxnChg chg="add del mod">
          <ac:chgData name="Anjali Dwivedi" userId="5d021d5d-7ae3-40c8-98f7-906717a708a8" providerId="ADAL" clId="{2884530C-1040-4F70-8FB5-F4391A53C901}" dt="2023-09-08T17:40:29.602" v="884"/>
          <ac:cxnSpMkLst>
            <pc:docMk/>
            <pc:sldMk cId="916565778" sldId="4874"/>
            <ac:cxnSpMk id="96" creationId="{13775B0D-E77D-4394-8FD4-49D57BFA146B}"/>
          </ac:cxnSpMkLst>
        </pc:cxnChg>
        <pc:cxnChg chg="add del mod">
          <ac:chgData name="Anjali Dwivedi" userId="5d021d5d-7ae3-40c8-98f7-906717a708a8" providerId="ADAL" clId="{2884530C-1040-4F70-8FB5-F4391A53C901}" dt="2023-09-08T17:40:57.348" v="886" actId="478"/>
          <ac:cxnSpMkLst>
            <pc:docMk/>
            <pc:sldMk cId="916565778" sldId="4874"/>
            <ac:cxnSpMk id="101" creationId="{53E91CD9-E8A7-4925-BF9B-C99B34704500}"/>
          </ac:cxnSpMkLst>
        </pc:cxnChg>
        <pc:cxnChg chg="add del mod">
          <ac:chgData name="Anjali Dwivedi" userId="5d021d5d-7ae3-40c8-98f7-906717a708a8" providerId="ADAL" clId="{2884530C-1040-4F70-8FB5-F4391A53C901}" dt="2023-09-08T17:40:57.348" v="886" actId="478"/>
          <ac:cxnSpMkLst>
            <pc:docMk/>
            <pc:sldMk cId="916565778" sldId="4874"/>
            <ac:cxnSpMk id="106" creationId="{3A1A7574-2CF1-4600-B183-203E7570FB5D}"/>
          </ac:cxnSpMkLst>
        </pc:cxnChg>
        <pc:cxnChg chg="add del mod">
          <ac:chgData name="Anjali Dwivedi" userId="5d021d5d-7ae3-40c8-98f7-906717a708a8" providerId="ADAL" clId="{2884530C-1040-4F70-8FB5-F4391A53C901}" dt="2023-09-08T17:40:57.348" v="886" actId="478"/>
          <ac:cxnSpMkLst>
            <pc:docMk/>
            <pc:sldMk cId="916565778" sldId="4874"/>
            <ac:cxnSpMk id="111" creationId="{196632FF-8900-4AF9-959A-CD85E34AB737}"/>
          </ac:cxnSpMkLst>
        </pc:cxnChg>
        <pc:cxnChg chg="add del mod">
          <ac:chgData name="Anjali Dwivedi" userId="5d021d5d-7ae3-40c8-98f7-906717a708a8" providerId="ADAL" clId="{2884530C-1040-4F70-8FB5-F4391A53C901}" dt="2023-09-08T17:40:57.348" v="886" actId="478"/>
          <ac:cxnSpMkLst>
            <pc:docMk/>
            <pc:sldMk cId="916565778" sldId="4874"/>
            <ac:cxnSpMk id="116" creationId="{2E5B0C05-C971-45FB-B6E4-221C450769DA}"/>
          </ac:cxnSpMkLst>
        </pc:cxnChg>
        <pc:cxnChg chg="add del mod">
          <ac:chgData name="Anjali Dwivedi" userId="5d021d5d-7ae3-40c8-98f7-906717a708a8" providerId="ADAL" clId="{2884530C-1040-4F70-8FB5-F4391A53C901}" dt="2023-09-08T17:40:57.348" v="886" actId="478"/>
          <ac:cxnSpMkLst>
            <pc:docMk/>
            <pc:sldMk cId="916565778" sldId="4874"/>
            <ac:cxnSpMk id="120" creationId="{787D6F1B-4B93-4FD2-B333-FC7456C3604F}"/>
          </ac:cxnSpMkLst>
        </pc:cxnChg>
        <pc:cxnChg chg="add del mod">
          <ac:chgData name="Anjali Dwivedi" userId="5d021d5d-7ae3-40c8-98f7-906717a708a8" providerId="ADAL" clId="{2884530C-1040-4F70-8FB5-F4391A53C901}" dt="2023-09-08T17:40:57.348" v="886" actId="478"/>
          <ac:cxnSpMkLst>
            <pc:docMk/>
            <pc:sldMk cId="916565778" sldId="4874"/>
            <ac:cxnSpMk id="124" creationId="{A8B66615-57E3-40CA-8068-585FE55FDBDB}"/>
          </ac:cxnSpMkLst>
        </pc:cxnChg>
        <pc:cxnChg chg="add mod topLvl">
          <ac:chgData name="Anjali Dwivedi" userId="5d021d5d-7ae3-40c8-98f7-906717a708a8" providerId="ADAL" clId="{2884530C-1040-4F70-8FB5-F4391A53C901}" dt="2023-09-08T18:59:19.172" v="1773" actId="1036"/>
          <ac:cxnSpMkLst>
            <pc:docMk/>
            <pc:sldMk cId="916565778" sldId="4874"/>
            <ac:cxnSpMk id="129" creationId="{860E2D61-0EA3-4E55-A9EB-49FE787C2474}"/>
          </ac:cxnSpMkLst>
        </pc:cxnChg>
        <pc:cxnChg chg="add del mod">
          <ac:chgData name="Anjali Dwivedi" userId="5d021d5d-7ae3-40c8-98f7-906717a708a8" providerId="ADAL" clId="{2884530C-1040-4F70-8FB5-F4391A53C901}" dt="2023-09-08T17:41:31.543" v="899" actId="478"/>
          <ac:cxnSpMkLst>
            <pc:docMk/>
            <pc:sldMk cId="916565778" sldId="4874"/>
            <ac:cxnSpMk id="134" creationId="{E9BB5176-7357-490D-9C47-2C5B452AADE0}"/>
          </ac:cxnSpMkLst>
        </pc:cxnChg>
        <pc:cxnChg chg="add del mod">
          <ac:chgData name="Anjali Dwivedi" userId="5d021d5d-7ae3-40c8-98f7-906717a708a8" providerId="ADAL" clId="{2884530C-1040-4F70-8FB5-F4391A53C901}" dt="2023-09-08T17:41:43.083" v="911" actId="478"/>
          <ac:cxnSpMkLst>
            <pc:docMk/>
            <pc:sldMk cId="916565778" sldId="4874"/>
            <ac:cxnSpMk id="139" creationId="{5BE16FDC-1C36-4EB8-9296-933293C85216}"/>
          </ac:cxnSpMkLst>
        </pc:cxnChg>
        <pc:cxnChg chg="add del mod">
          <ac:chgData name="Anjali Dwivedi" userId="5d021d5d-7ae3-40c8-98f7-906717a708a8" providerId="ADAL" clId="{2884530C-1040-4F70-8FB5-F4391A53C901}" dt="2023-09-08T17:41:41.409" v="909" actId="478"/>
          <ac:cxnSpMkLst>
            <pc:docMk/>
            <pc:sldMk cId="916565778" sldId="4874"/>
            <ac:cxnSpMk id="144" creationId="{81AB8F3A-316D-4A72-A923-5219570B0CBD}"/>
          </ac:cxnSpMkLst>
        </pc:cxnChg>
        <pc:cxnChg chg="add del mod">
          <ac:chgData name="Anjali Dwivedi" userId="5d021d5d-7ae3-40c8-98f7-906717a708a8" providerId="ADAL" clId="{2884530C-1040-4F70-8FB5-F4391A53C901}" dt="2023-09-08T17:41:05.541" v="889" actId="478"/>
          <ac:cxnSpMkLst>
            <pc:docMk/>
            <pc:sldMk cId="916565778" sldId="4874"/>
            <ac:cxnSpMk id="148" creationId="{D73007D7-9BFC-43A1-AF3A-F31DC8BBDE90}"/>
          </ac:cxnSpMkLst>
        </pc:cxnChg>
        <pc:cxnChg chg="add del mod">
          <ac:chgData name="Anjali Dwivedi" userId="5d021d5d-7ae3-40c8-98f7-906717a708a8" providerId="ADAL" clId="{2884530C-1040-4F70-8FB5-F4391A53C901}" dt="2023-09-08T17:41:10.141" v="893" actId="478"/>
          <ac:cxnSpMkLst>
            <pc:docMk/>
            <pc:sldMk cId="916565778" sldId="4874"/>
            <ac:cxnSpMk id="152" creationId="{E1F2A02B-28C9-42C9-B431-5566041F14F6}"/>
          </ac:cxnSpMkLst>
        </pc:cxnChg>
        <pc:cxnChg chg="add mod topLvl">
          <ac:chgData name="Anjali Dwivedi" userId="5d021d5d-7ae3-40c8-98f7-906717a708a8" providerId="ADAL" clId="{2884530C-1040-4F70-8FB5-F4391A53C901}" dt="2023-09-08T18:59:19.172" v="1773" actId="1036"/>
          <ac:cxnSpMkLst>
            <pc:docMk/>
            <pc:sldMk cId="916565778" sldId="4874"/>
            <ac:cxnSpMk id="157" creationId="{AF3D0583-A55D-4F38-A0A9-C54BC9ABB416}"/>
          </ac:cxnSpMkLst>
        </pc:cxnChg>
        <pc:cxnChg chg="add mod topLvl">
          <ac:chgData name="Anjali Dwivedi" userId="5d021d5d-7ae3-40c8-98f7-906717a708a8" providerId="ADAL" clId="{2884530C-1040-4F70-8FB5-F4391A53C901}" dt="2023-09-08T18:59:19.172" v="1773" actId="1036"/>
          <ac:cxnSpMkLst>
            <pc:docMk/>
            <pc:sldMk cId="916565778" sldId="4874"/>
            <ac:cxnSpMk id="162" creationId="{B6C0F5E8-FEB9-43FF-8505-8B3A0E9F85A4}"/>
          </ac:cxnSpMkLst>
        </pc:cxnChg>
        <pc:cxnChg chg="add mod topLvl">
          <ac:chgData name="Anjali Dwivedi" userId="5d021d5d-7ae3-40c8-98f7-906717a708a8" providerId="ADAL" clId="{2884530C-1040-4F70-8FB5-F4391A53C901}" dt="2023-09-08T18:59:19.172" v="1773" actId="1036"/>
          <ac:cxnSpMkLst>
            <pc:docMk/>
            <pc:sldMk cId="916565778" sldId="4874"/>
            <ac:cxnSpMk id="167" creationId="{D450A104-1F32-443B-86F9-A38BF062C56C}"/>
          </ac:cxnSpMkLst>
        </pc:cxnChg>
      </pc:sldChg>
      <pc:sldChg chg="modSp mod">
        <pc:chgData name="Anjali Dwivedi" userId="5d021d5d-7ae3-40c8-98f7-906717a708a8" providerId="ADAL" clId="{2884530C-1040-4F70-8FB5-F4391A53C901}" dt="2023-09-08T19:24:24.849" v="2475" actId="12"/>
        <pc:sldMkLst>
          <pc:docMk/>
          <pc:sldMk cId="1999562739" sldId="4875"/>
        </pc:sldMkLst>
        <pc:spChg chg="mod">
          <ac:chgData name="Anjali Dwivedi" userId="5d021d5d-7ae3-40c8-98f7-906717a708a8" providerId="ADAL" clId="{2884530C-1040-4F70-8FB5-F4391A53C901}" dt="2023-09-08T19:23:22.828" v="2453" actId="2711"/>
          <ac:spMkLst>
            <pc:docMk/>
            <pc:sldMk cId="1999562739" sldId="4875"/>
            <ac:spMk id="3" creationId="{03772FAE-C80E-F709-7327-A010FB14C5A3}"/>
          </ac:spMkLst>
        </pc:spChg>
        <pc:spChg chg="mod">
          <ac:chgData name="Anjali Dwivedi" userId="5d021d5d-7ae3-40c8-98f7-906717a708a8" providerId="ADAL" clId="{2884530C-1040-4F70-8FB5-F4391A53C901}" dt="2023-09-08T19:23:22.828" v="2453" actId="2711"/>
          <ac:spMkLst>
            <pc:docMk/>
            <pc:sldMk cId="1999562739" sldId="4875"/>
            <ac:spMk id="47" creationId="{0C5DC7F9-E7B4-6B29-2898-A2C1E218FCA1}"/>
          </ac:spMkLst>
        </pc:spChg>
        <pc:spChg chg="mod">
          <ac:chgData name="Anjali Dwivedi" userId="5d021d5d-7ae3-40c8-98f7-906717a708a8" providerId="ADAL" clId="{2884530C-1040-4F70-8FB5-F4391A53C901}" dt="2023-09-08T19:23:22.828" v="2453" actId="2711"/>
          <ac:spMkLst>
            <pc:docMk/>
            <pc:sldMk cId="1999562739" sldId="4875"/>
            <ac:spMk id="48" creationId="{7006C45F-C093-B6F0-5E85-1EFBDA7531F0}"/>
          </ac:spMkLst>
        </pc:spChg>
        <pc:spChg chg="mod">
          <ac:chgData name="Anjali Dwivedi" userId="5d021d5d-7ae3-40c8-98f7-906717a708a8" providerId="ADAL" clId="{2884530C-1040-4F70-8FB5-F4391A53C901}" dt="2023-09-08T19:23:22.828" v="2453" actId="2711"/>
          <ac:spMkLst>
            <pc:docMk/>
            <pc:sldMk cId="1999562739" sldId="4875"/>
            <ac:spMk id="49" creationId="{AA74EC05-2408-2750-39C1-ECBA8CA13C7A}"/>
          </ac:spMkLst>
        </pc:spChg>
        <pc:spChg chg="mod">
          <ac:chgData name="Anjali Dwivedi" userId="5d021d5d-7ae3-40c8-98f7-906717a708a8" providerId="ADAL" clId="{2884530C-1040-4F70-8FB5-F4391A53C901}" dt="2023-09-08T19:23:22.828" v="2453" actId="2711"/>
          <ac:spMkLst>
            <pc:docMk/>
            <pc:sldMk cId="1999562739" sldId="4875"/>
            <ac:spMk id="50" creationId="{AF15739D-9205-DD8A-0B55-A5BFA841DE20}"/>
          </ac:spMkLst>
        </pc:spChg>
        <pc:spChg chg="mod">
          <ac:chgData name="Anjali Dwivedi" userId="5d021d5d-7ae3-40c8-98f7-906717a708a8" providerId="ADAL" clId="{2884530C-1040-4F70-8FB5-F4391A53C901}" dt="2023-09-08T19:23:22.828" v="2453" actId="2711"/>
          <ac:spMkLst>
            <pc:docMk/>
            <pc:sldMk cId="1999562739" sldId="4875"/>
            <ac:spMk id="51" creationId="{BAB6C83F-0B07-A1B9-6690-7B2AD9A5CE4D}"/>
          </ac:spMkLst>
        </pc:spChg>
        <pc:spChg chg="mod">
          <ac:chgData name="Anjali Dwivedi" userId="5d021d5d-7ae3-40c8-98f7-906717a708a8" providerId="ADAL" clId="{2884530C-1040-4F70-8FB5-F4391A53C901}" dt="2023-09-08T19:23:22.828" v="2453" actId="2711"/>
          <ac:spMkLst>
            <pc:docMk/>
            <pc:sldMk cId="1999562739" sldId="4875"/>
            <ac:spMk id="52" creationId="{E6E937BA-A62E-8E01-8A46-835CD79E9786}"/>
          </ac:spMkLst>
        </pc:spChg>
        <pc:spChg chg="mod">
          <ac:chgData name="Anjali Dwivedi" userId="5d021d5d-7ae3-40c8-98f7-906717a708a8" providerId="ADAL" clId="{2884530C-1040-4F70-8FB5-F4391A53C901}" dt="2023-09-08T19:23:22.828" v="2453" actId="2711"/>
          <ac:spMkLst>
            <pc:docMk/>
            <pc:sldMk cId="1999562739" sldId="4875"/>
            <ac:spMk id="53" creationId="{FFD508B2-1EDA-759E-4139-1F7D383A3A4E}"/>
          </ac:spMkLst>
        </pc:spChg>
        <pc:spChg chg="mod">
          <ac:chgData name="Anjali Dwivedi" userId="5d021d5d-7ae3-40c8-98f7-906717a708a8" providerId="ADAL" clId="{2884530C-1040-4F70-8FB5-F4391A53C901}" dt="2023-09-08T19:23:22.828" v="2453" actId="2711"/>
          <ac:spMkLst>
            <pc:docMk/>
            <pc:sldMk cId="1999562739" sldId="4875"/>
            <ac:spMk id="54" creationId="{46749593-7927-552C-F667-8B5A621AFD3B}"/>
          </ac:spMkLst>
        </pc:spChg>
        <pc:spChg chg="mod">
          <ac:chgData name="Anjali Dwivedi" userId="5d021d5d-7ae3-40c8-98f7-906717a708a8" providerId="ADAL" clId="{2884530C-1040-4F70-8FB5-F4391A53C901}" dt="2023-09-08T19:23:22.828" v="2453" actId="2711"/>
          <ac:spMkLst>
            <pc:docMk/>
            <pc:sldMk cId="1999562739" sldId="4875"/>
            <ac:spMk id="55" creationId="{477AD8E7-C6AE-A064-E15F-7DCB947DBFDF}"/>
          </ac:spMkLst>
        </pc:spChg>
        <pc:spChg chg="mod">
          <ac:chgData name="Anjali Dwivedi" userId="5d021d5d-7ae3-40c8-98f7-906717a708a8" providerId="ADAL" clId="{2884530C-1040-4F70-8FB5-F4391A53C901}" dt="2023-09-08T19:23:22.828" v="2453" actId="2711"/>
          <ac:spMkLst>
            <pc:docMk/>
            <pc:sldMk cId="1999562739" sldId="4875"/>
            <ac:spMk id="56" creationId="{5BC2DD8E-E5B2-691F-ADD9-DE5DBD9FC96E}"/>
          </ac:spMkLst>
        </pc:spChg>
        <pc:spChg chg="mod">
          <ac:chgData name="Anjali Dwivedi" userId="5d021d5d-7ae3-40c8-98f7-906717a708a8" providerId="ADAL" clId="{2884530C-1040-4F70-8FB5-F4391A53C901}" dt="2023-09-08T19:23:22.828" v="2453" actId="2711"/>
          <ac:spMkLst>
            <pc:docMk/>
            <pc:sldMk cId="1999562739" sldId="4875"/>
            <ac:spMk id="57" creationId="{ACBDC530-AC54-6E20-3BE2-CE7D58C676E0}"/>
          </ac:spMkLst>
        </pc:spChg>
        <pc:spChg chg="mod">
          <ac:chgData name="Anjali Dwivedi" userId="5d021d5d-7ae3-40c8-98f7-906717a708a8" providerId="ADAL" clId="{2884530C-1040-4F70-8FB5-F4391A53C901}" dt="2023-09-08T19:23:22.828" v="2453" actId="2711"/>
          <ac:spMkLst>
            <pc:docMk/>
            <pc:sldMk cId="1999562739" sldId="4875"/>
            <ac:spMk id="58" creationId="{605B02BA-5B18-08F7-E1EF-1A79FE1111F1}"/>
          </ac:spMkLst>
        </pc:spChg>
        <pc:spChg chg="mod">
          <ac:chgData name="Anjali Dwivedi" userId="5d021d5d-7ae3-40c8-98f7-906717a708a8" providerId="ADAL" clId="{2884530C-1040-4F70-8FB5-F4391A53C901}" dt="2023-09-08T19:23:22.828" v="2453" actId="2711"/>
          <ac:spMkLst>
            <pc:docMk/>
            <pc:sldMk cId="1999562739" sldId="4875"/>
            <ac:spMk id="59" creationId="{2FC0AD8C-6905-F3FF-200D-D36432237ED3}"/>
          </ac:spMkLst>
        </pc:spChg>
        <pc:spChg chg="mod">
          <ac:chgData name="Anjali Dwivedi" userId="5d021d5d-7ae3-40c8-98f7-906717a708a8" providerId="ADAL" clId="{2884530C-1040-4F70-8FB5-F4391A53C901}" dt="2023-09-08T19:23:22.828" v="2453" actId="2711"/>
          <ac:spMkLst>
            <pc:docMk/>
            <pc:sldMk cId="1999562739" sldId="4875"/>
            <ac:spMk id="60" creationId="{5ACC3577-89AC-71D9-3FE8-942D6210BD89}"/>
          </ac:spMkLst>
        </pc:spChg>
        <pc:spChg chg="mod">
          <ac:chgData name="Anjali Dwivedi" userId="5d021d5d-7ae3-40c8-98f7-906717a708a8" providerId="ADAL" clId="{2884530C-1040-4F70-8FB5-F4391A53C901}" dt="2023-09-08T19:24:06.987" v="2471" actId="12"/>
          <ac:spMkLst>
            <pc:docMk/>
            <pc:sldMk cId="1999562739" sldId="4875"/>
            <ac:spMk id="63" creationId="{F340C46D-C3D1-7CF4-649C-69D5323EAE3B}"/>
          </ac:spMkLst>
        </pc:spChg>
        <pc:spChg chg="mod">
          <ac:chgData name="Anjali Dwivedi" userId="5d021d5d-7ae3-40c8-98f7-906717a708a8" providerId="ADAL" clId="{2884530C-1040-4F70-8FB5-F4391A53C901}" dt="2023-09-08T19:24:13.554" v="2472" actId="12"/>
          <ac:spMkLst>
            <pc:docMk/>
            <pc:sldMk cId="1999562739" sldId="4875"/>
            <ac:spMk id="65" creationId="{F0E3DB03-36C2-2906-D354-24A06BADA69A}"/>
          </ac:spMkLst>
        </pc:spChg>
        <pc:spChg chg="mod">
          <ac:chgData name="Anjali Dwivedi" userId="5d021d5d-7ae3-40c8-98f7-906717a708a8" providerId="ADAL" clId="{2884530C-1040-4F70-8FB5-F4391A53C901}" dt="2023-09-08T19:24:20.898" v="2474" actId="12"/>
          <ac:spMkLst>
            <pc:docMk/>
            <pc:sldMk cId="1999562739" sldId="4875"/>
            <ac:spMk id="67" creationId="{E144F5B9-CE10-4812-3F9C-2DDC786842CD}"/>
          </ac:spMkLst>
        </pc:spChg>
        <pc:spChg chg="mod">
          <ac:chgData name="Anjali Dwivedi" userId="5d021d5d-7ae3-40c8-98f7-906717a708a8" providerId="ADAL" clId="{2884530C-1040-4F70-8FB5-F4391A53C901}" dt="2023-09-08T19:24:24.849" v="2475" actId="12"/>
          <ac:spMkLst>
            <pc:docMk/>
            <pc:sldMk cId="1999562739" sldId="4875"/>
            <ac:spMk id="69" creationId="{595CB7E4-077C-0BC2-31A4-68228BB101C9}"/>
          </ac:spMkLst>
        </pc:spChg>
        <pc:grpChg chg="mod">
          <ac:chgData name="Anjali Dwivedi" userId="5d021d5d-7ae3-40c8-98f7-906717a708a8" providerId="ADAL" clId="{2884530C-1040-4F70-8FB5-F4391A53C901}" dt="2023-09-08T19:23:22.828" v="2453" actId="2711"/>
          <ac:grpSpMkLst>
            <pc:docMk/>
            <pc:sldMk cId="1999562739" sldId="4875"/>
            <ac:grpSpMk id="46" creationId="{7512ACA9-DCE6-B91B-A174-DD1B72BC2119}"/>
          </ac:grpSpMkLst>
        </pc:grpChg>
        <pc:grpChg chg="mod">
          <ac:chgData name="Anjali Dwivedi" userId="5d021d5d-7ae3-40c8-98f7-906717a708a8" providerId="ADAL" clId="{2884530C-1040-4F70-8FB5-F4391A53C901}" dt="2023-09-08T19:23:22.828" v="2453" actId="2711"/>
          <ac:grpSpMkLst>
            <pc:docMk/>
            <pc:sldMk cId="1999562739" sldId="4875"/>
            <ac:grpSpMk id="61" creationId="{D04A08EC-45FE-E51E-26CD-9AE34D6BA09F}"/>
          </ac:grpSpMkLst>
        </pc:grpChg>
        <pc:picChg chg="mod">
          <ac:chgData name="Anjali Dwivedi" userId="5d021d5d-7ae3-40c8-98f7-906717a708a8" providerId="ADAL" clId="{2884530C-1040-4F70-8FB5-F4391A53C901}" dt="2023-09-08T19:23:22.828" v="2453" actId="2711"/>
          <ac:picMkLst>
            <pc:docMk/>
            <pc:sldMk cId="1999562739" sldId="4875"/>
            <ac:picMk id="1026" creationId="{6B6AA45F-7D0F-DB3C-5A11-E306CA3C618A}"/>
          </ac:picMkLst>
        </pc:picChg>
        <pc:picChg chg="mod">
          <ac:chgData name="Anjali Dwivedi" userId="5d021d5d-7ae3-40c8-98f7-906717a708a8" providerId="ADAL" clId="{2884530C-1040-4F70-8FB5-F4391A53C901}" dt="2023-09-08T19:23:22.828" v="2453" actId="2711"/>
          <ac:picMkLst>
            <pc:docMk/>
            <pc:sldMk cId="1999562739" sldId="4875"/>
            <ac:picMk id="1030" creationId="{6B0F0747-B0BC-CB90-901D-F08A502059D5}"/>
          </ac:picMkLst>
        </pc:picChg>
        <pc:picChg chg="mod">
          <ac:chgData name="Anjali Dwivedi" userId="5d021d5d-7ae3-40c8-98f7-906717a708a8" providerId="ADAL" clId="{2884530C-1040-4F70-8FB5-F4391A53C901}" dt="2023-09-08T19:23:22.828" v="2453" actId="2711"/>
          <ac:picMkLst>
            <pc:docMk/>
            <pc:sldMk cId="1999562739" sldId="4875"/>
            <ac:picMk id="1036" creationId="{0F8B7758-5A44-DD22-BA4D-EBAC3BF0913F}"/>
          </ac:picMkLst>
        </pc:picChg>
      </pc:sldChg>
      <pc:sldChg chg="modSp">
        <pc:chgData name="Anjali Dwivedi" userId="5d021d5d-7ae3-40c8-98f7-906717a708a8" providerId="ADAL" clId="{2884530C-1040-4F70-8FB5-F4391A53C901}" dt="2023-09-08T19:23:52.706" v="2470" actId="1037"/>
        <pc:sldMkLst>
          <pc:docMk/>
          <pc:sldMk cId="2779596076" sldId="4876"/>
        </pc:sldMkLst>
        <pc:spChg chg="mod">
          <ac:chgData name="Anjali Dwivedi" userId="5d021d5d-7ae3-40c8-98f7-906717a708a8" providerId="ADAL" clId="{2884530C-1040-4F70-8FB5-F4391A53C901}" dt="2023-09-08T19:23:52.706" v="2470" actId="1037"/>
          <ac:spMkLst>
            <pc:docMk/>
            <pc:sldMk cId="2779596076" sldId="4876"/>
            <ac:spMk id="29" creationId="{E6F94D10-BDAB-0387-3944-EA279EBA0FE3}"/>
          </ac:spMkLst>
        </pc:spChg>
        <pc:spChg chg="mod">
          <ac:chgData name="Anjali Dwivedi" userId="5d021d5d-7ae3-40c8-98f7-906717a708a8" providerId="ADAL" clId="{2884530C-1040-4F70-8FB5-F4391A53C901}" dt="2023-09-08T19:23:52.706" v="2470" actId="1037"/>
          <ac:spMkLst>
            <pc:docMk/>
            <pc:sldMk cId="2779596076" sldId="4876"/>
            <ac:spMk id="30" creationId="{FE327382-F278-4B14-ABB2-EEFF1F30C458}"/>
          </ac:spMkLst>
        </pc:spChg>
        <pc:spChg chg="mod">
          <ac:chgData name="Anjali Dwivedi" userId="5d021d5d-7ae3-40c8-98f7-906717a708a8" providerId="ADAL" clId="{2884530C-1040-4F70-8FB5-F4391A53C901}" dt="2023-09-08T19:23:52.706" v="2470" actId="1037"/>
          <ac:spMkLst>
            <pc:docMk/>
            <pc:sldMk cId="2779596076" sldId="4876"/>
            <ac:spMk id="31" creationId="{300D8A34-5B8A-25BC-6AE7-A532CA8E3100}"/>
          </ac:spMkLst>
        </pc:spChg>
        <pc:spChg chg="mod">
          <ac:chgData name="Anjali Dwivedi" userId="5d021d5d-7ae3-40c8-98f7-906717a708a8" providerId="ADAL" clId="{2884530C-1040-4F70-8FB5-F4391A53C901}" dt="2023-09-08T19:23:52.706" v="2470" actId="1037"/>
          <ac:spMkLst>
            <pc:docMk/>
            <pc:sldMk cId="2779596076" sldId="4876"/>
            <ac:spMk id="32" creationId="{67D6F05C-9B1C-9723-786A-1BE47D9CFC64}"/>
          </ac:spMkLst>
        </pc:spChg>
        <pc:spChg chg="mod">
          <ac:chgData name="Anjali Dwivedi" userId="5d021d5d-7ae3-40c8-98f7-906717a708a8" providerId="ADAL" clId="{2884530C-1040-4F70-8FB5-F4391A53C901}" dt="2023-09-08T19:23:52.706" v="2470" actId="1037"/>
          <ac:spMkLst>
            <pc:docMk/>
            <pc:sldMk cId="2779596076" sldId="4876"/>
            <ac:spMk id="33" creationId="{83718EF3-D050-3951-1763-9037AD3E9D63}"/>
          </ac:spMkLst>
        </pc:spChg>
        <pc:spChg chg="mod">
          <ac:chgData name="Anjali Dwivedi" userId="5d021d5d-7ae3-40c8-98f7-906717a708a8" providerId="ADAL" clId="{2884530C-1040-4F70-8FB5-F4391A53C901}" dt="2023-09-08T19:23:52.706" v="2470" actId="1037"/>
          <ac:spMkLst>
            <pc:docMk/>
            <pc:sldMk cId="2779596076" sldId="4876"/>
            <ac:spMk id="34" creationId="{01E17A40-BCA4-FC19-4EB7-F51B8DBE50D9}"/>
          </ac:spMkLst>
        </pc:spChg>
        <pc:spChg chg="mod">
          <ac:chgData name="Anjali Dwivedi" userId="5d021d5d-7ae3-40c8-98f7-906717a708a8" providerId="ADAL" clId="{2884530C-1040-4F70-8FB5-F4391A53C901}" dt="2023-09-08T19:23:52.706" v="2470" actId="1037"/>
          <ac:spMkLst>
            <pc:docMk/>
            <pc:sldMk cId="2779596076" sldId="4876"/>
            <ac:spMk id="35" creationId="{9AF0578B-05DC-8F6F-6B20-C8B5C35BA702}"/>
          </ac:spMkLst>
        </pc:spChg>
        <pc:spChg chg="mod">
          <ac:chgData name="Anjali Dwivedi" userId="5d021d5d-7ae3-40c8-98f7-906717a708a8" providerId="ADAL" clId="{2884530C-1040-4F70-8FB5-F4391A53C901}" dt="2023-09-08T19:23:52.706" v="2470" actId="1037"/>
          <ac:spMkLst>
            <pc:docMk/>
            <pc:sldMk cId="2779596076" sldId="4876"/>
            <ac:spMk id="36" creationId="{758701CA-DF5D-6ECD-2DDD-AFD686B3420B}"/>
          </ac:spMkLst>
        </pc:spChg>
        <pc:spChg chg="mod">
          <ac:chgData name="Anjali Dwivedi" userId="5d021d5d-7ae3-40c8-98f7-906717a708a8" providerId="ADAL" clId="{2884530C-1040-4F70-8FB5-F4391A53C901}" dt="2023-09-08T19:23:52.706" v="2470" actId="1037"/>
          <ac:spMkLst>
            <pc:docMk/>
            <pc:sldMk cId="2779596076" sldId="4876"/>
            <ac:spMk id="38" creationId="{4EB7AD03-199B-BE95-BC6B-1EFAB8F6A8B0}"/>
          </ac:spMkLst>
        </pc:spChg>
        <pc:picChg chg="mod">
          <ac:chgData name="Anjali Dwivedi" userId="5d021d5d-7ae3-40c8-98f7-906717a708a8" providerId="ADAL" clId="{2884530C-1040-4F70-8FB5-F4391A53C901}" dt="2023-09-08T19:23:52.706" v="2470" actId="1037"/>
          <ac:picMkLst>
            <pc:docMk/>
            <pc:sldMk cId="2779596076" sldId="4876"/>
            <ac:picMk id="2050" creationId="{AE2598F9-457A-5048-84DE-729CF9DC932B}"/>
          </ac:picMkLst>
        </pc:picChg>
        <pc:picChg chg="mod">
          <ac:chgData name="Anjali Dwivedi" userId="5d021d5d-7ae3-40c8-98f7-906717a708a8" providerId="ADAL" clId="{2884530C-1040-4F70-8FB5-F4391A53C901}" dt="2023-09-08T19:23:52.706" v="2470" actId="1037"/>
          <ac:picMkLst>
            <pc:docMk/>
            <pc:sldMk cId="2779596076" sldId="4876"/>
            <ac:picMk id="2052" creationId="{6914628E-0537-BCFA-D844-9E07A6E4366B}"/>
          </ac:picMkLst>
        </pc:picChg>
        <pc:picChg chg="mod">
          <ac:chgData name="Anjali Dwivedi" userId="5d021d5d-7ae3-40c8-98f7-906717a708a8" providerId="ADAL" clId="{2884530C-1040-4F70-8FB5-F4391A53C901}" dt="2023-09-08T19:23:52.706" v="2470" actId="1037"/>
          <ac:picMkLst>
            <pc:docMk/>
            <pc:sldMk cId="2779596076" sldId="4876"/>
            <ac:picMk id="2054" creationId="{972DC3CE-3700-D150-5009-A945BF4FF548}"/>
          </ac:picMkLst>
        </pc:picChg>
      </pc:sldChg>
      <pc:sldChg chg="modSp mod">
        <pc:chgData name="Anjali Dwivedi" userId="5d021d5d-7ae3-40c8-98f7-906717a708a8" providerId="ADAL" clId="{2884530C-1040-4F70-8FB5-F4391A53C901}" dt="2023-09-08T18:59:43.365" v="1801" actId="20577"/>
        <pc:sldMkLst>
          <pc:docMk/>
          <pc:sldMk cId="1444240" sldId="2147374911"/>
        </pc:sldMkLst>
        <pc:spChg chg="mod">
          <ac:chgData name="Anjali Dwivedi" userId="5d021d5d-7ae3-40c8-98f7-906717a708a8" providerId="ADAL" clId="{2884530C-1040-4F70-8FB5-F4391A53C901}" dt="2023-09-08T18:59:43.365" v="1801" actId="20577"/>
          <ac:spMkLst>
            <pc:docMk/>
            <pc:sldMk cId="1444240" sldId="2147374911"/>
            <ac:spMk id="2" creationId="{650ACC24-8488-43C0-9A0A-195C0E6ED0D1}"/>
          </ac:spMkLst>
        </pc:spChg>
      </pc:sldChg>
      <pc:sldChg chg="addSp delSp modSp add mod">
        <pc:chgData name="Anjali Dwivedi" userId="5d021d5d-7ae3-40c8-98f7-906717a708a8" providerId="ADAL" clId="{2884530C-1040-4F70-8FB5-F4391A53C901}" dt="2023-09-08T19:22:43.473" v="2449" actId="2711"/>
        <pc:sldMkLst>
          <pc:docMk/>
          <pc:sldMk cId="2775541266" sldId="2147374913"/>
        </pc:sldMkLst>
        <pc:spChg chg="del mod">
          <ac:chgData name="Anjali Dwivedi" userId="5d021d5d-7ae3-40c8-98f7-906717a708a8" providerId="ADAL" clId="{2884530C-1040-4F70-8FB5-F4391A53C901}" dt="2023-09-08T17:02:48.903" v="217" actId="478"/>
          <ac:spMkLst>
            <pc:docMk/>
            <pc:sldMk cId="2775541266" sldId="2147374913"/>
            <ac:spMk id="2" creationId="{E47AE8C5-C012-2C09-DD87-F703936B6295}"/>
          </ac:spMkLst>
        </pc:spChg>
        <pc:spChg chg="mod">
          <ac:chgData name="Anjali Dwivedi" userId="5d021d5d-7ae3-40c8-98f7-906717a708a8" providerId="ADAL" clId="{2884530C-1040-4F70-8FB5-F4391A53C901}" dt="2023-09-08T19:22:43.473" v="2449" actId="2711"/>
          <ac:spMkLst>
            <pc:docMk/>
            <pc:sldMk cId="2775541266" sldId="2147374913"/>
            <ac:spMk id="3" creationId="{F22C4214-8094-2B96-C1FF-9B458C9C467E}"/>
          </ac:spMkLst>
        </pc:spChg>
        <pc:spChg chg="del">
          <ac:chgData name="Anjali Dwivedi" userId="5d021d5d-7ae3-40c8-98f7-906717a708a8" providerId="ADAL" clId="{2884530C-1040-4F70-8FB5-F4391A53C901}" dt="2023-09-08T17:02:41.293" v="215" actId="478"/>
          <ac:spMkLst>
            <pc:docMk/>
            <pc:sldMk cId="2775541266" sldId="2147374913"/>
            <ac:spMk id="4" creationId="{D01FCA7C-CE09-7AF8-8235-1C58D2DC694A}"/>
          </ac:spMkLst>
        </pc:spChg>
        <pc:spChg chg="add del mod">
          <ac:chgData name="Anjali Dwivedi" userId="5d021d5d-7ae3-40c8-98f7-906717a708a8" providerId="ADAL" clId="{2884530C-1040-4F70-8FB5-F4391A53C901}" dt="2023-09-08T17:03:14.173" v="222" actId="478"/>
          <ac:spMkLst>
            <pc:docMk/>
            <pc:sldMk cId="2775541266" sldId="2147374913"/>
            <ac:spMk id="6" creationId="{32546D54-F877-4B43-8F89-9E0FE91F7334}"/>
          </ac:spMkLst>
        </pc:spChg>
        <pc:spChg chg="del">
          <ac:chgData name="Anjali Dwivedi" userId="5d021d5d-7ae3-40c8-98f7-906717a708a8" providerId="ADAL" clId="{2884530C-1040-4F70-8FB5-F4391A53C901}" dt="2023-09-08T17:02:41.293" v="215" actId="478"/>
          <ac:spMkLst>
            <pc:docMk/>
            <pc:sldMk cId="2775541266" sldId="2147374913"/>
            <ac:spMk id="7" creationId="{8FBD0290-DE64-7AA7-B9AC-66F6EEEDA552}"/>
          </ac:spMkLst>
        </pc:spChg>
        <pc:spChg chg="add del mod">
          <ac:chgData name="Anjali Dwivedi" userId="5d021d5d-7ae3-40c8-98f7-906717a708a8" providerId="ADAL" clId="{2884530C-1040-4F70-8FB5-F4391A53C901}" dt="2023-09-08T17:03:12.537" v="221"/>
          <ac:spMkLst>
            <pc:docMk/>
            <pc:sldMk cId="2775541266" sldId="2147374913"/>
            <ac:spMk id="43" creationId="{503080D2-111F-4A99-9C59-317C070E3BC7}"/>
          </ac:spMkLst>
        </pc:spChg>
        <pc:spChg chg="add del mod">
          <ac:chgData name="Anjali Dwivedi" userId="5d021d5d-7ae3-40c8-98f7-906717a708a8" providerId="ADAL" clId="{2884530C-1040-4F70-8FB5-F4391A53C901}" dt="2023-09-08T17:03:12.537" v="221"/>
          <ac:spMkLst>
            <pc:docMk/>
            <pc:sldMk cId="2775541266" sldId="2147374913"/>
            <ac:spMk id="44" creationId="{7B415548-7EAA-4365-8CDF-E3295A1A38CA}"/>
          </ac:spMkLst>
        </pc:spChg>
        <pc:spChg chg="add del mod">
          <ac:chgData name="Anjali Dwivedi" userId="5d021d5d-7ae3-40c8-98f7-906717a708a8" providerId="ADAL" clId="{2884530C-1040-4F70-8FB5-F4391A53C901}" dt="2023-09-08T17:03:12.537" v="221"/>
          <ac:spMkLst>
            <pc:docMk/>
            <pc:sldMk cId="2775541266" sldId="2147374913"/>
            <ac:spMk id="45" creationId="{23D19C68-B77A-47FA-8F25-7B8860B49CE0}"/>
          </ac:spMkLst>
        </pc:spChg>
        <pc:spChg chg="add del mod">
          <ac:chgData name="Anjali Dwivedi" userId="5d021d5d-7ae3-40c8-98f7-906717a708a8" providerId="ADAL" clId="{2884530C-1040-4F70-8FB5-F4391A53C901}" dt="2023-09-08T17:03:12.537" v="221"/>
          <ac:spMkLst>
            <pc:docMk/>
            <pc:sldMk cId="2775541266" sldId="2147374913"/>
            <ac:spMk id="46" creationId="{C4A1F7F9-E2B5-4CA0-B623-CE7B20832342}"/>
          </ac:spMkLst>
        </pc:spChg>
        <pc:spChg chg="add del mod">
          <ac:chgData name="Anjali Dwivedi" userId="5d021d5d-7ae3-40c8-98f7-906717a708a8" providerId="ADAL" clId="{2884530C-1040-4F70-8FB5-F4391A53C901}" dt="2023-09-08T17:03:12.537" v="221"/>
          <ac:spMkLst>
            <pc:docMk/>
            <pc:sldMk cId="2775541266" sldId="2147374913"/>
            <ac:spMk id="47" creationId="{7CEB749B-779B-4D7C-B07C-3194DB54675D}"/>
          </ac:spMkLst>
        </pc:spChg>
        <pc:spChg chg="add del mod">
          <ac:chgData name="Anjali Dwivedi" userId="5d021d5d-7ae3-40c8-98f7-906717a708a8" providerId="ADAL" clId="{2884530C-1040-4F70-8FB5-F4391A53C901}" dt="2023-09-08T17:03:12.537" v="221"/>
          <ac:spMkLst>
            <pc:docMk/>
            <pc:sldMk cId="2775541266" sldId="2147374913"/>
            <ac:spMk id="48" creationId="{3C48872D-8723-4349-8CC5-07F64D18E46D}"/>
          </ac:spMkLst>
        </pc:spChg>
        <pc:spChg chg="add del mod">
          <ac:chgData name="Anjali Dwivedi" userId="5d021d5d-7ae3-40c8-98f7-906717a708a8" providerId="ADAL" clId="{2884530C-1040-4F70-8FB5-F4391A53C901}" dt="2023-09-08T17:03:12.537" v="221"/>
          <ac:spMkLst>
            <pc:docMk/>
            <pc:sldMk cId="2775541266" sldId="2147374913"/>
            <ac:spMk id="49" creationId="{B65A7748-7791-4BD5-9791-A3AE4FFE8522}"/>
          </ac:spMkLst>
        </pc:spChg>
        <pc:spChg chg="add del mod">
          <ac:chgData name="Anjali Dwivedi" userId="5d021d5d-7ae3-40c8-98f7-906717a708a8" providerId="ADAL" clId="{2884530C-1040-4F70-8FB5-F4391A53C901}" dt="2023-09-08T17:03:12.537" v="221"/>
          <ac:spMkLst>
            <pc:docMk/>
            <pc:sldMk cId="2775541266" sldId="2147374913"/>
            <ac:spMk id="50" creationId="{663675BA-AB52-4B09-AEAE-D5F48E2DF811}"/>
          </ac:spMkLst>
        </pc:spChg>
        <pc:spChg chg="add del mod">
          <ac:chgData name="Anjali Dwivedi" userId="5d021d5d-7ae3-40c8-98f7-906717a708a8" providerId="ADAL" clId="{2884530C-1040-4F70-8FB5-F4391A53C901}" dt="2023-09-08T17:03:12.537" v="221"/>
          <ac:spMkLst>
            <pc:docMk/>
            <pc:sldMk cId="2775541266" sldId="2147374913"/>
            <ac:spMk id="51" creationId="{D242ABC4-0B5A-4471-BC1C-3A6559744627}"/>
          </ac:spMkLst>
        </pc:spChg>
        <pc:spChg chg="add mod">
          <ac:chgData name="Anjali Dwivedi" userId="5d021d5d-7ae3-40c8-98f7-906717a708a8" providerId="ADAL" clId="{2884530C-1040-4F70-8FB5-F4391A53C901}" dt="2023-09-08T19:22:43.473" v="2449" actId="2711"/>
          <ac:spMkLst>
            <pc:docMk/>
            <pc:sldMk cId="2775541266" sldId="2147374913"/>
            <ac:spMk id="52" creationId="{01999DA9-04C7-4BB4-9C2B-7B2BF7E178B0}"/>
          </ac:spMkLst>
        </pc:spChg>
        <pc:spChg chg="add del mod">
          <ac:chgData name="Anjali Dwivedi" userId="5d021d5d-7ae3-40c8-98f7-906717a708a8" providerId="ADAL" clId="{2884530C-1040-4F70-8FB5-F4391A53C901}" dt="2023-09-08T17:12:50.814" v="394" actId="478"/>
          <ac:spMkLst>
            <pc:docMk/>
            <pc:sldMk cId="2775541266" sldId="2147374913"/>
            <ac:spMk id="53" creationId="{B0FDC872-71C9-4FA9-86CB-ADF0DA15DE79}"/>
          </ac:spMkLst>
        </pc:spChg>
        <pc:spChg chg="add del mod">
          <ac:chgData name="Anjali Dwivedi" userId="5d021d5d-7ae3-40c8-98f7-906717a708a8" providerId="ADAL" clId="{2884530C-1040-4F70-8FB5-F4391A53C901}" dt="2023-09-08T17:12:52.285" v="395" actId="478"/>
          <ac:spMkLst>
            <pc:docMk/>
            <pc:sldMk cId="2775541266" sldId="2147374913"/>
            <ac:spMk id="54" creationId="{CB9D1106-20FC-4224-8564-4DE557F4480E}"/>
          </ac:spMkLst>
        </pc:spChg>
        <pc:spChg chg="add del mod">
          <ac:chgData name="Anjali Dwivedi" userId="5d021d5d-7ae3-40c8-98f7-906717a708a8" providerId="ADAL" clId="{2884530C-1040-4F70-8FB5-F4391A53C901}" dt="2023-09-08T17:12:54.048" v="396" actId="478"/>
          <ac:spMkLst>
            <pc:docMk/>
            <pc:sldMk cId="2775541266" sldId="2147374913"/>
            <ac:spMk id="55" creationId="{A5D96D01-A181-495D-B5B1-90C4C63006E9}"/>
          </ac:spMkLst>
        </pc:spChg>
        <pc:spChg chg="add del mod">
          <ac:chgData name="Anjali Dwivedi" userId="5d021d5d-7ae3-40c8-98f7-906717a708a8" providerId="ADAL" clId="{2884530C-1040-4F70-8FB5-F4391A53C901}" dt="2023-09-08T17:12:45.491" v="393" actId="478"/>
          <ac:spMkLst>
            <pc:docMk/>
            <pc:sldMk cId="2775541266" sldId="2147374913"/>
            <ac:spMk id="56" creationId="{18A45FAE-AEB8-48C4-AB77-36CD5BA21A5B}"/>
          </ac:spMkLst>
        </pc:spChg>
        <pc:spChg chg="add del mod">
          <ac:chgData name="Anjali Dwivedi" userId="5d021d5d-7ae3-40c8-98f7-906717a708a8" providerId="ADAL" clId="{2884530C-1040-4F70-8FB5-F4391A53C901}" dt="2023-09-08T17:04:04.261" v="239" actId="478"/>
          <ac:spMkLst>
            <pc:docMk/>
            <pc:sldMk cId="2775541266" sldId="2147374913"/>
            <ac:spMk id="57" creationId="{E02A1F8C-CDA5-4A2F-9EBC-2A76B1E71023}"/>
          </ac:spMkLst>
        </pc:spChg>
        <pc:spChg chg="add mod">
          <ac:chgData name="Anjali Dwivedi" userId="5d021d5d-7ae3-40c8-98f7-906717a708a8" providerId="ADAL" clId="{2884530C-1040-4F70-8FB5-F4391A53C901}" dt="2023-09-08T19:22:43.473" v="2449" actId="2711"/>
          <ac:spMkLst>
            <pc:docMk/>
            <pc:sldMk cId="2775541266" sldId="2147374913"/>
            <ac:spMk id="58" creationId="{52A24615-F384-4AEA-870A-84ED22F78320}"/>
          </ac:spMkLst>
        </pc:spChg>
        <pc:spChg chg="add mod">
          <ac:chgData name="Anjali Dwivedi" userId="5d021d5d-7ae3-40c8-98f7-906717a708a8" providerId="ADAL" clId="{2884530C-1040-4F70-8FB5-F4391A53C901}" dt="2023-09-08T19:22:43.473" v="2449" actId="2711"/>
          <ac:spMkLst>
            <pc:docMk/>
            <pc:sldMk cId="2775541266" sldId="2147374913"/>
            <ac:spMk id="59" creationId="{DE06CF1B-7261-439B-A335-F1DAAA38B029}"/>
          </ac:spMkLst>
        </pc:spChg>
        <pc:spChg chg="add mod">
          <ac:chgData name="Anjali Dwivedi" userId="5d021d5d-7ae3-40c8-98f7-906717a708a8" providerId="ADAL" clId="{2884530C-1040-4F70-8FB5-F4391A53C901}" dt="2023-09-08T19:22:43.473" v="2449" actId="2711"/>
          <ac:spMkLst>
            <pc:docMk/>
            <pc:sldMk cId="2775541266" sldId="2147374913"/>
            <ac:spMk id="60" creationId="{1EA1F619-48C7-4DB7-8941-CE0A3000CAD4}"/>
          </ac:spMkLst>
        </pc:spChg>
        <pc:spChg chg="add del mod">
          <ac:chgData name="Anjali Dwivedi" userId="5d021d5d-7ae3-40c8-98f7-906717a708a8" providerId="ADAL" clId="{2884530C-1040-4F70-8FB5-F4391A53C901}" dt="2023-09-08T19:22:43.473" v="2449" actId="2711"/>
          <ac:spMkLst>
            <pc:docMk/>
            <pc:sldMk cId="2775541266" sldId="2147374913"/>
            <ac:spMk id="61" creationId="{4135059C-6C51-4652-AC0D-1EBA7471FEAC}"/>
          </ac:spMkLst>
        </pc:spChg>
        <pc:spChg chg="add mod">
          <ac:chgData name="Anjali Dwivedi" userId="5d021d5d-7ae3-40c8-98f7-906717a708a8" providerId="ADAL" clId="{2884530C-1040-4F70-8FB5-F4391A53C901}" dt="2023-09-08T19:22:43.473" v="2449" actId="2711"/>
          <ac:spMkLst>
            <pc:docMk/>
            <pc:sldMk cId="2775541266" sldId="2147374913"/>
            <ac:spMk id="62" creationId="{318D3676-1CB1-44C3-A87E-4043624C129D}"/>
          </ac:spMkLst>
        </pc:spChg>
        <pc:spChg chg="add del mod">
          <ac:chgData name="Anjali Dwivedi" userId="5d021d5d-7ae3-40c8-98f7-906717a708a8" providerId="ADAL" clId="{2884530C-1040-4F70-8FB5-F4391A53C901}" dt="2023-09-08T17:14:43.621" v="459" actId="478"/>
          <ac:spMkLst>
            <pc:docMk/>
            <pc:sldMk cId="2775541266" sldId="2147374913"/>
            <ac:spMk id="63" creationId="{88E80ACF-F291-4C09-B9B4-151057557D35}"/>
          </ac:spMkLst>
        </pc:spChg>
        <pc:spChg chg="add mod">
          <ac:chgData name="Anjali Dwivedi" userId="5d021d5d-7ae3-40c8-98f7-906717a708a8" providerId="ADAL" clId="{2884530C-1040-4F70-8FB5-F4391A53C901}" dt="2023-09-08T19:22:43.473" v="2449" actId="2711"/>
          <ac:spMkLst>
            <pc:docMk/>
            <pc:sldMk cId="2775541266" sldId="2147374913"/>
            <ac:spMk id="64" creationId="{B134A4D1-D3D1-409E-9AC2-BC3872B2D4AD}"/>
          </ac:spMkLst>
        </pc:spChg>
        <pc:grpChg chg="del">
          <ac:chgData name="Anjali Dwivedi" userId="5d021d5d-7ae3-40c8-98f7-906717a708a8" providerId="ADAL" clId="{2884530C-1040-4F70-8FB5-F4391A53C901}" dt="2023-09-08T17:02:41.293" v="215" actId="478"/>
          <ac:grpSpMkLst>
            <pc:docMk/>
            <pc:sldMk cId="2775541266" sldId="2147374913"/>
            <ac:grpSpMk id="163" creationId="{3B0AE107-A130-FF19-38B0-E94EECC0B228}"/>
          </ac:grpSpMkLst>
        </pc:grpChg>
        <pc:grpChg chg="del">
          <ac:chgData name="Anjali Dwivedi" userId="5d021d5d-7ae3-40c8-98f7-906717a708a8" providerId="ADAL" clId="{2884530C-1040-4F70-8FB5-F4391A53C901}" dt="2023-09-08T17:02:41.293" v="215" actId="478"/>
          <ac:grpSpMkLst>
            <pc:docMk/>
            <pc:sldMk cId="2775541266" sldId="2147374913"/>
            <ac:grpSpMk id="184" creationId="{A473008E-4BDF-BFD2-6690-22FD0D8CD2AD}"/>
          </ac:grpSpMkLst>
        </pc:grpChg>
        <pc:grpChg chg="del">
          <ac:chgData name="Anjali Dwivedi" userId="5d021d5d-7ae3-40c8-98f7-906717a708a8" providerId="ADAL" clId="{2884530C-1040-4F70-8FB5-F4391A53C901}" dt="2023-09-08T17:02:41.293" v="215" actId="478"/>
          <ac:grpSpMkLst>
            <pc:docMk/>
            <pc:sldMk cId="2775541266" sldId="2147374913"/>
            <ac:grpSpMk id="197" creationId="{FCD47587-59B9-C73A-C631-36F4FA605D0D}"/>
          </ac:grpSpMkLst>
        </pc:grpChg>
        <pc:grpChg chg="del">
          <ac:chgData name="Anjali Dwivedi" userId="5d021d5d-7ae3-40c8-98f7-906717a708a8" providerId="ADAL" clId="{2884530C-1040-4F70-8FB5-F4391A53C901}" dt="2023-09-08T17:02:41.293" v="215" actId="478"/>
          <ac:grpSpMkLst>
            <pc:docMk/>
            <pc:sldMk cId="2775541266" sldId="2147374913"/>
            <ac:grpSpMk id="218" creationId="{BD7B9DD1-617A-1E9D-657A-D4E346DB23CB}"/>
          </ac:grpSpMkLst>
        </pc:grpChg>
      </pc:sldChg>
      <pc:sldChg chg="addSp delSp modSp add mod">
        <pc:chgData name="Anjali Dwivedi" userId="5d021d5d-7ae3-40c8-98f7-906717a708a8" providerId="ADAL" clId="{2884530C-1040-4F70-8FB5-F4391A53C901}" dt="2023-09-08T19:22:51.463" v="2450" actId="2711"/>
        <pc:sldMkLst>
          <pc:docMk/>
          <pc:sldMk cId="2849089771" sldId="2147374914"/>
        </pc:sldMkLst>
        <pc:spChg chg="mod">
          <ac:chgData name="Anjali Dwivedi" userId="5d021d5d-7ae3-40c8-98f7-906717a708a8" providerId="ADAL" clId="{2884530C-1040-4F70-8FB5-F4391A53C901}" dt="2023-09-08T19:22:51.463" v="2450" actId="2711"/>
          <ac:spMkLst>
            <pc:docMk/>
            <pc:sldMk cId="2849089771" sldId="2147374914"/>
            <ac:spMk id="3" creationId="{F22C4214-8094-2B96-C1FF-9B458C9C467E}"/>
          </ac:spMkLst>
        </pc:spChg>
        <pc:spChg chg="add mod">
          <ac:chgData name="Anjali Dwivedi" userId="5d021d5d-7ae3-40c8-98f7-906717a708a8" providerId="ADAL" clId="{2884530C-1040-4F70-8FB5-F4391A53C901}" dt="2023-09-08T19:22:51.463" v="2450" actId="2711"/>
          <ac:spMkLst>
            <pc:docMk/>
            <pc:sldMk cId="2849089771" sldId="2147374914"/>
            <ac:spMk id="10" creationId="{EC397484-199C-4FC4-8564-5E0557CD6CCB}"/>
          </ac:spMkLst>
        </pc:spChg>
        <pc:spChg chg="add mod">
          <ac:chgData name="Anjali Dwivedi" userId="5d021d5d-7ae3-40c8-98f7-906717a708a8" providerId="ADAL" clId="{2884530C-1040-4F70-8FB5-F4391A53C901}" dt="2023-09-08T19:22:51.463" v="2450" actId="2711"/>
          <ac:spMkLst>
            <pc:docMk/>
            <pc:sldMk cId="2849089771" sldId="2147374914"/>
            <ac:spMk id="11" creationId="{591155E6-7713-4BD3-BB3C-98C44384A49E}"/>
          </ac:spMkLst>
        </pc:spChg>
        <pc:spChg chg="add mod">
          <ac:chgData name="Anjali Dwivedi" userId="5d021d5d-7ae3-40c8-98f7-906717a708a8" providerId="ADAL" clId="{2884530C-1040-4F70-8FB5-F4391A53C901}" dt="2023-09-08T19:22:51.463" v="2450" actId="2711"/>
          <ac:spMkLst>
            <pc:docMk/>
            <pc:sldMk cId="2849089771" sldId="2147374914"/>
            <ac:spMk id="12" creationId="{C1D8AF5A-6A81-4176-93B5-5B90FE56FA81}"/>
          </ac:spMkLst>
        </pc:spChg>
        <pc:spChg chg="add mod">
          <ac:chgData name="Anjali Dwivedi" userId="5d021d5d-7ae3-40c8-98f7-906717a708a8" providerId="ADAL" clId="{2884530C-1040-4F70-8FB5-F4391A53C901}" dt="2023-09-08T19:22:51.463" v="2450" actId="2711"/>
          <ac:spMkLst>
            <pc:docMk/>
            <pc:sldMk cId="2849089771" sldId="2147374914"/>
            <ac:spMk id="13" creationId="{6000041E-2A62-44EB-B269-BA78C3196527}"/>
          </ac:spMkLst>
        </pc:spChg>
        <pc:spChg chg="add mod">
          <ac:chgData name="Anjali Dwivedi" userId="5d021d5d-7ae3-40c8-98f7-906717a708a8" providerId="ADAL" clId="{2884530C-1040-4F70-8FB5-F4391A53C901}" dt="2023-09-08T19:22:51.463" v="2450" actId="2711"/>
          <ac:spMkLst>
            <pc:docMk/>
            <pc:sldMk cId="2849089771" sldId="2147374914"/>
            <ac:spMk id="14" creationId="{B2FA8583-204C-406C-AC30-FCA21D073713}"/>
          </ac:spMkLst>
        </pc:spChg>
        <pc:spChg chg="add mod">
          <ac:chgData name="Anjali Dwivedi" userId="5d021d5d-7ae3-40c8-98f7-906717a708a8" providerId="ADAL" clId="{2884530C-1040-4F70-8FB5-F4391A53C901}" dt="2023-09-08T19:22:51.463" v="2450" actId="2711"/>
          <ac:spMkLst>
            <pc:docMk/>
            <pc:sldMk cId="2849089771" sldId="2147374914"/>
            <ac:spMk id="15" creationId="{3AE12B84-720A-4DA5-B897-47EADA616B10}"/>
          </ac:spMkLst>
        </pc:spChg>
        <pc:spChg chg="add mod">
          <ac:chgData name="Anjali Dwivedi" userId="5d021d5d-7ae3-40c8-98f7-906717a708a8" providerId="ADAL" clId="{2884530C-1040-4F70-8FB5-F4391A53C901}" dt="2023-09-08T19:22:51.463" v="2450" actId="2711"/>
          <ac:spMkLst>
            <pc:docMk/>
            <pc:sldMk cId="2849089771" sldId="2147374914"/>
            <ac:spMk id="16" creationId="{745806A1-B082-4139-8D41-ED53DBF6AA3D}"/>
          </ac:spMkLst>
        </pc:spChg>
        <pc:spChg chg="add mod">
          <ac:chgData name="Anjali Dwivedi" userId="5d021d5d-7ae3-40c8-98f7-906717a708a8" providerId="ADAL" clId="{2884530C-1040-4F70-8FB5-F4391A53C901}" dt="2023-09-08T19:22:51.463" v="2450" actId="2711"/>
          <ac:spMkLst>
            <pc:docMk/>
            <pc:sldMk cId="2849089771" sldId="2147374914"/>
            <ac:spMk id="17" creationId="{BFB6EAC8-F8B1-4F40-81C2-536B499729EA}"/>
          </ac:spMkLst>
        </pc:spChg>
        <pc:spChg chg="add mod">
          <ac:chgData name="Anjali Dwivedi" userId="5d021d5d-7ae3-40c8-98f7-906717a708a8" providerId="ADAL" clId="{2884530C-1040-4F70-8FB5-F4391A53C901}" dt="2023-09-08T19:22:51.463" v="2450" actId="2711"/>
          <ac:spMkLst>
            <pc:docMk/>
            <pc:sldMk cId="2849089771" sldId="2147374914"/>
            <ac:spMk id="18" creationId="{FDAC8677-EDB9-4472-B7B3-BE5B9763B36A}"/>
          </ac:spMkLst>
        </pc:spChg>
        <pc:spChg chg="mod">
          <ac:chgData name="Anjali Dwivedi" userId="5d021d5d-7ae3-40c8-98f7-906717a708a8" providerId="ADAL" clId="{2884530C-1040-4F70-8FB5-F4391A53C901}" dt="2023-09-08T19:22:51.463" v="2450" actId="2711"/>
          <ac:spMkLst>
            <pc:docMk/>
            <pc:sldMk cId="2849089771" sldId="2147374914"/>
            <ac:spMk id="52" creationId="{01999DA9-04C7-4BB4-9C2B-7B2BF7E178B0}"/>
          </ac:spMkLst>
        </pc:spChg>
        <pc:spChg chg="mod">
          <ac:chgData name="Anjali Dwivedi" userId="5d021d5d-7ae3-40c8-98f7-906717a708a8" providerId="ADAL" clId="{2884530C-1040-4F70-8FB5-F4391A53C901}" dt="2023-09-08T19:22:51.463" v="2450" actId="2711"/>
          <ac:spMkLst>
            <pc:docMk/>
            <pc:sldMk cId="2849089771" sldId="2147374914"/>
            <ac:spMk id="58" creationId="{52A24615-F384-4AEA-870A-84ED22F78320}"/>
          </ac:spMkLst>
        </pc:spChg>
        <pc:spChg chg="mod">
          <ac:chgData name="Anjali Dwivedi" userId="5d021d5d-7ae3-40c8-98f7-906717a708a8" providerId="ADAL" clId="{2884530C-1040-4F70-8FB5-F4391A53C901}" dt="2023-09-08T19:22:51.463" v="2450" actId="2711"/>
          <ac:spMkLst>
            <pc:docMk/>
            <pc:sldMk cId="2849089771" sldId="2147374914"/>
            <ac:spMk id="59" creationId="{DE06CF1B-7261-439B-A335-F1DAAA38B029}"/>
          </ac:spMkLst>
        </pc:spChg>
        <pc:spChg chg="mod">
          <ac:chgData name="Anjali Dwivedi" userId="5d021d5d-7ae3-40c8-98f7-906717a708a8" providerId="ADAL" clId="{2884530C-1040-4F70-8FB5-F4391A53C901}" dt="2023-09-08T19:22:51.463" v="2450" actId="2711"/>
          <ac:spMkLst>
            <pc:docMk/>
            <pc:sldMk cId="2849089771" sldId="2147374914"/>
            <ac:spMk id="60" creationId="{1EA1F619-48C7-4DB7-8941-CE0A3000CAD4}"/>
          </ac:spMkLst>
        </pc:spChg>
        <pc:spChg chg="del">
          <ac:chgData name="Anjali Dwivedi" userId="5d021d5d-7ae3-40c8-98f7-906717a708a8" providerId="ADAL" clId="{2884530C-1040-4F70-8FB5-F4391A53C901}" dt="2023-09-08T17:22:13.624" v="524" actId="478"/>
          <ac:spMkLst>
            <pc:docMk/>
            <pc:sldMk cId="2849089771" sldId="2147374914"/>
            <ac:spMk id="61" creationId="{4135059C-6C51-4652-AC0D-1EBA7471FEAC}"/>
          </ac:spMkLst>
        </pc:spChg>
        <pc:spChg chg="del">
          <ac:chgData name="Anjali Dwivedi" userId="5d021d5d-7ae3-40c8-98f7-906717a708a8" providerId="ADAL" clId="{2884530C-1040-4F70-8FB5-F4391A53C901}" dt="2023-09-08T17:22:15.188" v="525" actId="478"/>
          <ac:spMkLst>
            <pc:docMk/>
            <pc:sldMk cId="2849089771" sldId="2147374914"/>
            <ac:spMk id="62" creationId="{318D3676-1CB1-44C3-A87E-4043624C129D}"/>
          </ac:spMkLst>
        </pc:spChg>
        <pc:spChg chg="del">
          <ac:chgData name="Anjali Dwivedi" userId="5d021d5d-7ae3-40c8-98f7-906717a708a8" providerId="ADAL" clId="{2884530C-1040-4F70-8FB5-F4391A53C901}" dt="2023-09-08T17:22:12.015" v="523" actId="478"/>
          <ac:spMkLst>
            <pc:docMk/>
            <pc:sldMk cId="2849089771" sldId="2147374914"/>
            <ac:spMk id="64" creationId="{B134A4D1-D3D1-409E-9AC2-BC3872B2D4AD}"/>
          </ac:spMkLst>
        </pc:spChg>
      </pc:sldChg>
      <pc:sldChg chg="addSp delSp modSp add mod">
        <pc:chgData name="Anjali Dwivedi" userId="5d021d5d-7ae3-40c8-98f7-906717a708a8" providerId="ADAL" clId="{2884530C-1040-4F70-8FB5-F4391A53C901}" dt="2023-09-08T19:22:32.217" v="2448" actId="2711"/>
        <pc:sldMkLst>
          <pc:docMk/>
          <pc:sldMk cId="4256479026" sldId="2147374915"/>
        </pc:sldMkLst>
        <pc:spChg chg="add mod">
          <ac:chgData name="Anjali Dwivedi" userId="5d021d5d-7ae3-40c8-98f7-906717a708a8" providerId="ADAL" clId="{2884530C-1040-4F70-8FB5-F4391A53C901}" dt="2023-09-08T19:22:32.217" v="2448" actId="2711"/>
          <ac:spMkLst>
            <pc:docMk/>
            <pc:sldMk cId="4256479026" sldId="2147374915"/>
            <ac:spMk id="5" creationId="{AF4AB73D-1E8D-49A9-96A2-4178D76BFC5A}"/>
          </ac:spMkLst>
        </pc:spChg>
        <pc:spChg chg="del mod">
          <ac:chgData name="Anjali Dwivedi" userId="5d021d5d-7ae3-40c8-98f7-906717a708a8" providerId="ADAL" clId="{2884530C-1040-4F70-8FB5-F4391A53C901}" dt="2023-09-08T18:04:14.992" v="1494" actId="478"/>
          <ac:spMkLst>
            <pc:docMk/>
            <pc:sldMk cId="4256479026" sldId="2147374915"/>
            <ac:spMk id="6" creationId="{A3231832-D34A-C7C1-6FF5-CD0DA9CF4240}"/>
          </ac:spMkLst>
        </pc:spChg>
        <pc:spChg chg="add mod">
          <ac:chgData name="Anjali Dwivedi" userId="5d021d5d-7ae3-40c8-98f7-906717a708a8" providerId="ADAL" clId="{2884530C-1040-4F70-8FB5-F4391A53C901}" dt="2023-09-08T19:22:32.217" v="2448" actId="2711"/>
          <ac:spMkLst>
            <pc:docMk/>
            <pc:sldMk cId="4256479026" sldId="2147374915"/>
            <ac:spMk id="7" creationId="{323A57C3-1225-4929-A68B-9C5317AC2C56}"/>
          </ac:spMkLst>
        </pc:spChg>
        <pc:spChg chg="add mod">
          <ac:chgData name="Anjali Dwivedi" userId="5d021d5d-7ae3-40c8-98f7-906717a708a8" providerId="ADAL" clId="{2884530C-1040-4F70-8FB5-F4391A53C901}" dt="2023-09-08T19:22:32.217" v="2448" actId="2711"/>
          <ac:spMkLst>
            <pc:docMk/>
            <pc:sldMk cId="4256479026" sldId="2147374915"/>
            <ac:spMk id="9" creationId="{2E85A2FD-5F15-4809-BFED-8EAFBA954587}"/>
          </ac:spMkLst>
        </pc:spChg>
        <pc:spChg chg="add mod">
          <ac:chgData name="Anjali Dwivedi" userId="5d021d5d-7ae3-40c8-98f7-906717a708a8" providerId="ADAL" clId="{2884530C-1040-4F70-8FB5-F4391A53C901}" dt="2023-09-08T19:22:32.217" v="2448" actId="2711"/>
          <ac:spMkLst>
            <pc:docMk/>
            <pc:sldMk cId="4256479026" sldId="2147374915"/>
            <ac:spMk id="10" creationId="{93983D2F-36F6-4BD3-BEBE-8697BD1605AC}"/>
          </ac:spMkLst>
        </pc:spChg>
      </pc:sldChg>
      <pc:sldChg chg="addSp delSp modSp add mod ord">
        <pc:chgData name="Anjali Dwivedi" userId="5d021d5d-7ae3-40c8-98f7-906717a708a8" providerId="ADAL" clId="{2884530C-1040-4F70-8FB5-F4391A53C901}" dt="2023-09-08T19:16:42.610" v="2435"/>
        <pc:sldMkLst>
          <pc:docMk/>
          <pc:sldMk cId="4199066013" sldId="2147374916"/>
        </pc:sldMkLst>
        <pc:spChg chg="del">
          <ac:chgData name="Anjali Dwivedi" userId="5d021d5d-7ae3-40c8-98f7-906717a708a8" providerId="ADAL" clId="{2884530C-1040-4F70-8FB5-F4391A53C901}" dt="2023-09-08T18:13:10.594" v="1629" actId="478"/>
          <ac:spMkLst>
            <pc:docMk/>
            <pc:sldMk cId="4199066013" sldId="2147374916"/>
            <ac:spMk id="3" creationId="{BA4C4405-D422-229C-691E-805052D7CFFE}"/>
          </ac:spMkLst>
        </pc:spChg>
        <pc:spChg chg="del mod">
          <ac:chgData name="Anjali Dwivedi" userId="5d021d5d-7ae3-40c8-98f7-906717a708a8" providerId="ADAL" clId="{2884530C-1040-4F70-8FB5-F4391A53C901}" dt="2023-09-08T18:13:13.576" v="1631" actId="478"/>
          <ac:spMkLst>
            <pc:docMk/>
            <pc:sldMk cId="4199066013" sldId="2147374916"/>
            <ac:spMk id="5" creationId="{B4D1D7C9-47F6-34DA-B0A3-2EACBBE2F249}"/>
          </ac:spMkLst>
        </pc:spChg>
        <pc:spChg chg="mod">
          <ac:chgData name="Anjali Dwivedi" userId="5d021d5d-7ae3-40c8-98f7-906717a708a8" providerId="ADAL" clId="{2884530C-1040-4F70-8FB5-F4391A53C901}" dt="2023-09-08T19:10:04.735" v="2113" actId="2711"/>
          <ac:spMkLst>
            <pc:docMk/>
            <pc:sldMk cId="4199066013" sldId="2147374916"/>
            <ac:spMk id="6" creationId="{90F55759-1492-9F02-0863-A08285FBE928}"/>
          </ac:spMkLst>
        </pc:spChg>
        <pc:spChg chg="add mod topLvl">
          <ac:chgData name="Anjali Dwivedi" userId="5d021d5d-7ae3-40c8-98f7-906717a708a8" providerId="ADAL" clId="{2884530C-1040-4F70-8FB5-F4391A53C901}" dt="2023-09-08T19:16:30.254" v="2433" actId="14100"/>
          <ac:spMkLst>
            <pc:docMk/>
            <pc:sldMk cId="4199066013" sldId="2147374916"/>
            <ac:spMk id="25" creationId="{700D6245-A0A4-4899-8D0C-2FAEB9BE078F}"/>
          </ac:spMkLst>
        </pc:spChg>
        <pc:spChg chg="add mod topLvl">
          <ac:chgData name="Anjali Dwivedi" userId="5d021d5d-7ae3-40c8-98f7-906717a708a8" providerId="ADAL" clId="{2884530C-1040-4F70-8FB5-F4391A53C901}" dt="2023-09-08T19:10:57.088" v="2140" actId="255"/>
          <ac:spMkLst>
            <pc:docMk/>
            <pc:sldMk cId="4199066013" sldId="2147374916"/>
            <ac:spMk id="26" creationId="{C41CFEAB-A4DA-4A36-90D9-79C6EF4EFC22}"/>
          </ac:spMkLst>
        </pc:spChg>
        <pc:spChg chg="add mod topLvl">
          <ac:chgData name="Anjali Dwivedi" userId="5d021d5d-7ae3-40c8-98f7-906717a708a8" providerId="ADAL" clId="{2884530C-1040-4F70-8FB5-F4391A53C901}" dt="2023-09-08T19:10:57.088" v="2140" actId="255"/>
          <ac:spMkLst>
            <pc:docMk/>
            <pc:sldMk cId="4199066013" sldId="2147374916"/>
            <ac:spMk id="27" creationId="{67D5D552-871E-4297-A67E-5880626795EF}"/>
          </ac:spMkLst>
        </pc:spChg>
        <pc:spChg chg="del">
          <ac:chgData name="Anjali Dwivedi" userId="5d021d5d-7ae3-40c8-98f7-906717a708a8" providerId="ADAL" clId="{2884530C-1040-4F70-8FB5-F4391A53C901}" dt="2023-09-08T18:13:17.025" v="1634" actId="478"/>
          <ac:spMkLst>
            <pc:docMk/>
            <pc:sldMk cId="4199066013" sldId="2147374916"/>
            <ac:spMk id="28" creationId="{0FDF84BD-0E5B-E33D-2CC8-52547465B990}"/>
          </ac:spMkLst>
        </pc:spChg>
        <pc:spChg chg="del">
          <ac:chgData name="Anjali Dwivedi" userId="5d021d5d-7ae3-40c8-98f7-906717a708a8" providerId="ADAL" clId="{2884530C-1040-4F70-8FB5-F4391A53C901}" dt="2023-09-08T18:13:22.887" v="1638" actId="478"/>
          <ac:spMkLst>
            <pc:docMk/>
            <pc:sldMk cId="4199066013" sldId="2147374916"/>
            <ac:spMk id="29" creationId="{F32975CC-4EC5-0801-4BB8-28EA1B9B7FB7}"/>
          </ac:spMkLst>
        </pc:spChg>
        <pc:spChg chg="del">
          <ac:chgData name="Anjali Dwivedi" userId="5d021d5d-7ae3-40c8-98f7-906717a708a8" providerId="ADAL" clId="{2884530C-1040-4F70-8FB5-F4391A53C901}" dt="2023-09-08T18:13:26.018" v="1640" actId="478"/>
          <ac:spMkLst>
            <pc:docMk/>
            <pc:sldMk cId="4199066013" sldId="2147374916"/>
            <ac:spMk id="30" creationId="{841A5629-287B-A713-2408-EC82BCB23F28}"/>
          </ac:spMkLst>
        </pc:spChg>
        <pc:spChg chg="del">
          <ac:chgData name="Anjali Dwivedi" userId="5d021d5d-7ae3-40c8-98f7-906717a708a8" providerId="ADAL" clId="{2884530C-1040-4F70-8FB5-F4391A53C901}" dt="2023-09-08T18:13:26.514" v="1641" actId="478"/>
          <ac:spMkLst>
            <pc:docMk/>
            <pc:sldMk cId="4199066013" sldId="2147374916"/>
            <ac:spMk id="31" creationId="{DF7A5BCD-9EB7-FC6A-44CD-7D856A7C10FE}"/>
          </ac:spMkLst>
        </pc:spChg>
        <pc:spChg chg="del">
          <ac:chgData name="Anjali Dwivedi" userId="5d021d5d-7ae3-40c8-98f7-906717a708a8" providerId="ADAL" clId="{2884530C-1040-4F70-8FB5-F4391A53C901}" dt="2023-09-08T18:13:17.025" v="1634" actId="478"/>
          <ac:spMkLst>
            <pc:docMk/>
            <pc:sldMk cId="4199066013" sldId="2147374916"/>
            <ac:spMk id="32" creationId="{C77BCA6A-1E18-435F-E91B-0B226E9229C4}"/>
          </ac:spMkLst>
        </pc:spChg>
        <pc:spChg chg="del">
          <ac:chgData name="Anjali Dwivedi" userId="5d021d5d-7ae3-40c8-98f7-906717a708a8" providerId="ADAL" clId="{2884530C-1040-4F70-8FB5-F4391A53C901}" dt="2023-09-08T18:13:25.535" v="1639" actId="478"/>
          <ac:spMkLst>
            <pc:docMk/>
            <pc:sldMk cId="4199066013" sldId="2147374916"/>
            <ac:spMk id="33" creationId="{03128477-DD9B-F0A9-7808-30ECC7F02EAE}"/>
          </ac:spMkLst>
        </pc:spChg>
        <pc:spChg chg="del">
          <ac:chgData name="Anjali Dwivedi" userId="5d021d5d-7ae3-40c8-98f7-906717a708a8" providerId="ADAL" clId="{2884530C-1040-4F70-8FB5-F4391A53C901}" dt="2023-09-08T18:13:14.510" v="1632" actId="478"/>
          <ac:spMkLst>
            <pc:docMk/>
            <pc:sldMk cId="4199066013" sldId="2147374916"/>
            <ac:spMk id="34" creationId="{5126BBD7-D0E4-25A4-F558-C0F1DF6C0BCE}"/>
          </ac:spMkLst>
        </pc:spChg>
        <pc:spChg chg="del">
          <ac:chgData name="Anjali Dwivedi" userId="5d021d5d-7ae3-40c8-98f7-906717a708a8" providerId="ADAL" clId="{2884530C-1040-4F70-8FB5-F4391A53C901}" dt="2023-09-08T18:13:17.025" v="1634" actId="478"/>
          <ac:spMkLst>
            <pc:docMk/>
            <pc:sldMk cId="4199066013" sldId="2147374916"/>
            <ac:spMk id="35" creationId="{3A0C9C47-1C86-07C3-7DF3-E7DDFD3EF1F5}"/>
          </ac:spMkLst>
        </pc:spChg>
        <pc:spChg chg="del">
          <ac:chgData name="Anjali Dwivedi" userId="5d021d5d-7ae3-40c8-98f7-906717a708a8" providerId="ADAL" clId="{2884530C-1040-4F70-8FB5-F4391A53C901}" dt="2023-09-08T18:13:20.218" v="1637" actId="478"/>
          <ac:spMkLst>
            <pc:docMk/>
            <pc:sldMk cId="4199066013" sldId="2147374916"/>
            <ac:spMk id="36" creationId="{3C49449E-EC7E-D719-FB87-46C4C3079949}"/>
          </ac:spMkLst>
        </pc:spChg>
        <pc:spChg chg="del mod">
          <ac:chgData name="Anjali Dwivedi" userId="5d021d5d-7ae3-40c8-98f7-906717a708a8" providerId="ADAL" clId="{2884530C-1040-4F70-8FB5-F4391A53C901}" dt="2023-09-08T18:13:19.186" v="1636" actId="478"/>
          <ac:spMkLst>
            <pc:docMk/>
            <pc:sldMk cId="4199066013" sldId="2147374916"/>
            <ac:spMk id="37" creationId="{1C8E7DDD-68ED-EF94-DFDB-1E0881A3F5D0}"/>
          </ac:spMkLst>
        </pc:spChg>
        <pc:spChg chg="del">
          <ac:chgData name="Anjali Dwivedi" userId="5d021d5d-7ae3-40c8-98f7-906717a708a8" providerId="ADAL" clId="{2884530C-1040-4F70-8FB5-F4391A53C901}" dt="2023-09-08T18:13:22.887" v="1638" actId="478"/>
          <ac:spMkLst>
            <pc:docMk/>
            <pc:sldMk cId="4199066013" sldId="2147374916"/>
            <ac:spMk id="38" creationId="{442E3632-0A43-6D03-DAFD-CE27C510E7DC}"/>
          </ac:spMkLst>
        </pc:spChg>
        <pc:spChg chg="del">
          <ac:chgData name="Anjali Dwivedi" userId="5d021d5d-7ae3-40c8-98f7-906717a708a8" providerId="ADAL" clId="{2884530C-1040-4F70-8FB5-F4391A53C901}" dt="2023-09-08T18:13:17.025" v="1634" actId="478"/>
          <ac:spMkLst>
            <pc:docMk/>
            <pc:sldMk cId="4199066013" sldId="2147374916"/>
            <ac:spMk id="39" creationId="{E0C2A74A-83C3-7A7C-20C7-DC8741BBE793}"/>
          </ac:spMkLst>
        </pc:spChg>
        <pc:spChg chg="del mod">
          <ac:chgData name="Anjali Dwivedi" userId="5d021d5d-7ae3-40c8-98f7-906717a708a8" providerId="ADAL" clId="{2884530C-1040-4F70-8FB5-F4391A53C901}" dt="2023-09-08T18:13:17.025" v="1634" actId="478"/>
          <ac:spMkLst>
            <pc:docMk/>
            <pc:sldMk cId="4199066013" sldId="2147374916"/>
            <ac:spMk id="40" creationId="{B4590D65-21B1-51BE-EBF5-D8131E270385}"/>
          </ac:spMkLst>
        </pc:spChg>
        <pc:spChg chg="del">
          <ac:chgData name="Anjali Dwivedi" userId="5d021d5d-7ae3-40c8-98f7-906717a708a8" providerId="ADAL" clId="{2884530C-1040-4F70-8FB5-F4391A53C901}" dt="2023-09-08T18:13:17.025" v="1634" actId="478"/>
          <ac:spMkLst>
            <pc:docMk/>
            <pc:sldMk cId="4199066013" sldId="2147374916"/>
            <ac:spMk id="41" creationId="{6E85571C-0F42-A29A-C22E-CA794ED40D52}"/>
          </ac:spMkLst>
        </pc:spChg>
        <pc:spChg chg="del">
          <ac:chgData name="Anjali Dwivedi" userId="5d021d5d-7ae3-40c8-98f7-906717a708a8" providerId="ADAL" clId="{2884530C-1040-4F70-8FB5-F4391A53C901}" dt="2023-09-08T18:13:22.887" v="1638" actId="478"/>
          <ac:spMkLst>
            <pc:docMk/>
            <pc:sldMk cId="4199066013" sldId="2147374916"/>
            <ac:spMk id="42" creationId="{7B9066C9-290C-D840-6685-1AA039CCCF47}"/>
          </ac:spMkLst>
        </pc:spChg>
        <pc:spChg chg="del">
          <ac:chgData name="Anjali Dwivedi" userId="5d021d5d-7ae3-40c8-98f7-906717a708a8" providerId="ADAL" clId="{2884530C-1040-4F70-8FB5-F4391A53C901}" dt="2023-09-08T18:13:22.887" v="1638" actId="478"/>
          <ac:spMkLst>
            <pc:docMk/>
            <pc:sldMk cId="4199066013" sldId="2147374916"/>
            <ac:spMk id="43" creationId="{EECB366C-3102-A2DE-E6A1-2B68A3540E2C}"/>
          </ac:spMkLst>
        </pc:spChg>
        <pc:spChg chg="del">
          <ac:chgData name="Anjali Dwivedi" userId="5d021d5d-7ae3-40c8-98f7-906717a708a8" providerId="ADAL" clId="{2884530C-1040-4F70-8FB5-F4391A53C901}" dt="2023-09-08T18:13:17.025" v="1634" actId="478"/>
          <ac:spMkLst>
            <pc:docMk/>
            <pc:sldMk cId="4199066013" sldId="2147374916"/>
            <ac:spMk id="44" creationId="{E7C6AB2D-C79B-64FD-0C1D-75BF3C76883F}"/>
          </ac:spMkLst>
        </pc:spChg>
        <pc:spChg chg="del">
          <ac:chgData name="Anjali Dwivedi" userId="5d021d5d-7ae3-40c8-98f7-906717a708a8" providerId="ADAL" clId="{2884530C-1040-4F70-8FB5-F4391A53C901}" dt="2023-09-08T18:13:17.025" v="1634" actId="478"/>
          <ac:spMkLst>
            <pc:docMk/>
            <pc:sldMk cId="4199066013" sldId="2147374916"/>
            <ac:spMk id="45" creationId="{4E7E4519-DD44-7656-0892-35D363C1A55F}"/>
          </ac:spMkLst>
        </pc:spChg>
        <pc:spChg chg="del">
          <ac:chgData name="Anjali Dwivedi" userId="5d021d5d-7ae3-40c8-98f7-906717a708a8" providerId="ADAL" clId="{2884530C-1040-4F70-8FB5-F4391A53C901}" dt="2023-09-08T18:13:17.025" v="1634" actId="478"/>
          <ac:spMkLst>
            <pc:docMk/>
            <pc:sldMk cId="4199066013" sldId="2147374916"/>
            <ac:spMk id="46" creationId="{1FE7B7B3-3F87-AC7E-53E4-4CC2F8948CA0}"/>
          </ac:spMkLst>
        </pc:spChg>
        <pc:spChg chg="del">
          <ac:chgData name="Anjali Dwivedi" userId="5d021d5d-7ae3-40c8-98f7-906717a708a8" providerId="ADAL" clId="{2884530C-1040-4F70-8FB5-F4391A53C901}" dt="2023-09-08T18:13:17.025" v="1634" actId="478"/>
          <ac:spMkLst>
            <pc:docMk/>
            <pc:sldMk cId="4199066013" sldId="2147374916"/>
            <ac:spMk id="47" creationId="{466F35DC-0642-EDB9-D87D-29156CEB4EBA}"/>
          </ac:spMkLst>
        </pc:spChg>
        <pc:spChg chg="add mod topLvl">
          <ac:chgData name="Anjali Dwivedi" userId="5d021d5d-7ae3-40c8-98f7-906717a708a8" providerId="ADAL" clId="{2884530C-1040-4F70-8FB5-F4391A53C901}" dt="2023-09-08T19:16:26.828" v="2432" actId="14100"/>
          <ac:spMkLst>
            <pc:docMk/>
            <pc:sldMk cId="4199066013" sldId="2147374916"/>
            <ac:spMk id="48" creationId="{D8F4DF86-D1B5-4B30-80A6-B0FEFE188C6B}"/>
          </ac:spMkLst>
        </pc:spChg>
        <pc:spChg chg="add mod topLvl">
          <ac:chgData name="Anjali Dwivedi" userId="5d021d5d-7ae3-40c8-98f7-906717a708a8" providerId="ADAL" clId="{2884530C-1040-4F70-8FB5-F4391A53C901}" dt="2023-09-08T19:11:06.121" v="2142" actId="14100"/>
          <ac:spMkLst>
            <pc:docMk/>
            <pc:sldMk cId="4199066013" sldId="2147374916"/>
            <ac:spMk id="49" creationId="{12AFB5BA-8EDD-4CEF-B3C7-5C0319A5558F}"/>
          </ac:spMkLst>
        </pc:spChg>
        <pc:spChg chg="add del mod topLvl">
          <ac:chgData name="Anjali Dwivedi" userId="5d021d5d-7ae3-40c8-98f7-906717a708a8" providerId="ADAL" clId="{2884530C-1040-4F70-8FB5-F4391A53C901}" dt="2023-09-08T19:04:17.117" v="1892" actId="478"/>
          <ac:spMkLst>
            <pc:docMk/>
            <pc:sldMk cId="4199066013" sldId="2147374916"/>
            <ac:spMk id="50" creationId="{CAB40A0A-EDD2-444C-917D-9945F9AC0554}"/>
          </ac:spMkLst>
        </pc:spChg>
        <pc:spChg chg="add mod topLvl">
          <ac:chgData name="Anjali Dwivedi" userId="5d021d5d-7ae3-40c8-98f7-906717a708a8" providerId="ADAL" clId="{2884530C-1040-4F70-8FB5-F4391A53C901}" dt="2023-09-08T19:10:04.735" v="2113" actId="2711"/>
          <ac:spMkLst>
            <pc:docMk/>
            <pc:sldMk cId="4199066013" sldId="2147374916"/>
            <ac:spMk id="51" creationId="{47D4E207-10E1-4F0E-8BCB-A65F6F0E89DF}"/>
          </ac:spMkLst>
        </pc:spChg>
        <pc:spChg chg="add mod topLvl">
          <ac:chgData name="Anjali Dwivedi" userId="5d021d5d-7ae3-40c8-98f7-906717a708a8" providerId="ADAL" clId="{2884530C-1040-4F70-8FB5-F4391A53C901}" dt="2023-09-08T19:10:04.735" v="2113" actId="2711"/>
          <ac:spMkLst>
            <pc:docMk/>
            <pc:sldMk cId="4199066013" sldId="2147374916"/>
            <ac:spMk id="52" creationId="{8978B5A8-FEBE-4CBA-84B5-EC0C2B627612}"/>
          </ac:spMkLst>
        </pc:spChg>
        <pc:spChg chg="add mod topLvl">
          <ac:chgData name="Anjali Dwivedi" userId="5d021d5d-7ae3-40c8-98f7-906717a708a8" providerId="ADAL" clId="{2884530C-1040-4F70-8FB5-F4391A53C901}" dt="2023-09-08T19:10:04.735" v="2113" actId="2711"/>
          <ac:spMkLst>
            <pc:docMk/>
            <pc:sldMk cId="4199066013" sldId="2147374916"/>
            <ac:spMk id="53" creationId="{CBC42663-817F-4883-B245-FD56B08E3D7C}"/>
          </ac:spMkLst>
        </pc:spChg>
        <pc:spChg chg="add del mod topLvl">
          <ac:chgData name="Anjali Dwivedi" userId="5d021d5d-7ae3-40c8-98f7-906717a708a8" providerId="ADAL" clId="{2884530C-1040-4F70-8FB5-F4391A53C901}" dt="2023-09-08T19:10:04.735" v="2113" actId="2711"/>
          <ac:spMkLst>
            <pc:docMk/>
            <pc:sldMk cId="4199066013" sldId="2147374916"/>
            <ac:spMk id="54" creationId="{6842545C-D53B-40DD-8B19-856D92F5B10A}"/>
          </ac:spMkLst>
        </pc:spChg>
        <pc:spChg chg="add mod topLvl">
          <ac:chgData name="Anjali Dwivedi" userId="5d021d5d-7ae3-40c8-98f7-906717a708a8" providerId="ADAL" clId="{2884530C-1040-4F70-8FB5-F4391A53C901}" dt="2023-09-08T19:16:26.828" v="2432" actId="14100"/>
          <ac:spMkLst>
            <pc:docMk/>
            <pc:sldMk cId="4199066013" sldId="2147374916"/>
            <ac:spMk id="55" creationId="{AC564BC8-276A-46FF-B95C-50BAB7C8F5A0}"/>
          </ac:spMkLst>
        </pc:spChg>
        <pc:spChg chg="add mod topLvl">
          <ac:chgData name="Anjali Dwivedi" userId="5d021d5d-7ae3-40c8-98f7-906717a708a8" providerId="ADAL" clId="{2884530C-1040-4F70-8FB5-F4391A53C901}" dt="2023-09-08T19:10:04.735" v="2113" actId="2711"/>
          <ac:spMkLst>
            <pc:docMk/>
            <pc:sldMk cId="4199066013" sldId="2147374916"/>
            <ac:spMk id="56" creationId="{6F21F92B-0B91-4733-83FF-D1148B2AB07F}"/>
          </ac:spMkLst>
        </pc:spChg>
        <pc:spChg chg="add mod topLvl">
          <ac:chgData name="Anjali Dwivedi" userId="5d021d5d-7ae3-40c8-98f7-906717a708a8" providerId="ADAL" clId="{2884530C-1040-4F70-8FB5-F4391A53C901}" dt="2023-09-08T19:10:04.735" v="2113" actId="2711"/>
          <ac:spMkLst>
            <pc:docMk/>
            <pc:sldMk cId="4199066013" sldId="2147374916"/>
            <ac:spMk id="57" creationId="{802DDA08-7C92-4446-BAF1-B8EA748D085B}"/>
          </ac:spMkLst>
        </pc:spChg>
        <pc:spChg chg="add del mod topLvl">
          <ac:chgData name="Anjali Dwivedi" userId="5d021d5d-7ae3-40c8-98f7-906717a708a8" providerId="ADAL" clId="{2884530C-1040-4F70-8FB5-F4391A53C901}" dt="2023-09-08T19:10:22.803" v="2120" actId="1037"/>
          <ac:spMkLst>
            <pc:docMk/>
            <pc:sldMk cId="4199066013" sldId="2147374916"/>
            <ac:spMk id="58" creationId="{B684B0C6-ECA2-4257-BBC3-5C74BD9637CB}"/>
          </ac:spMkLst>
        </pc:spChg>
        <pc:spChg chg="add mod topLvl">
          <ac:chgData name="Anjali Dwivedi" userId="5d021d5d-7ae3-40c8-98f7-906717a708a8" providerId="ADAL" clId="{2884530C-1040-4F70-8FB5-F4391A53C901}" dt="2023-09-08T19:10:40.334" v="2139" actId="1038"/>
          <ac:spMkLst>
            <pc:docMk/>
            <pc:sldMk cId="4199066013" sldId="2147374916"/>
            <ac:spMk id="59" creationId="{ADCAB8E8-4407-4408-A05E-DCEB6BB0B460}"/>
          </ac:spMkLst>
        </pc:spChg>
        <pc:spChg chg="add del mod topLvl">
          <ac:chgData name="Anjali Dwivedi" userId="5d021d5d-7ae3-40c8-98f7-906717a708a8" providerId="ADAL" clId="{2884530C-1040-4F70-8FB5-F4391A53C901}" dt="2023-09-08T19:04:15.630" v="1891" actId="478"/>
          <ac:spMkLst>
            <pc:docMk/>
            <pc:sldMk cId="4199066013" sldId="2147374916"/>
            <ac:spMk id="60" creationId="{863C9D95-2923-40D8-8C03-86EBBCB5DFD0}"/>
          </ac:spMkLst>
        </pc:spChg>
        <pc:spChg chg="add del mod topLvl">
          <ac:chgData name="Anjali Dwivedi" userId="5d021d5d-7ae3-40c8-98f7-906717a708a8" providerId="ADAL" clId="{2884530C-1040-4F70-8FB5-F4391A53C901}" dt="2023-09-08T19:04:18.267" v="1893" actId="478"/>
          <ac:spMkLst>
            <pc:docMk/>
            <pc:sldMk cId="4199066013" sldId="2147374916"/>
            <ac:spMk id="61" creationId="{0398BCE0-FF77-4EE0-B51A-00131BDE2928}"/>
          </ac:spMkLst>
        </pc:spChg>
        <pc:spChg chg="add del mod topLvl">
          <ac:chgData name="Anjali Dwivedi" userId="5d021d5d-7ae3-40c8-98f7-906717a708a8" providerId="ADAL" clId="{2884530C-1040-4F70-8FB5-F4391A53C901}" dt="2023-09-08T19:04:14.750" v="1890" actId="478"/>
          <ac:spMkLst>
            <pc:docMk/>
            <pc:sldMk cId="4199066013" sldId="2147374916"/>
            <ac:spMk id="62" creationId="{B4B433CD-C5B9-4048-A446-2E1578E5170D}"/>
          </ac:spMkLst>
        </pc:spChg>
        <pc:spChg chg="add del mod">
          <ac:chgData name="Anjali Dwivedi" userId="5d021d5d-7ae3-40c8-98f7-906717a708a8" providerId="ADAL" clId="{2884530C-1040-4F70-8FB5-F4391A53C901}" dt="2023-09-08T19:06:10.837" v="1919" actId="478"/>
          <ac:spMkLst>
            <pc:docMk/>
            <pc:sldMk cId="4199066013" sldId="2147374916"/>
            <ac:spMk id="63" creationId="{0AC3D6F1-0656-4C67-8F6F-48FC9CD82D4F}"/>
          </ac:spMkLst>
        </pc:spChg>
        <pc:spChg chg="add del mod">
          <ac:chgData name="Anjali Dwivedi" userId="5d021d5d-7ae3-40c8-98f7-906717a708a8" providerId="ADAL" clId="{2884530C-1040-4F70-8FB5-F4391A53C901}" dt="2023-09-08T19:06:08.377" v="1916" actId="478"/>
          <ac:spMkLst>
            <pc:docMk/>
            <pc:sldMk cId="4199066013" sldId="2147374916"/>
            <ac:spMk id="64" creationId="{032C17AB-54BE-4C61-BA86-2E6C1CE2D28E}"/>
          </ac:spMkLst>
        </pc:spChg>
        <pc:grpChg chg="add del mod">
          <ac:chgData name="Anjali Dwivedi" userId="5d021d5d-7ae3-40c8-98f7-906717a708a8" providerId="ADAL" clId="{2884530C-1040-4F70-8FB5-F4391A53C901}" dt="2023-09-08T18:14:20.069" v="1647" actId="165"/>
          <ac:grpSpMkLst>
            <pc:docMk/>
            <pc:sldMk cId="4199066013" sldId="2147374916"/>
            <ac:grpSpMk id="2" creationId="{76F92A1C-9C7E-4968-90F8-9EF92B898F06}"/>
          </ac:grpSpMkLst>
        </pc:grpChg>
      </pc:sldChg>
      <pc:sldChg chg="addSp delSp modSp add mod">
        <pc:chgData name="Anjali Dwivedi" userId="5d021d5d-7ae3-40c8-98f7-906717a708a8" providerId="ADAL" clId="{2884530C-1040-4F70-8FB5-F4391A53C901}" dt="2023-09-08T19:23:14.039" v="2452" actId="2711"/>
        <pc:sldMkLst>
          <pc:docMk/>
          <pc:sldMk cId="3091826659" sldId="2147374917"/>
        </pc:sldMkLst>
        <pc:spChg chg="mod">
          <ac:chgData name="Anjali Dwivedi" userId="5d021d5d-7ae3-40c8-98f7-906717a708a8" providerId="ADAL" clId="{2884530C-1040-4F70-8FB5-F4391A53C901}" dt="2023-09-08T19:23:14.039" v="2452" actId="2711"/>
          <ac:spMkLst>
            <pc:docMk/>
            <pc:sldMk cId="3091826659" sldId="2147374917"/>
            <ac:spMk id="3" creationId="{C994091E-296F-FE4D-766C-89802AE41C39}"/>
          </ac:spMkLst>
        </pc:spChg>
        <pc:spChg chg="add mod">
          <ac:chgData name="Anjali Dwivedi" userId="5d021d5d-7ae3-40c8-98f7-906717a708a8" providerId="ADAL" clId="{2884530C-1040-4F70-8FB5-F4391A53C901}" dt="2023-09-08T19:23:14.039" v="2452" actId="2711"/>
          <ac:spMkLst>
            <pc:docMk/>
            <pc:sldMk cId="3091826659" sldId="2147374917"/>
            <ac:spMk id="37" creationId="{E20B82FE-3B60-4E2B-9E0A-CDA76F62DBEA}"/>
          </ac:spMkLst>
        </pc:spChg>
        <pc:spChg chg="del">
          <ac:chgData name="Anjali Dwivedi" userId="5d021d5d-7ae3-40c8-98f7-906717a708a8" providerId="ADAL" clId="{2884530C-1040-4F70-8FB5-F4391A53C901}" dt="2023-09-08T19:12:21.193" v="2149" actId="478"/>
          <ac:spMkLst>
            <pc:docMk/>
            <pc:sldMk cId="3091826659" sldId="2147374917"/>
            <ac:spMk id="54" creationId="{237EF04A-38C6-4C80-AB9F-ED56DD080924}"/>
          </ac:spMkLst>
        </pc:spChg>
        <pc:spChg chg="del mod">
          <ac:chgData name="Anjali Dwivedi" userId="5d021d5d-7ae3-40c8-98f7-906717a708a8" providerId="ADAL" clId="{2884530C-1040-4F70-8FB5-F4391A53C901}" dt="2023-09-08T19:12:20.193" v="2148" actId="478"/>
          <ac:spMkLst>
            <pc:docMk/>
            <pc:sldMk cId="3091826659" sldId="2147374917"/>
            <ac:spMk id="55" creationId="{0F44E737-950A-4786-B12F-E5A3B425624A}"/>
          </ac:spMkLst>
        </pc:spChg>
        <pc:spChg chg="mod">
          <ac:chgData name="Anjali Dwivedi" userId="5d021d5d-7ae3-40c8-98f7-906717a708a8" providerId="ADAL" clId="{2884530C-1040-4F70-8FB5-F4391A53C901}" dt="2023-09-08T19:23:14.039" v="2452" actId="2711"/>
          <ac:spMkLst>
            <pc:docMk/>
            <pc:sldMk cId="3091826659" sldId="2147374917"/>
            <ac:spMk id="127" creationId="{57EBF6E5-7EAF-4D9A-9530-42480636CDC4}"/>
          </ac:spMkLst>
        </pc:spChg>
        <pc:spChg chg="mod">
          <ac:chgData name="Anjali Dwivedi" userId="5d021d5d-7ae3-40c8-98f7-906717a708a8" providerId="ADAL" clId="{2884530C-1040-4F70-8FB5-F4391A53C901}" dt="2023-09-08T19:23:14.039" v="2452" actId="2711"/>
          <ac:spMkLst>
            <pc:docMk/>
            <pc:sldMk cId="3091826659" sldId="2147374917"/>
            <ac:spMk id="128" creationId="{BF37D9E6-5E03-4C6B-AB82-385728C5E8B2}"/>
          </ac:spMkLst>
        </pc:spChg>
        <pc:spChg chg="mod">
          <ac:chgData name="Anjali Dwivedi" userId="5d021d5d-7ae3-40c8-98f7-906717a708a8" providerId="ADAL" clId="{2884530C-1040-4F70-8FB5-F4391A53C901}" dt="2023-09-08T19:23:14.039" v="2452" actId="2711"/>
          <ac:spMkLst>
            <pc:docMk/>
            <pc:sldMk cId="3091826659" sldId="2147374917"/>
            <ac:spMk id="130" creationId="{85E74DEE-D9B5-4DA0-9840-4E372F314EDF}"/>
          </ac:spMkLst>
        </pc:spChg>
        <pc:spChg chg="mod">
          <ac:chgData name="Anjali Dwivedi" userId="5d021d5d-7ae3-40c8-98f7-906717a708a8" providerId="ADAL" clId="{2884530C-1040-4F70-8FB5-F4391A53C901}" dt="2023-09-08T19:23:14.039" v="2452" actId="2711"/>
          <ac:spMkLst>
            <pc:docMk/>
            <pc:sldMk cId="3091826659" sldId="2147374917"/>
            <ac:spMk id="131" creationId="{EBFAAE1E-B78C-46A3-9199-4B19CCB0644A}"/>
          </ac:spMkLst>
        </pc:spChg>
        <pc:spChg chg="mod">
          <ac:chgData name="Anjali Dwivedi" userId="5d021d5d-7ae3-40c8-98f7-906717a708a8" providerId="ADAL" clId="{2884530C-1040-4F70-8FB5-F4391A53C901}" dt="2023-09-08T19:23:14.039" v="2452" actId="2711"/>
          <ac:spMkLst>
            <pc:docMk/>
            <pc:sldMk cId="3091826659" sldId="2147374917"/>
            <ac:spMk id="135" creationId="{D4CDDFF3-7566-4EE1-A34C-235B0B660D11}"/>
          </ac:spMkLst>
        </pc:spChg>
        <pc:spChg chg="mod">
          <ac:chgData name="Anjali Dwivedi" userId="5d021d5d-7ae3-40c8-98f7-906717a708a8" providerId="ADAL" clId="{2884530C-1040-4F70-8FB5-F4391A53C901}" dt="2023-09-08T19:23:14.039" v="2452" actId="2711"/>
          <ac:spMkLst>
            <pc:docMk/>
            <pc:sldMk cId="3091826659" sldId="2147374917"/>
            <ac:spMk id="140" creationId="{BBFAB623-52D9-4B9A-B047-35C298226A34}"/>
          </ac:spMkLst>
        </pc:spChg>
        <pc:spChg chg="mod">
          <ac:chgData name="Anjali Dwivedi" userId="5d021d5d-7ae3-40c8-98f7-906717a708a8" providerId="ADAL" clId="{2884530C-1040-4F70-8FB5-F4391A53C901}" dt="2023-09-08T19:23:14.039" v="2452" actId="2711"/>
          <ac:spMkLst>
            <pc:docMk/>
            <pc:sldMk cId="3091826659" sldId="2147374917"/>
            <ac:spMk id="155" creationId="{38865177-4945-42C3-B73F-12B73E3753C7}"/>
          </ac:spMkLst>
        </pc:spChg>
        <pc:spChg chg="mod">
          <ac:chgData name="Anjali Dwivedi" userId="5d021d5d-7ae3-40c8-98f7-906717a708a8" providerId="ADAL" clId="{2884530C-1040-4F70-8FB5-F4391A53C901}" dt="2023-09-08T19:23:14.039" v="2452" actId="2711"/>
          <ac:spMkLst>
            <pc:docMk/>
            <pc:sldMk cId="3091826659" sldId="2147374917"/>
            <ac:spMk id="156" creationId="{2DB75323-CEBE-4B9C-A16F-20C10BC06041}"/>
          </ac:spMkLst>
        </pc:spChg>
        <pc:spChg chg="mod">
          <ac:chgData name="Anjali Dwivedi" userId="5d021d5d-7ae3-40c8-98f7-906717a708a8" providerId="ADAL" clId="{2884530C-1040-4F70-8FB5-F4391A53C901}" dt="2023-09-08T19:23:14.039" v="2452" actId="2711"/>
          <ac:spMkLst>
            <pc:docMk/>
            <pc:sldMk cId="3091826659" sldId="2147374917"/>
            <ac:spMk id="158" creationId="{BAD1B051-4981-45DC-8BB4-1FDAC3A333C8}"/>
          </ac:spMkLst>
        </pc:spChg>
        <pc:spChg chg="mod">
          <ac:chgData name="Anjali Dwivedi" userId="5d021d5d-7ae3-40c8-98f7-906717a708a8" providerId="ADAL" clId="{2884530C-1040-4F70-8FB5-F4391A53C901}" dt="2023-09-08T19:23:14.039" v="2452" actId="2711"/>
          <ac:spMkLst>
            <pc:docMk/>
            <pc:sldMk cId="3091826659" sldId="2147374917"/>
            <ac:spMk id="159" creationId="{91CAAB54-D8C6-4E15-90D5-40591163F3C1}"/>
          </ac:spMkLst>
        </pc:spChg>
        <pc:spChg chg="mod">
          <ac:chgData name="Anjali Dwivedi" userId="5d021d5d-7ae3-40c8-98f7-906717a708a8" providerId="ADAL" clId="{2884530C-1040-4F70-8FB5-F4391A53C901}" dt="2023-09-08T19:23:14.039" v="2452" actId="2711"/>
          <ac:spMkLst>
            <pc:docMk/>
            <pc:sldMk cId="3091826659" sldId="2147374917"/>
            <ac:spMk id="160" creationId="{3923CFB3-6608-46AD-98C1-116F39ABD682}"/>
          </ac:spMkLst>
        </pc:spChg>
        <pc:spChg chg="mod">
          <ac:chgData name="Anjali Dwivedi" userId="5d021d5d-7ae3-40c8-98f7-906717a708a8" providerId="ADAL" clId="{2884530C-1040-4F70-8FB5-F4391A53C901}" dt="2023-09-08T19:23:14.039" v="2452" actId="2711"/>
          <ac:spMkLst>
            <pc:docMk/>
            <pc:sldMk cId="3091826659" sldId="2147374917"/>
            <ac:spMk id="161" creationId="{E1EAB0B0-30B7-4005-87CB-069DFE2E5373}"/>
          </ac:spMkLst>
        </pc:spChg>
        <pc:spChg chg="mod">
          <ac:chgData name="Anjali Dwivedi" userId="5d021d5d-7ae3-40c8-98f7-906717a708a8" providerId="ADAL" clId="{2884530C-1040-4F70-8FB5-F4391A53C901}" dt="2023-09-08T19:23:14.039" v="2452" actId="2711"/>
          <ac:spMkLst>
            <pc:docMk/>
            <pc:sldMk cId="3091826659" sldId="2147374917"/>
            <ac:spMk id="163" creationId="{FAE6C425-96F7-47A8-8215-589DE3B05FDC}"/>
          </ac:spMkLst>
        </pc:spChg>
        <pc:spChg chg="mod">
          <ac:chgData name="Anjali Dwivedi" userId="5d021d5d-7ae3-40c8-98f7-906717a708a8" providerId="ADAL" clId="{2884530C-1040-4F70-8FB5-F4391A53C901}" dt="2023-09-08T19:23:14.039" v="2452" actId="2711"/>
          <ac:spMkLst>
            <pc:docMk/>
            <pc:sldMk cId="3091826659" sldId="2147374917"/>
            <ac:spMk id="164" creationId="{55573729-BD91-4CB9-9102-CE77CB7D6136}"/>
          </ac:spMkLst>
        </pc:spChg>
        <pc:spChg chg="mod">
          <ac:chgData name="Anjali Dwivedi" userId="5d021d5d-7ae3-40c8-98f7-906717a708a8" providerId="ADAL" clId="{2884530C-1040-4F70-8FB5-F4391A53C901}" dt="2023-09-08T19:23:14.039" v="2452" actId="2711"/>
          <ac:spMkLst>
            <pc:docMk/>
            <pc:sldMk cId="3091826659" sldId="2147374917"/>
            <ac:spMk id="165" creationId="{E850C5C2-F826-46B4-90EF-1D018AF43EAD}"/>
          </ac:spMkLst>
        </pc:spChg>
        <pc:spChg chg="mod">
          <ac:chgData name="Anjali Dwivedi" userId="5d021d5d-7ae3-40c8-98f7-906717a708a8" providerId="ADAL" clId="{2884530C-1040-4F70-8FB5-F4391A53C901}" dt="2023-09-08T19:23:14.039" v="2452" actId="2711"/>
          <ac:spMkLst>
            <pc:docMk/>
            <pc:sldMk cId="3091826659" sldId="2147374917"/>
            <ac:spMk id="166" creationId="{F81502B0-1DDE-4E1F-9A57-C312DF3F7A3B}"/>
          </ac:spMkLst>
        </pc:spChg>
        <pc:spChg chg="mod">
          <ac:chgData name="Anjali Dwivedi" userId="5d021d5d-7ae3-40c8-98f7-906717a708a8" providerId="ADAL" clId="{2884530C-1040-4F70-8FB5-F4391A53C901}" dt="2023-09-08T19:23:14.039" v="2452" actId="2711"/>
          <ac:spMkLst>
            <pc:docMk/>
            <pc:sldMk cId="3091826659" sldId="2147374917"/>
            <ac:spMk id="168" creationId="{B6660645-CA5F-47E3-9F81-ECD6A9387304}"/>
          </ac:spMkLst>
        </pc:spChg>
        <pc:spChg chg="mod">
          <ac:chgData name="Anjali Dwivedi" userId="5d021d5d-7ae3-40c8-98f7-906717a708a8" providerId="ADAL" clId="{2884530C-1040-4F70-8FB5-F4391A53C901}" dt="2023-09-08T19:23:14.039" v="2452" actId="2711"/>
          <ac:spMkLst>
            <pc:docMk/>
            <pc:sldMk cId="3091826659" sldId="2147374917"/>
            <ac:spMk id="169" creationId="{26E60354-A748-45C2-B536-6ED48D323D57}"/>
          </ac:spMkLst>
        </pc:spChg>
        <pc:spChg chg="mod">
          <ac:chgData name="Anjali Dwivedi" userId="5d021d5d-7ae3-40c8-98f7-906717a708a8" providerId="ADAL" clId="{2884530C-1040-4F70-8FB5-F4391A53C901}" dt="2023-09-08T19:23:14.039" v="2452" actId="2711"/>
          <ac:spMkLst>
            <pc:docMk/>
            <pc:sldMk cId="3091826659" sldId="2147374917"/>
            <ac:spMk id="170" creationId="{07ACFDB4-4E77-49B3-8E88-D2B399673A30}"/>
          </ac:spMkLst>
        </pc:spChg>
        <pc:spChg chg="mod">
          <ac:chgData name="Anjali Dwivedi" userId="5d021d5d-7ae3-40c8-98f7-906717a708a8" providerId="ADAL" clId="{2884530C-1040-4F70-8FB5-F4391A53C901}" dt="2023-09-08T19:23:14.039" v="2452" actId="2711"/>
          <ac:spMkLst>
            <pc:docMk/>
            <pc:sldMk cId="3091826659" sldId="2147374917"/>
            <ac:spMk id="171" creationId="{C88E21BC-590D-4907-A642-9A0FF869DAA5}"/>
          </ac:spMkLst>
        </pc:spChg>
        <pc:spChg chg="mod">
          <ac:chgData name="Anjali Dwivedi" userId="5d021d5d-7ae3-40c8-98f7-906717a708a8" providerId="ADAL" clId="{2884530C-1040-4F70-8FB5-F4391A53C901}" dt="2023-09-08T19:23:14.039" v="2452" actId="2711"/>
          <ac:spMkLst>
            <pc:docMk/>
            <pc:sldMk cId="3091826659" sldId="2147374917"/>
            <ac:spMk id="172" creationId="{4D1C3E16-2D95-47C8-9D16-3F75B10755FA}"/>
          </ac:spMkLst>
        </pc:spChg>
        <pc:spChg chg="mod">
          <ac:chgData name="Anjali Dwivedi" userId="5d021d5d-7ae3-40c8-98f7-906717a708a8" providerId="ADAL" clId="{2884530C-1040-4F70-8FB5-F4391A53C901}" dt="2023-09-08T19:23:14.039" v="2452" actId="2711"/>
          <ac:spMkLst>
            <pc:docMk/>
            <pc:sldMk cId="3091826659" sldId="2147374917"/>
            <ac:spMk id="173" creationId="{1CA0C9F9-2C77-431E-A263-DE29692692A9}"/>
          </ac:spMkLst>
        </pc:spChg>
        <pc:spChg chg="add del mod">
          <ac:chgData name="Anjali Dwivedi" userId="5d021d5d-7ae3-40c8-98f7-906717a708a8" providerId="ADAL" clId="{2884530C-1040-4F70-8FB5-F4391A53C901}" dt="2023-09-08T19:23:14.039" v="2452" actId="2711"/>
          <ac:spMkLst>
            <pc:docMk/>
            <pc:sldMk cId="3091826659" sldId="2147374917"/>
            <ac:spMk id="174" creationId="{4A43767E-D2A1-4FF0-A36E-5917968F4B3D}"/>
          </ac:spMkLst>
        </pc:spChg>
        <pc:spChg chg="mod">
          <ac:chgData name="Anjali Dwivedi" userId="5d021d5d-7ae3-40c8-98f7-906717a708a8" providerId="ADAL" clId="{2884530C-1040-4F70-8FB5-F4391A53C901}" dt="2023-09-08T19:23:14.039" v="2452" actId="2711"/>
          <ac:spMkLst>
            <pc:docMk/>
            <pc:sldMk cId="3091826659" sldId="2147374917"/>
            <ac:spMk id="175" creationId="{FC85EA84-EF9C-4AF5-B551-A11B690AC9A1}"/>
          </ac:spMkLst>
        </pc:spChg>
        <pc:cxnChg chg="mod">
          <ac:chgData name="Anjali Dwivedi" userId="5d021d5d-7ae3-40c8-98f7-906717a708a8" providerId="ADAL" clId="{2884530C-1040-4F70-8FB5-F4391A53C901}" dt="2023-09-08T19:13:13.060" v="2248" actId="1035"/>
          <ac:cxnSpMkLst>
            <pc:docMk/>
            <pc:sldMk cId="3091826659" sldId="2147374917"/>
            <ac:cxnSpMk id="129" creationId="{860E2D61-0EA3-4E55-A9EB-49FE787C2474}"/>
          </ac:cxnSpMkLst>
        </pc:cxnChg>
        <pc:cxnChg chg="mod">
          <ac:chgData name="Anjali Dwivedi" userId="5d021d5d-7ae3-40c8-98f7-906717a708a8" providerId="ADAL" clId="{2884530C-1040-4F70-8FB5-F4391A53C901}" dt="2023-09-08T19:13:13.060" v="2248" actId="1035"/>
          <ac:cxnSpMkLst>
            <pc:docMk/>
            <pc:sldMk cId="3091826659" sldId="2147374917"/>
            <ac:cxnSpMk id="157" creationId="{AF3D0583-A55D-4F38-A0A9-C54BC9ABB416}"/>
          </ac:cxnSpMkLst>
        </pc:cxnChg>
        <pc:cxnChg chg="mod">
          <ac:chgData name="Anjali Dwivedi" userId="5d021d5d-7ae3-40c8-98f7-906717a708a8" providerId="ADAL" clId="{2884530C-1040-4F70-8FB5-F4391A53C901}" dt="2023-09-08T19:13:13.060" v="2248" actId="1035"/>
          <ac:cxnSpMkLst>
            <pc:docMk/>
            <pc:sldMk cId="3091826659" sldId="2147374917"/>
            <ac:cxnSpMk id="162" creationId="{B6C0F5E8-FEB9-43FF-8505-8B3A0E9F85A4}"/>
          </ac:cxnSpMkLst>
        </pc:cxnChg>
        <pc:cxnChg chg="mod">
          <ac:chgData name="Anjali Dwivedi" userId="5d021d5d-7ae3-40c8-98f7-906717a708a8" providerId="ADAL" clId="{2884530C-1040-4F70-8FB5-F4391A53C901}" dt="2023-09-08T19:13:13.060" v="2248" actId="1035"/>
          <ac:cxnSpMkLst>
            <pc:docMk/>
            <pc:sldMk cId="3091826659" sldId="2147374917"/>
            <ac:cxnSpMk id="167" creationId="{D450A104-1F32-443B-86F9-A38BF062C56C}"/>
          </ac:cxnSpMkLst>
        </pc:cxnChg>
      </pc:sldChg>
      <pc:sldChg chg="delSp modSp add mod">
        <pc:chgData name="Anjali Dwivedi" userId="5d021d5d-7ae3-40c8-98f7-906717a708a8" providerId="ADAL" clId="{2884530C-1040-4F70-8FB5-F4391A53C901}" dt="2023-09-08T19:18:29.956" v="2441" actId="1035"/>
        <pc:sldMkLst>
          <pc:docMk/>
          <pc:sldMk cId="3998490993" sldId="2147374918"/>
        </pc:sldMkLst>
        <pc:spChg chg="mod">
          <ac:chgData name="Anjali Dwivedi" userId="5d021d5d-7ae3-40c8-98f7-906717a708a8" providerId="ADAL" clId="{2884530C-1040-4F70-8FB5-F4391A53C901}" dt="2023-09-08T19:18:29.956" v="2441" actId="1035"/>
          <ac:spMkLst>
            <pc:docMk/>
            <pc:sldMk cId="3998490993" sldId="2147374918"/>
            <ac:spMk id="14" creationId="{4C55B967-15C0-411A-BA1F-DE53F916E9D5}"/>
          </ac:spMkLst>
        </pc:spChg>
        <pc:spChg chg="del">
          <ac:chgData name="Anjali Dwivedi" userId="5d021d5d-7ae3-40c8-98f7-906717a708a8" providerId="ADAL" clId="{2884530C-1040-4F70-8FB5-F4391A53C901}" dt="2023-09-08T19:18:08.486" v="2437" actId="478"/>
          <ac:spMkLst>
            <pc:docMk/>
            <pc:sldMk cId="3998490993" sldId="2147374918"/>
            <ac:spMk id="16" creationId="{6C9E4EF4-5065-4C97-A5D5-54D9DE876DF6}"/>
          </ac:spMkLst>
        </pc:spChg>
      </pc:sldChg>
      <pc:sldMasterChg chg="addSp delSp modSp mod">
        <pc:chgData name="Anjali Dwivedi" userId="5d021d5d-7ae3-40c8-98f7-906717a708a8" providerId="ADAL" clId="{2884530C-1040-4F70-8FB5-F4391A53C901}" dt="2023-09-08T16:30:47.324" v="6" actId="478"/>
        <pc:sldMasterMkLst>
          <pc:docMk/>
          <pc:sldMasterMk cId="2828161216" sldId="2147483700"/>
        </pc:sldMasterMkLst>
        <pc:spChg chg="mod">
          <ac:chgData name="Anjali Dwivedi" userId="5d021d5d-7ae3-40c8-98f7-906717a708a8" providerId="ADAL" clId="{2884530C-1040-4F70-8FB5-F4391A53C901}" dt="2023-09-08T16:30:46.829" v="5" actId="1076"/>
          <ac:spMkLst>
            <pc:docMk/>
            <pc:sldMasterMk cId="2828161216" sldId="2147483700"/>
            <ac:spMk id="6" creationId="{893934D1-0276-470C-BDD4-F53D203DF601}"/>
          </ac:spMkLst>
        </pc:spChg>
        <pc:spChg chg="add del mod">
          <ac:chgData name="Anjali Dwivedi" userId="5d021d5d-7ae3-40c8-98f7-906717a708a8" providerId="ADAL" clId="{2884530C-1040-4F70-8FB5-F4391A53C901}" dt="2023-09-08T16:30:47.324" v="6" actId="478"/>
          <ac:spMkLst>
            <pc:docMk/>
            <pc:sldMasterMk cId="2828161216" sldId="2147483700"/>
            <ac:spMk id="15" creationId="{C8815B62-5D46-481D-A507-E32100C5CAA3}"/>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BC7233-00FB-4612-A5FA-B60B17705A43}" type="datetimeFigureOut">
              <a:rPr lang="en-IN" smtClean="0"/>
              <a:t>09-09-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AB25BE-2FDB-4281-86C8-C5CC8CD239BC}" type="slidenum">
              <a:rPr lang="en-IN" smtClean="0"/>
              <a:t>‹#›</a:t>
            </a:fld>
            <a:endParaRPr lang="en-IN"/>
          </a:p>
        </p:txBody>
      </p:sp>
    </p:spTree>
    <p:extLst>
      <p:ext uri="{BB962C8B-B14F-4D97-AF65-F5344CB8AC3E}">
        <p14:creationId xmlns:p14="http://schemas.microsoft.com/office/powerpoint/2010/main" val="2792132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6F960-EC2A-C4B9-E680-43CB7989E32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47AD2603-FD45-48A7-670B-393DF3D201C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57585240-39D3-BD26-CEE9-0E58D4D504C4}"/>
              </a:ext>
            </a:extLst>
          </p:cNvPr>
          <p:cNvSpPr>
            <a:spLocks noGrp="1"/>
          </p:cNvSpPr>
          <p:nvPr>
            <p:ph type="dt" sz="half" idx="10"/>
          </p:nvPr>
        </p:nvSpPr>
        <p:spPr/>
        <p:txBody>
          <a:bodyPr/>
          <a:lstStyle/>
          <a:p>
            <a:fld id="{87D83E36-9F37-404A-95A6-9BA245F490EB}" type="datetimeFigureOut">
              <a:rPr lang="en-IN" smtClean="0"/>
              <a:t>09-09-2023</a:t>
            </a:fld>
            <a:endParaRPr lang="en-IN"/>
          </a:p>
        </p:txBody>
      </p:sp>
      <p:sp>
        <p:nvSpPr>
          <p:cNvPr id="5" name="Footer Placeholder 4">
            <a:extLst>
              <a:ext uri="{FF2B5EF4-FFF2-40B4-BE49-F238E27FC236}">
                <a16:creationId xmlns:a16="http://schemas.microsoft.com/office/drawing/2014/main" id="{BEB709D2-14FC-38B2-33BA-C9678F20707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FEA1207-9275-23E8-651B-F23449548787}"/>
              </a:ext>
            </a:extLst>
          </p:cNvPr>
          <p:cNvSpPr>
            <a:spLocks noGrp="1"/>
          </p:cNvSpPr>
          <p:nvPr>
            <p:ph type="sldNum" sz="quarter" idx="12"/>
          </p:nvPr>
        </p:nvSpPr>
        <p:spPr/>
        <p:txBody>
          <a:bodyPr/>
          <a:lstStyle/>
          <a:p>
            <a:fld id="{C3B1290E-90F2-496A-A4DF-6BB0DB28A9AB}" type="slidenum">
              <a:rPr lang="en-IN" smtClean="0"/>
              <a:t>‹#›</a:t>
            </a:fld>
            <a:endParaRPr lang="en-IN"/>
          </a:p>
        </p:txBody>
      </p:sp>
    </p:spTree>
    <p:extLst>
      <p:ext uri="{BB962C8B-B14F-4D97-AF65-F5344CB8AC3E}">
        <p14:creationId xmlns:p14="http://schemas.microsoft.com/office/powerpoint/2010/main" val="37352876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513D4-5542-BEE7-3C9F-EF48D565F862}"/>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21572E8F-0835-8084-D4D0-F44B718A86B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5B9AEC7-07C3-169B-7B48-0398256B0521}"/>
              </a:ext>
            </a:extLst>
          </p:cNvPr>
          <p:cNvSpPr>
            <a:spLocks noGrp="1"/>
          </p:cNvSpPr>
          <p:nvPr>
            <p:ph type="dt" sz="half" idx="10"/>
          </p:nvPr>
        </p:nvSpPr>
        <p:spPr/>
        <p:txBody>
          <a:bodyPr/>
          <a:lstStyle/>
          <a:p>
            <a:fld id="{87D83E36-9F37-404A-95A6-9BA245F490EB}" type="datetimeFigureOut">
              <a:rPr lang="en-IN" smtClean="0"/>
              <a:t>09-09-2023</a:t>
            </a:fld>
            <a:endParaRPr lang="en-IN"/>
          </a:p>
        </p:txBody>
      </p:sp>
      <p:sp>
        <p:nvSpPr>
          <p:cNvPr id="5" name="Footer Placeholder 4">
            <a:extLst>
              <a:ext uri="{FF2B5EF4-FFF2-40B4-BE49-F238E27FC236}">
                <a16:creationId xmlns:a16="http://schemas.microsoft.com/office/drawing/2014/main" id="{BA92885A-BB04-B719-FB79-63D9C835029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1F893BB-ABCF-CB2F-D7E5-C6DDC0A4CD72}"/>
              </a:ext>
            </a:extLst>
          </p:cNvPr>
          <p:cNvSpPr>
            <a:spLocks noGrp="1"/>
          </p:cNvSpPr>
          <p:nvPr>
            <p:ph type="sldNum" sz="quarter" idx="12"/>
          </p:nvPr>
        </p:nvSpPr>
        <p:spPr/>
        <p:txBody>
          <a:bodyPr/>
          <a:lstStyle/>
          <a:p>
            <a:fld id="{C3B1290E-90F2-496A-A4DF-6BB0DB28A9AB}" type="slidenum">
              <a:rPr lang="en-IN" smtClean="0"/>
              <a:t>‹#›</a:t>
            </a:fld>
            <a:endParaRPr lang="en-IN"/>
          </a:p>
        </p:txBody>
      </p:sp>
    </p:spTree>
    <p:extLst>
      <p:ext uri="{BB962C8B-B14F-4D97-AF65-F5344CB8AC3E}">
        <p14:creationId xmlns:p14="http://schemas.microsoft.com/office/powerpoint/2010/main" val="38622758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F9EAA90-47D1-BD5E-1896-92B6C0F5C17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5A517533-B183-F2B0-1DD9-0BB316EE796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9F1B28A-31B1-2FFA-D58A-6193F5316F51}"/>
              </a:ext>
            </a:extLst>
          </p:cNvPr>
          <p:cNvSpPr>
            <a:spLocks noGrp="1"/>
          </p:cNvSpPr>
          <p:nvPr>
            <p:ph type="dt" sz="half" idx="10"/>
          </p:nvPr>
        </p:nvSpPr>
        <p:spPr/>
        <p:txBody>
          <a:bodyPr/>
          <a:lstStyle/>
          <a:p>
            <a:fld id="{87D83E36-9F37-404A-95A6-9BA245F490EB}" type="datetimeFigureOut">
              <a:rPr lang="en-IN" smtClean="0"/>
              <a:t>09-09-2023</a:t>
            </a:fld>
            <a:endParaRPr lang="en-IN"/>
          </a:p>
        </p:txBody>
      </p:sp>
      <p:sp>
        <p:nvSpPr>
          <p:cNvPr id="5" name="Footer Placeholder 4">
            <a:extLst>
              <a:ext uri="{FF2B5EF4-FFF2-40B4-BE49-F238E27FC236}">
                <a16:creationId xmlns:a16="http://schemas.microsoft.com/office/drawing/2014/main" id="{FD3DEF55-CF1E-1CCE-D494-90AEF8AA38B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ECA6BA9-4033-57BF-B108-FE76EF8D7FCC}"/>
              </a:ext>
            </a:extLst>
          </p:cNvPr>
          <p:cNvSpPr>
            <a:spLocks noGrp="1"/>
          </p:cNvSpPr>
          <p:nvPr>
            <p:ph type="sldNum" sz="quarter" idx="12"/>
          </p:nvPr>
        </p:nvSpPr>
        <p:spPr/>
        <p:txBody>
          <a:bodyPr/>
          <a:lstStyle/>
          <a:p>
            <a:fld id="{C3B1290E-90F2-496A-A4DF-6BB0DB28A9AB}" type="slidenum">
              <a:rPr lang="en-IN" smtClean="0"/>
              <a:t>‹#›</a:t>
            </a:fld>
            <a:endParaRPr lang="en-IN"/>
          </a:p>
        </p:txBody>
      </p:sp>
    </p:spTree>
    <p:extLst>
      <p:ext uri="{BB962C8B-B14F-4D97-AF65-F5344CB8AC3E}">
        <p14:creationId xmlns:p14="http://schemas.microsoft.com/office/powerpoint/2010/main" val="32374946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B71FD3A-D42A-465C-8AC1-FD4A9E29A1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6932095"/>
          </a:xfrm>
          <a:prstGeom prst="rect">
            <a:avLst/>
          </a:prstGeom>
        </p:spPr>
      </p:pic>
      <p:grpSp>
        <p:nvGrpSpPr>
          <p:cNvPr id="20" name="Group 19">
            <a:extLst>
              <a:ext uri="{FF2B5EF4-FFF2-40B4-BE49-F238E27FC236}">
                <a16:creationId xmlns:a16="http://schemas.microsoft.com/office/drawing/2014/main" id="{2827B470-B20B-4C00-BED8-D06F001A0269}"/>
              </a:ext>
            </a:extLst>
          </p:cNvPr>
          <p:cNvGrpSpPr/>
          <p:nvPr userDrawn="1"/>
        </p:nvGrpSpPr>
        <p:grpSpPr>
          <a:xfrm>
            <a:off x="749855" y="592329"/>
            <a:ext cx="4823813" cy="2953511"/>
            <a:chOff x="446715" y="805689"/>
            <a:chExt cx="4930140" cy="3581399"/>
          </a:xfrm>
        </p:grpSpPr>
        <p:sp>
          <p:nvSpPr>
            <p:cNvPr id="21" name="Freeform 102">
              <a:extLst>
                <a:ext uri="{FF2B5EF4-FFF2-40B4-BE49-F238E27FC236}">
                  <a16:creationId xmlns:a16="http://schemas.microsoft.com/office/drawing/2014/main" id="{1D9A71F3-7F20-4F2E-9418-D5F65F9B8BAF}"/>
                </a:ext>
              </a:extLst>
            </p:cNvPr>
            <p:cNvSpPr/>
            <p:nvPr/>
          </p:nvSpPr>
          <p:spPr>
            <a:xfrm>
              <a:off x="446715" y="805689"/>
              <a:ext cx="4930140" cy="3581399"/>
            </a:xfrm>
            <a:custGeom>
              <a:avLst/>
              <a:gdLst/>
              <a:ahLst/>
              <a:cxnLst/>
              <a:rect l="0" t="0" r="0" b="0"/>
              <a:pathLst>
                <a:path w="4930140" h="3581399">
                  <a:moveTo>
                    <a:pt x="4907787" y="0"/>
                  </a:moveTo>
                  <a:lnTo>
                    <a:pt x="4930140" y="0"/>
                  </a:lnTo>
                  <a:lnTo>
                    <a:pt x="4930140" y="3581399"/>
                  </a:lnTo>
                  <a:lnTo>
                    <a:pt x="0" y="3581399"/>
                  </a:lnTo>
                  <a:lnTo>
                    <a:pt x="0" y="865377"/>
                  </a:lnTo>
                  <a:close/>
                </a:path>
              </a:pathLst>
            </a:custGeom>
            <a:solidFill>
              <a:srgbClr val="FFE6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799" dirty="0">
                <a:latin typeface="EYInterstate Light" panose="02000506000000020004" pitchFamily="2" charset="0"/>
              </a:endParaRPr>
            </a:p>
          </p:txBody>
        </p:sp>
        <p:sp>
          <p:nvSpPr>
            <p:cNvPr id="22" name="Rectangle 105">
              <a:extLst>
                <a:ext uri="{FF2B5EF4-FFF2-40B4-BE49-F238E27FC236}">
                  <a16:creationId xmlns:a16="http://schemas.microsoft.com/office/drawing/2014/main" id="{BF74C06C-0257-47D2-84D4-98C7BCF56C34}"/>
                </a:ext>
              </a:extLst>
            </p:cNvPr>
            <p:cNvSpPr/>
            <p:nvPr/>
          </p:nvSpPr>
          <p:spPr>
            <a:xfrm>
              <a:off x="582323" y="1850370"/>
              <a:ext cx="4794532" cy="522489"/>
            </a:xfrm>
            <a:prstGeom prst="rect">
              <a:avLst/>
            </a:prstGeom>
          </p:spPr>
          <p:txBody>
            <a:bodyPr wrap="square" lIns="0" tIns="0" rIns="0" bIns="0">
              <a:spAutoFit/>
            </a:bodyPr>
            <a:lstStyle/>
            <a:p>
              <a:pPr marL="0"/>
              <a:endParaRPr lang="en-US" sz="2799" b="1" i="0" spc="0" baseline="0" dirty="0">
                <a:latin typeface="EYInterstate Light" panose="02000506000000020004" pitchFamily="2" charset="0"/>
              </a:endParaRPr>
            </a:p>
          </p:txBody>
        </p:sp>
        <p:sp>
          <p:nvSpPr>
            <p:cNvPr id="24" name="Rectangle 105">
              <a:extLst>
                <a:ext uri="{FF2B5EF4-FFF2-40B4-BE49-F238E27FC236}">
                  <a16:creationId xmlns:a16="http://schemas.microsoft.com/office/drawing/2014/main" id="{26A165A9-4FDD-4680-AB6C-B219A9A00793}"/>
                </a:ext>
              </a:extLst>
            </p:cNvPr>
            <p:cNvSpPr/>
            <p:nvPr/>
          </p:nvSpPr>
          <p:spPr>
            <a:xfrm>
              <a:off x="582324" y="2812390"/>
              <a:ext cx="4770831" cy="447848"/>
            </a:xfrm>
            <a:prstGeom prst="rect">
              <a:avLst/>
            </a:prstGeom>
          </p:spPr>
          <p:txBody>
            <a:bodyPr wrap="square" lIns="0" tIns="0" rIns="0" bIns="0">
              <a:spAutoFit/>
            </a:bodyPr>
            <a:lstStyle/>
            <a:p>
              <a:pPr marL="0"/>
              <a:endParaRPr lang="en-US" sz="2399" b="1" i="0" spc="0" baseline="0" dirty="0">
                <a:latin typeface="EYInterstate Light" panose="02000506000000020004" pitchFamily="2" charset="0"/>
              </a:endParaRPr>
            </a:p>
          </p:txBody>
        </p:sp>
      </p:grpSp>
    </p:spTree>
    <p:extLst>
      <p:ext uri="{BB962C8B-B14F-4D97-AF65-F5344CB8AC3E}">
        <p14:creationId xmlns:p14="http://schemas.microsoft.com/office/powerpoint/2010/main" val="165030577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latin typeface="EYInterstate Light" panose="02000506000000020004" pitchFamily="2"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latin typeface="EYInterstate Light" panose="02000506000000020004" pitchFamily="2"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latin typeface="EYInterstate Light" panose="02000506000000020004" pitchFamily="2"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latin typeface="EYInterstate Light" panose="02000506000000020004" pitchFamily="2" charset="0"/>
            </a:endParaRPr>
          </a:p>
        </p:txBody>
      </p:sp>
    </p:spTree>
    <p:extLst>
      <p:ext uri="{BB962C8B-B14F-4D97-AF65-F5344CB8AC3E}">
        <p14:creationId xmlns:p14="http://schemas.microsoft.com/office/powerpoint/2010/main" val="118430855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19250"/>
            <a:ext cx="1219200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111" y="869577"/>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416074474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a:prstGeom prst="rect">
            <a:avLst/>
          </a:prstGeom>
        </p:spPr>
        <p:txBody>
          <a:bodyPr/>
          <a:lstStyle>
            <a:lvl1pPr>
              <a:defRPr sz="2399">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3" y="1137920"/>
            <a:ext cx="10975022" cy="4756150"/>
          </a:xfrm>
        </p:spPr>
        <p:txBody>
          <a:bodyPr/>
          <a:lstStyle>
            <a:lvl1pPr>
              <a:defRPr/>
            </a:lvl1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38472791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a:prstGeom prst="rect">
            <a:avLst/>
          </a:prstGeom>
        </p:spPr>
        <p:txBody>
          <a:bodyPr/>
          <a:lstStyle>
            <a:lvl1pPr>
              <a:defRPr sz="2399">
                <a:solidFill>
                  <a:schemeClr val="bg1"/>
                </a:solidFill>
                <a:latin typeface="EYInterstate Light" panose="02000506000000020004" pitchFamily="2" charset="0"/>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14144109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a:prstGeom prst="rect">
            <a:avLst/>
          </a:prstGeom>
        </p:spPr>
        <p:txBody>
          <a:bodyPr/>
          <a:lstStyle>
            <a:lvl1pPr>
              <a:defRPr sz="2399">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16180666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dirty="0"/>
          </a:p>
        </p:txBody>
      </p:sp>
      <p:sp>
        <p:nvSpPr>
          <p:cNvPr id="2" name="Title 1"/>
          <p:cNvSpPr>
            <a:spLocks noGrp="1"/>
          </p:cNvSpPr>
          <p:nvPr>
            <p:ph type="title"/>
          </p:nvPr>
        </p:nvSpPr>
        <p:spPr>
          <a:xfrm>
            <a:off x="2693891" y="294200"/>
            <a:ext cx="8887371" cy="590400"/>
          </a:xfrm>
          <a:prstGeom prst="rect">
            <a:avLst/>
          </a:prstGeom>
        </p:spPr>
        <p:txBody>
          <a:bodyPr/>
          <a:lstStyle>
            <a:lvl1pPr>
              <a:defRPr sz="2399">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25642105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a:prstGeom prst="rect">
            <a:avLst/>
          </a:prstGeom>
        </p:spPr>
        <p:txBody>
          <a:bodyPr/>
          <a:lstStyle>
            <a:lvl1pPr>
              <a:defRPr>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24494128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52265-E7E9-3261-A2E9-B5F2A379A0A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F5EC1B7-0C71-6F03-5170-8224AB0582C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6360A55-427B-ECD0-DC76-EEAA7053AB80}"/>
              </a:ext>
            </a:extLst>
          </p:cNvPr>
          <p:cNvSpPr>
            <a:spLocks noGrp="1"/>
          </p:cNvSpPr>
          <p:nvPr>
            <p:ph type="dt" sz="half" idx="10"/>
          </p:nvPr>
        </p:nvSpPr>
        <p:spPr/>
        <p:txBody>
          <a:bodyPr/>
          <a:lstStyle/>
          <a:p>
            <a:fld id="{87D83E36-9F37-404A-95A6-9BA245F490EB}" type="datetimeFigureOut">
              <a:rPr lang="en-IN" smtClean="0"/>
              <a:t>09-09-2023</a:t>
            </a:fld>
            <a:endParaRPr lang="en-IN"/>
          </a:p>
        </p:txBody>
      </p:sp>
      <p:sp>
        <p:nvSpPr>
          <p:cNvPr id="5" name="Footer Placeholder 4">
            <a:extLst>
              <a:ext uri="{FF2B5EF4-FFF2-40B4-BE49-F238E27FC236}">
                <a16:creationId xmlns:a16="http://schemas.microsoft.com/office/drawing/2014/main" id="{50DB3857-60BD-0EE9-D3CB-630D733F10F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EC39619-9F40-0DC2-29B6-46E37D0C5A40}"/>
              </a:ext>
            </a:extLst>
          </p:cNvPr>
          <p:cNvSpPr>
            <a:spLocks noGrp="1"/>
          </p:cNvSpPr>
          <p:nvPr>
            <p:ph type="sldNum" sz="quarter" idx="12"/>
          </p:nvPr>
        </p:nvSpPr>
        <p:spPr/>
        <p:txBody>
          <a:bodyPr/>
          <a:lstStyle/>
          <a:p>
            <a:fld id="{C3B1290E-90F2-496A-A4DF-6BB0DB28A9AB}" type="slidenum">
              <a:rPr lang="en-IN" smtClean="0"/>
              <a:t>‹#›</a:t>
            </a:fld>
            <a:endParaRPr lang="en-IN"/>
          </a:p>
        </p:txBody>
      </p:sp>
    </p:spTree>
    <p:extLst>
      <p:ext uri="{BB962C8B-B14F-4D97-AF65-F5344CB8AC3E}">
        <p14:creationId xmlns:p14="http://schemas.microsoft.com/office/powerpoint/2010/main" val="30665880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21869604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Tree>
    <p:extLst>
      <p:ext uri="{BB962C8B-B14F-4D97-AF65-F5344CB8AC3E}">
        <p14:creationId xmlns:p14="http://schemas.microsoft.com/office/powerpoint/2010/main" val="38545037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a:prstGeom prst="rect">
            <a:avLst/>
          </a:prstGeom>
        </p:spPr>
        <p:txBody>
          <a:bodyPr/>
          <a:lstStyle>
            <a:lvl1pPr>
              <a:defRPr>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12" name="Line 10">
            <a:extLst>
              <a:ext uri="{FF2B5EF4-FFF2-40B4-BE49-F238E27FC236}">
                <a16:creationId xmlns:a16="http://schemas.microsoft.com/office/drawing/2014/main" id="{129FF6C2-9BFB-4CA0-A668-7BA39F6E5BD3}"/>
              </a:ext>
            </a:extLst>
          </p:cNvPr>
          <p:cNvSpPr>
            <a:spLocks noChangeShapeType="1"/>
          </p:cNvSpPr>
          <p:nvPr userDrawn="1"/>
        </p:nvSpPr>
        <p:spPr bwMode="auto">
          <a:xfrm>
            <a:off x="609601" y="907908"/>
            <a:ext cx="10720320" cy="0"/>
          </a:xfrm>
          <a:prstGeom prst="line">
            <a:avLst/>
          </a:prstGeom>
          <a:noFill/>
          <a:ln w="9525">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grpSp>
        <p:nvGrpSpPr>
          <p:cNvPr id="13" name="Group 12">
            <a:extLst>
              <a:ext uri="{FF2B5EF4-FFF2-40B4-BE49-F238E27FC236}">
                <a16:creationId xmlns:a16="http://schemas.microsoft.com/office/drawing/2014/main" id="{04D7EEB5-4004-426D-9998-03102A713994}"/>
              </a:ext>
            </a:extLst>
          </p:cNvPr>
          <p:cNvGrpSpPr/>
          <p:nvPr userDrawn="1"/>
        </p:nvGrpSpPr>
        <p:grpSpPr>
          <a:xfrm>
            <a:off x="10981387" y="311883"/>
            <a:ext cx="560223" cy="551996"/>
            <a:chOff x="11020425" y="263525"/>
            <a:chExt cx="522288" cy="514350"/>
          </a:xfrm>
        </p:grpSpPr>
        <p:sp>
          <p:nvSpPr>
            <p:cNvPr id="16" name="Freeform 5">
              <a:extLst>
                <a:ext uri="{FF2B5EF4-FFF2-40B4-BE49-F238E27FC236}">
                  <a16:creationId xmlns:a16="http://schemas.microsoft.com/office/drawing/2014/main" id="{9D63B5D2-FF10-4AB8-8468-52AB854A1FD2}"/>
                </a:ext>
              </a:extLst>
            </p:cNvPr>
            <p:cNvSpPr>
              <a:spLocks/>
            </p:cNvSpPr>
            <p:nvPr/>
          </p:nvSpPr>
          <p:spPr bwMode="auto">
            <a:xfrm>
              <a:off x="11020425" y="263525"/>
              <a:ext cx="522288" cy="312738"/>
            </a:xfrm>
            <a:custGeom>
              <a:avLst/>
              <a:gdLst>
                <a:gd name="T0" fmla="*/ 1296 w 1555"/>
                <a:gd name="T1" fmla="*/ 928 h 928"/>
                <a:gd name="T2" fmla="*/ 982 w 1555"/>
                <a:gd name="T3" fmla="*/ 928 h 928"/>
                <a:gd name="T4" fmla="*/ 955 w 1555"/>
                <a:gd name="T5" fmla="*/ 900 h 928"/>
                <a:gd name="T6" fmla="*/ 982 w 1555"/>
                <a:gd name="T7" fmla="*/ 873 h 928"/>
                <a:gd name="T8" fmla="*/ 1296 w 1555"/>
                <a:gd name="T9" fmla="*/ 873 h 928"/>
                <a:gd name="T10" fmla="*/ 1501 w 1555"/>
                <a:gd name="T11" fmla="*/ 668 h 928"/>
                <a:gd name="T12" fmla="*/ 1296 w 1555"/>
                <a:gd name="T13" fmla="*/ 464 h 928"/>
                <a:gd name="T14" fmla="*/ 1284 w 1555"/>
                <a:gd name="T15" fmla="*/ 464 h 928"/>
                <a:gd name="T16" fmla="*/ 1261 w 1555"/>
                <a:gd name="T17" fmla="*/ 456 h 928"/>
                <a:gd name="T18" fmla="*/ 1253 w 1555"/>
                <a:gd name="T19" fmla="*/ 434 h 928"/>
                <a:gd name="T20" fmla="*/ 1255 w 1555"/>
                <a:gd name="T21" fmla="*/ 395 h 928"/>
                <a:gd name="T22" fmla="*/ 914 w 1555"/>
                <a:gd name="T23" fmla="*/ 54 h 928"/>
                <a:gd name="T24" fmla="*/ 621 w 1555"/>
                <a:gd name="T25" fmla="*/ 221 h 928"/>
                <a:gd name="T26" fmla="*/ 600 w 1555"/>
                <a:gd name="T27" fmla="*/ 235 h 928"/>
                <a:gd name="T28" fmla="*/ 577 w 1555"/>
                <a:gd name="T29" fmla="*/ 226 h 928"/>
                <a:gd name="T30" fmla="*/ 437 w 1555"/>
                <a:gd name="T31" fmla="*/ 163 h 928"/>
                <a:gd name="T32" fmla="*/ 245 w 1555"/>
                <a:gd name="T33" fmla="*/ 355 h 928"/>
                <a:gd name="T34" fmla="*/ 260 w 1555"/>
                <a:gd name="T35" fmla="*/ 427 h 928"/>
                <a:gd name="T36" fmla="*/ 258 w 1555"/>
                <a:gd name="T37" fmla="*/ 452 h 928"/>
                <a:gd name="T38" fmla="*/ 238 w 1555"/>
                <a:gd name="T39" fmla="*/ 465 h 928"/>
                <a:gd name="T40" fmla="*/ 54 w 1555"/>
                <a:gd name="T41" fmla="*/ 668 h 928"/>
                <a:gd name="T42" fmla="*/ 259 w 1555"/>
                <a:gd name="T43" fmla="*/ 873 h 928"/>
                <a:gd name="T44" fmla="*/ 473 w 1555"/>
                <a:gd name="T45" fmla="*/ 873 h 928"/>
                <a:gd name="T46" fmla="*/ 500 w 1555"/>
                <a:gd name="T47" fmla="*/ 900 h 928"/>
                <a:gd name="T48" fmla="*/ 473 w 1555"/>
                <a:gd name="T49" fmla="*/ 928 h 928"/>
                <a:gd name="T50" fmla="*/ 259 w 1555"/>
                <a:gd name="T51" fmla="*/ 928 h 928"/>
                <a:gd name="T52" fmla="*/ 0 w 1555"/>
                <a:gd name="T53" fmla="*/ 668 h 928"/>
                <a:gd name="T54" fmla="*/ 199 w 1555"/>
                <a:gd name="T55" fmla="*/ 416 h 928"/>
                <a:gd name="T56" fmla="*/ 191 w 1555"/>
                <a:gd name="T57" fmla="*/ 355 h 928"/>
                <a:gd name="T58" fmla="*/ 437 w 1555"/>
                <a:gd name="T59" fmla="*/ 109 h 928"/>
                <a:gd name="T60" fmla="*/ 593 w 1555"/>
                <a:gd name="T61" fmla="*/ 165 h 928"/>
                <a:gd name="T62" fmla="*/ 914 w 1555"/>
                <a:gd name="T63" fmla="*/ 0 h 928"/>
                <a:gd name="T64" fmla="*/ 1310 w 1555"/>
                <a:gd name="T65" fmla="*/ 395 h 928"/>
                <a:gd name="T66" fmla="*/ 1310 w 1555"/>
                <a:gd name="T67" fmla="*/ 409 h 928"/>
                <a:gd name="T68" fmla="*/ 1555 w 1555"/>
                <a:gd name="T69" fmla="*/ 668 h 928"/>
                <a:gd name="T70" fmla="*/ 1296 w 1555"/>
                <a:gd name="T71" fmla="*/ 928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55" h="928">
                  <a:moveTo>
                    <a:pt x="1296" y="928"/>
                  </a:moveTo>
                  <a:cubicBezTo>
                    <a:pt x="982" y="928"/>
                    <a:pt x="982" y="928"/>
                    <a:pt x="982" y="928"/>
                  </a:cubicBezTo>
                  <a:cubicBezTo>
                    <a:pt x="967" y="928"/>
                    <a:pt x="955" y="915"/>
                    <a:pt x="955" y="900"/>
                  </a:cubicBezTo>
                  <a:cubicBezTo>
                    <a:pt x="955" y="885"/>
                    <a:pt x="967" y="873"/>
                    <a:pt x="982" y="873"/>
                  </a:cubicBezTo>
                  <a:cubicBezTo>
                    <a:pt x="1296" y="873"/>
                    <a:pt x="1296" y="873"/>
                    <a:pt x="1296" y="873"/>
                  </a:cubicBezTo>
                  <a:cubicBezTo>
                    <a:pt x="1409" y="873"/>
                    <a:pt x="1501" y="781"/>
                    <a:pt x="1501" y="668"/>
                  </a:cubicBezTo>
                  <a:cubicBezTo>
                    <a:pt x="1501" y="555"/>
                    <a:pt x="1409" y="464"/>
                    <a:pt x="1296" y="464"/>
                  </a:cubicBezTo>
                  <a:cubicBezTo>
                    <a:pt x="1292" y="464"/>
                    <a:pt x="1288" y="464"/>
                    <a:pt x="1284" y="464"/>
                  </a:cubicBezTo>
                  <a:cubicBezTo>
                    <a:pt x="1276" y="465"/>
                    <a:pt x="1267" y="462"/>
                    <a:pt x="1261" y="456"/>
                  </a:cubicBezTo>
                  <a:cubicBezTo>
                    <a:pt x="1256" y="450"/>
                    <a:pt x="1252" y="442"/>
                    <a:pt x="1253" y="434"/>
                  </a:cubicBezTo>
                  <a:cubicBezTo>
                    <a:pt x="1254" y="420"/>
                    <a:pt x="1255" y="408"/>
                    <a:pt x="1255" y="395"/>
                  </a:cubicBezTo>
                  <a:cubicBezTo>
                    <a:pt x="1255" y="207"/>
                    <a:pt x="1102" y="54"/>
                    <a:pt x="914" y="54"/>
                  </a:cubicBezTo>
                  <a:cubicBezTo>
                    <a:pt x="793" y="54"/>
                    <a:pt x="683" y="117"/>
                    <a:pt x="621" y="221"/>
                  </a:cubicBezTo>
                  <a:cubicBezTo>
                    <a:pt x="617" y="229"/>
                    <a:pt x="609" y="234"/>
                    <a:pt x="600" y="235"/>
                  </a:cubicBezTo>
                  <a:cubicBezTo>
                    <a:pt x="592" y="236"/>
                    <a:pt x="583" y="232"/>
                    <a:pt x="577" y="226"/>
                  </a:cubicBezTo>
                  <a:cubicBezTo>
                    <a:pt x="541" y="186"/>
                    <a:pt x="490" y="163"/>
                    <a:pt x="437" y="163"/>
                  </a:cubicBezTo>
                  <a:cubicBezTo>
                    <a:pt x="331" y="163"/>
                    <a:pt x="245" y="249"/>
                    <a:pt x="245" y="355"/>
                  </a:cubicBezTo>
                  <a:cubicBezTo>
                    <a:pt x="245" y="380"/>
                    <a:pt x="250" y="404"/>
                    <a:pt x="260" y="427"/>
                  </a:cubicBezTo>
                  <a:cubicBezTo>
                    <a:pt x="263" y="435"/>
                    <a:pt x="263" y="444"/>
                    <a:pt x="258" y="452"/>
                  </a:cubicBezTo>
                  <a:cubicBezTo>
                    <a:pt x="254" y="459"/>
                    <a:pt x="246" y="464"/>
                    <a:pt x="238" y="465"/>
                  </a:cubicBezTo>
                  <a:cubicBezTo>
                    <a:pt x="133" y="476"/>
                    <a:pt x="54" y="563"/>
                    <a:pt x="54" y="668"/>
                  </a:cubicBezTo>
                  <a:cubicBezTo>
                    <a:pt x="54" y="781"/>
                    <a:pt x="146" y="873"/>
                    <a:pt x="259" y="873"/>
                  </a:cubicBezTo>
                  <a:cubicBezTo>
                    <a:pt x="473" y="873"/>
                    <a:pt x="473" y="873"/>
                    <a:pt x="473" y="873"/>
                  </a:cubicBezTo>
                  <a:cubicBezTo>
                    <a:pt x="488" y="873"/>
                    <a:pt x="500" y="885"/>
                    <a:pt x="500" y="900"/>
                  </a:cubicBezTo>
                  <a:cubicBezTo>
                    <a:pt x="500" y="915"/>
                    <a:pt x="488" y="928"/>
                    <a:pt x="473" y="928"/>
                  </a:cubicBezTo>
                  <a:cubicBezTo>
                    <a:pt x="259" y="928"/>
                    <a:pt x="259" y="928"/>
                    <a:pt x="259" y="928"/>
                  </a:cubicBezTo>
                  <a:cubicBezTo>
                    <a:pt x="116" y="928"/>
                    <a:pt x="0" y="811"/>
                    <a:pt x="0" y="668"/>
                  </a:cubicBezTo>
                  <a:cubicBezTo>
                    <a:pt x="0" y="547"/>
                    <a:pt x="83" y="443"/>
                    <a:pt x="199" y="416"/>
                  </a:cubicBezTo>
                  <a:cubicBezTo>
                    <a:pt x="194" y="396"/>
                    <a:pt x="191" y="375"/>
                    <a:pt x="191" y="355"/>
                  </a:cubicBezTo>
                  <a:cubicBezTo>
                    <a:pt x="191" y="219"/>
                    <a:pt x="301" y="109"/>
                    <a:pt x="437" y="109"/>
                  </a:cubicBezTo>
                  <a:cubicBezTo>
                    <a:pt x="494" y="109"/>
                    <a:pt x="549" y="129"/>
                    <a:pt x="593" y="165"/>
                  </a:cubicBezTo>
                  <a:cubicBezTo>
                    <a:pt x="667" y="62"/>
                    <a:pt x="787" y="0"/>
                    <a:pt x="914" y="0"/>
                  </a:cubicBezTo>
                  <a:cubicBezTo>
                    <a:pt x="1132" y="0"/>
                    <a:pt x="1310" y="177"/>
                    <a:pt x="1310" y="395"/>
                  </a:cubicBezTo>
                  <a:cubicBezTo>
                    <a:pt x="1310" y="400"/>
                    <a:pt x="1310" y="405"/>
                    <a:pt x="1310" y="409"/>
                  </a:cubicBezTo>
                  <a:cubicBezTo>
                    <a:pt x="1446" y="416"/>
                    <a:pt x="1555" y="530"/>
                    <a:pt x="1555" y="668"/>
                  </a:cubicBezTo>
                  <a:cubicBezTo>
                    <a:pt x="1555" y="811"/>
                    <a:pt x="1439" y="928"/>
                    <a:pt x="1296" y="928"/>
                  </a:cubicBezTo>
                  <a:close/>
                </a:path>
              </a:pathLst>
            </a:custGeom>
            <a:solidFill>
              <a:schemeClr val="bg1"/>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17" name="Freeform 6">
              <a:extLst>
                <a:ext uri="{FF2B5EF4-FFF2-40B4-BE49-F238E27FC236}">
                  <a16:creationId xmlns:a16="http://schemas.microsoft.com/office/drawing/2014/main" id="{682212DE-86A5-4D69-8D09-A662EBC760B4}"/>
                </a:ext>
              </a:extLst>
            </p:cNvPr>
            <p:cNvSpPr>
              <a:spLocks/>
            </p:cNvSpPr>
            <p:nvPr/>
          </p:nvSpPr>
          <p:spPr bwMode="auto">
            <a:xfrm>
              <a:off x="11047413" y="438150"/>
              <a:ext cx="312738" cy="266700"/>
            </a:xfrm>
            <a:custGeom>
              <a:avLst/>
              <a:gdLst>
                <a:gd name="T0" fmla="*/ 627 w 928"/>
                <a:gd name="T1" fmla="*/ 792 h 792"/>
                <a:gd name="T2" fmla="*/ 27 w 928"/>
                <a:gd name="T3" fmla="*/ 792 h 792"/>
                <a:gd name="T4" fmla="*/ 0 w 928"/>
                <a:gd name="T5" fmla="*/ 764 h 792"/>
                <a:gd name="T6" fmla="*/ 0 w 928"/>
                <a:gd name="T7" fmla="*/ 601 h 792"/>
                <a:gd name="T8" fmla="*/ 27 w 928"/>
                <a:gd name="T9" fmla="*/ 573 h 792"/>
                <a:gd name="T10" fmla="*/ 54 w 928"/>
                <a:gd name="T11" fmla="*/ 601 h 792"/>
                <a:gd name="T12" fmla="*/ 54 w 928"/>
                <a:gd name="T13" fmla="*/ 737 h 792"/>
                <a:gd name="T14" fmla="*/ 600 w 928"/>
                <a:gd name="T15" fmla="*/ 737 h 792"/>
                <a:gd name="T16" fmla="*/ 600 w 928"/>
                <a:gd name="T17" fmla="*/ 28 h 792"/>
                <a:gd name="T18" fmla="*/ 627 w 928"/>
                <a:gd name="T19" fmla="*/ 0 h 792"/>
                <a:gd name="T20" fmla="*/ 900 w 928"/>
                <a:gd name="T21" fmla="*/ 0 h 792"/>
                <a:gd name="T22" fmla="*/ 928 w 928"/>
                <a:gd name="T23" fmla="*/ 28 h 792"/>
                <a:gd name="T24" fmla="*/ 900 w 928"/>
                <a:gd name="T25" fmla="*/ 55 h 792"/>
                <a:gd name="T26" fmla="*/ 655 w 928"/>
                <a:gd name="T27" fmla="*/ 55 h 792"/>
                <a:gd name="T28" fmla="*/ 655 w 928"/>
                <a:gd name="T29" fmla="*/ 764 h 792"/>
                <a:gd name="T30" fmla="*/ 627 w 928"/>
                <a:gd name="T31" fmla="*/ 79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8" h="792">
                  <a:moveTo>
                    <a:pt x="627" y="792"/>
                  </a:moveTo>
                  <a:cubicBezTo>
                    <a:pt x="27" y="792"/>
                    <a:pt x="27" y="792"/>
                    <a:pt x="27" y="792"/>
                  </a:cubicBezTo>
                  <a:cubicBezTo>
                    <a:pt x="12" y="792"/>
                    <a:pt x="0" y="779"/>
                    <a:pt x="0" y="764"/>
                  </a:cubicBezTo>
                  <a:cubicBezTo>
                    <a:pt x="0" y="601"/>
                    <a:pt x="0" y="601"/>
                    <a:pt x="0" y="601"/>
                  </a:cubicBezTo>
                  <a:cubicBezTo>
                    <a:pt x="0" y="586"/>
                    <a:pt x="12" y="573"/>
                    <a:pt x="27" y="573"/>
                  </a:cubicBezTo>
                  <a:cubicBezTo>
                    <a:pt x="42" y="573"/>
                    <a:pt x="54" y="586"/>
                    <a:pt x="54" y="601"/>
                  </a:cubicBezTo>
                  <a:cubicBezTo>
                    <a:pt x="54" y="737"/>
                    <a:pt x="54" y="737"/>
                    <a:pt x="54" y="737"/>
                  </a:cubicBezTo>
                  <a:cubicBezTo>
                    <a:pt x="600" y="737"/>
                    <a:pt x="600" y="737"/>
                    <a:pt x="600" y="737"/>
                  </a:cubicBezTo>
                  <a:cubicBezTo>
                    <a:pt x="600" y="28"/>
                    <a:pt x="600" y="28"/>
                    <a:pt x="600" y="28"/>
                  </a:cubicBezTo>
                  <a:cubicBezTo>
                    <a:pt x="600" y="12"/>
                    <a:pt x="612" y="0"/>
                    <a:pt x="627" y="0"/>
                  </a:cubicBezTo>
                  <a:cubicBezTo>
                    <a:pt x="900" y="0"/>
                    <a:pt x="900" y="0"/>
                    <a:pt x="900" y="0"/>
                  </a:cubicBezTo>
                  <a:cubicBezTo>
                    <a:pt x="915" y="0"/>
                    <a:pt x="928" y="12"/>
                    <a:pt x="928" y="28"/>
                  </a:cubicBezTo>
                  <a:cubicBezTo>
                    <a:pt x="928" y="43"/>
                    <a:pt x="915" y="55"/>
                    <a:pt x="900" y="55"/>
                  </a:cubicBezTo>
                  <a:cubicBezTo>
                    <a:pt x="655" y="55"/>
                    <a:pt x="655" y="55"/>
                    <a:pt x="655" y="55"/>
                  </a:cubicBezTo>
                  <a:cubicBezTo>
                    <a:pt x="655" y="764"/>
                    <a:pt x="655" y="764"/>
                    <a:pt x="655" y="764"/>
                  </a:cubicBezTo>
                  <a:cubicBezTo>
                    <a:pt x="655" y="779"/>
                    <a:pt x="642" y="792"/>
                    <a:pt x="627" y="792"/>
                  </a:cubicBezTo>
                  <a:close/>
                </a:path>
              </a:pathLst>
            </a:custGeom>
            <a:solidFill>
              <a:schemeClr val="bg1"/>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18" name="Freeform 7">
              <a:extLst>
                <a:ext uri="{FF2B5EF4-FFF2-40B4-BE49-F238E27FC236}">
                  <a16:creationId xmlns:a16="http://schemas.microsoft.com/office/drawing/2014/main" id="{F434F389-38A7-45D5-B673-AA57B7253151}"/>
                </a:ext>
              </a:extLst>
            </p:cNvPr>
            <p:cNvSpPr>
              <a:spLocks/>
            </p:cNvSpPr>
            <p:nvPr/>
          </p:nvSpPr>
          <p:spPr bwMode="auto">
            <a:xfrm>
              <a:off x="11149013" y="455613"/>
              <a:ext cx="82550" cy="184150"/>
            </a:xfrm>
            <a:custGeom>
              <a:avLst/>
              <a:gdLst>
                <a:gd name="T0" fmla="*/ 218 w 246"/>
                <a:gd name="T1" fmla="*/ 550 h 550"/>
                <a:gd name="T2" fmla="*/ 27 w 246"/>
                <a:gd name="T3" fmla="*/ 550 h 550"/>
                <a:gd name="T4" fmla="*/ 0 w 246"/>
                <a:gd name="T5" fmla="*/ 522 h 550"/>
                <a:gd name="T6" fmla="*/ 27 w 246"/>
                <a:gd name="T7" fmla="*/ 495 h 550"/>
                <a:gd name="T8" fmla="*/ 191 w 246"/>
                <a:gd name="T9" fmla="*/ 495 h 550"/>
                <a:gd name="T10" fmla="*/ 191 w 246"/>
                <a:gd name="T11" fmla="*/ 205 h 550"/>
                <a:gd name="T12" fmla="*/ 61 w 246"/>
                <a:gd name="T13" fmla="*/ 49 h 550"/>
                <a:gd name="T14" fmla="*/ 64 w 246"/>
                <a:gd name="T15" fmla="*/ 10 h 550"/>
                <a:gd name="T16" fmla="*/ 103 w 246"/>
                <a:gd name="T17" fmla="*/ 14 h 550"/>
                <a:gd name="T18" fmla="*/ 239 w 246"/>
                <a:gd name="T19" fmla="*/ 177 h 550"/>
                <a:gd name="T20" fmla="*/ 246 w 246"/>
                <a:gd name="T21" fmla="*/ 195 h 550"/>
                <a:gd name="T22" fmla="*/ 246 w 246"/>
                <a:gd name="T23" fmla="*/ 522 h 550"/>
                <a:gd name="T24" fmla="*/ 218 w 246"/>
                <a:gd name="T25"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50">
                  <a:moveTo>
                    <a:pt x="218" y="550"/>
                  </a:moveTo>
                  <a:cubicBezTo>
                    <a:pt x="27" y="550"/>
                    <a:pt x="27" y="550"/>
                    <a:pt x="27" y="550"/>
                  </a:cubicBezTo>
                  <a:cubicBezTo>
                    <a:pt x="12" y="550"/>
                    <a:pt x="0" y="537"/>
                    <a:pt x="0" y="522"/>
                  </a:cubicBezTo>
                  <a:cubicBezTo>
                    <a:pt x="0" y="507"/>
                    <a:pt x="12" y="495"/>
                    <a:pt x="27" y="495"/>
                  </a:cubicBezTo>
                  <a:cubicBezTo>
                    <a:pt x="191" y="495"/>
                    <a:pt x="191" y="495"/>
                    <a:pt x="191" y="495"/>
                  </a:cubicBezTo>
                  <a:cubicBezTo>
                    <a:pt x="191" y="205"/>
                    <a:pt x="191" y="205"/>
                    <a:pt x="191" y="205"/>
                  </a:cubicBezTo>
                  <a:cubicBezTo>
                    <a:pt x="61" y="49"/>
                    <a:pt x="61" y="49"/>
                    <a:pt x="61" y="49"/>
                  </a:cubicBezTo>
                  <a:cubicBezTo>
                    <a:pt x="51" y="37"/>
                    <a:pt x="53" y="20"/>
                    <a:pt x="64" y="10"/>
                  </a:cubicBezTo>
                  <a:cubicBezTo>
                    <a:pt x="76" y="0"/>
                    <a:pt x="93" y="2"/>
                    <a:pt x="103" y="14"/>
                  </a:cubicBezTo>
                  <a:cubicBezTo>
                    <a:pt x="239" y="177"/>
                    <a:pt x="239" y="177"/>
                    <a:pt x="239" y="177"/>
                  </a:cubicBezTo>
                  <a:cubicBezTo>
                    <a:pt x="243" y="182"/>
                    <a:pt x="246" y="188"/>
                    <a:pt x="246" y="195"/>
                  </a:cubicBezTo>
                  <a:cubicBezTo>
                    <a:pt x="246" y="522"/>
                    <a:pt x="246" y="522"/>
                    <a:pt x="246" y="522"/>
                  </a:cubicBezTo>
                  <a:cubicBezTo>
                    <a:pt x="246" y="537"/>
                    <a:pt x="233" y="550"/>
                    <a:pt x="218" y="550"/>
                  </a:cubicBezTo>
                  <a:close/>
                </a:path>
              </a:pathLst>
            </a:custGeom>
            <a:solidFill>
              <a:schemeClr val="bg1"/>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19" name="Freeform 8">
              <a:extLst>
                <a:ext uri="{FF2B5EF4-FFF2-40B4-BE49-F238E27FC236}">
                  <a16:creationId xmlns:a16="http://schemas.microsoft.com/office/drawing/2014/main" id="{694363AD-AEAB-4C23-8758-7A32BCC5C59D}"/>
                </a:ext>
              </a:extLst>
            </p:cNvPr>
            <p:cNvSpPr>
              <a:spLocks/>
            </p:cNvSpPr>
            <p:nvPr/>
          </p:nvSpPr>
          <p:spPr bwMode="auto">
            <a:xfrm>
              <a:off x="11304588" y="530225"/>
              <a:ext cx="220663" cy="109538"/>
            </a:xfrm>
            <a:custGeom>
              <a:avLst/>
              <a:gdLst>
                <a:gd name="T0" fmla="*/ 628 w 655"/>
                <a:gd name="T1" fmla="*/ 328 h 328"/>
                <a:gd name="T2" fmla="*/ 27 w 655"/>
                <a:gd name="T3" fmla="*/ 328 h 328"/>
                <a:gd name="T4" fmla="*/ 0 w 655"/>
                <a:gd name="T5" fmla="*/ 300 h 328"/>
                <a:gd name="T6" fmla="*/ 0 w 655"/>
                <a:gd name="T7" fmla="*/ 27 h 328"/>
                <a:gd name="T8" fmla="*/ 27 w 655"/>
                <a:gd name="T9" fmla="*/ 0 h 328"/>
                <a:gd name="T10" fmla="*/ 54 w 655"/>
                <a:gd name="T11" fmla="*/ 27 h 328"/>
                <a:gd name="T12" fmla="*/ 54 w 655"/>
                <a:gd name="T13" fmla="*/ 273 h 328"/>
                <a:gd name="T14" fmla="*/ 628 w 655"/>
                <a:gd name="T15" fmla="*/ 273 h 328"/>
                <a:gd name="T16" fmla="*/ 655 w 655"/>
                <a:gd name="T17" fmla="*/ 300 h 328"/>
                <a:gd name="T18" fmla="*/ 628 w 655"/>
                <a:gd name="T19"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5" h="328">
                  <a:moveTo>
                    <a:pt x="628" y="328"/>
                  </a:moveTo>
                  <a:cubicBezTo>
                    <a:pt x="27" y="328"/>
                    <a:pt x="27" y="328"/>
                    <a:pt x="27" y="328"/>
                  </a:cubicBezTo>
                  <a:cubicBezTo>
                    <a:pt x="12" y="328"/>
                    <a:pt x="0" y="315"/>
                    <a:pt x="0" y="300"/>
                  </a:cubicBezTo>
                  <a:cubicBezTo>
                    <a:pt x="0" y="27"/>
                    <a:pt x="0" y="27"/>
                    <a:pt x="0" y="27"/>
                  </a:cubicBezTo>
                  <a:cubicBezTo>
                    <a:pt x="0" y="12"/>
                    <a:pt x="12" y="0"/>
                    <a:pt x="27" y="0"/>
                  </a:cubicBezTo>
                  <a:cubicBezTo>
                    <a:pt x="42" y="0"/>
                    <a:pt x="54" y="12"/>
                    <a:pt x="54" y="27"/>
                  </a:cubicBezTo>
                  <a:cubicBezTo>
                    <a:pt x="54" y="273"/>
                    <a:pt x="54" y="273"/>
                    <a:pt x="54" y="273"/>
                  </a:cubicBezTo>
                  <a:cubicBezTo>
                    <a:pt x="628" y="273"/>
                    <a:pt x="628" y="273"/>
                    <a:pt x="628" y="273"/>
                  </a:cubicBezTo>
                  <a:cubicBezTo>
                    <a:pt x="643" y="273"/>
                    <a:pt x="655" y="285"/>
                    <a:pt x="655" y="300"/>
                  </a:cubicBezTo>
                  <a:cubicBezTo>
                    <a:pt x="655" y="315"/>
                    <a:pt x="643" y="328"/>
                    <a:pt x="628" y="328"/>
                  </a:cubicBezTo>
                  <a:close/>
                </a:path>
              </a:pathLst>
            </a:custGeom>
            <a:solidFill>
              <a:schemeClr val="bg1"/>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21" name="Oval 9">
              <a:extLst>
                <a:ext uri="{FF2B5EF4-FFF2-40B4-BE49-F238E27FC236}">
                  <a16:creationId xmlns:a16="http://schemas.microsoft.com/office/drawing/2014/main" id="{A77B885E-FA71-4E68-8DC9-4A0AEA8AF3A1}"/>
                </a:ext>
              </a:extLst>
            </p:cNvPr>
            <p:cNvSpPr>
              <a:spLocks noChangeArrowheads="1"/>
            </p:cNvSpPr>
            <p:nvPr/>
          </p:nvSpPr>
          <p:spPr bwMode="auto">
            <a:xfrm>
              <a:off x="11350625" y="419100"/>
              <a:ext cx="55563" cy="55563"/>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22" name="Freeform 10">
              <a:extLst>
                <a:ext uri="{FF2B5EF4-FFF2-40B4-BE49-F238E27FC236}">
                  <a16:creationId xmlns:a16="http://schemas.microsoft.com/office/drawing/2014/main" id="{070ADD92-0F28-47B8-A2C1-331CFD7F8740}"/>
                </a:ext>
              </a:extLst>
            </p:cNvPr>
            <p:cNvSpPr>
              <a:spLocks noEditPoints="1"/>
            </p:cNvSpPr>
            <p:nvPr/>
          </p:nvSpPr>
          <p:spPr bwMode="auto">
            <a:xfrm>
              <a:off x="11341100" y="409575"/>
              <a:ext cx="73025" cy="74613"/>
            </a:xfrm>
            <a:custGeom>
              <a:avLst/>
              <a:gdLst>
                <a:gd name="T0" fmla="*/ 109 w 218"/>
                <a:gd name="T1" fmla="*/ 219 h 219"/>
                <a:gd name="T2" fmla="*/ 0 w 218"/>
                <a:gd name="T3" fmla="*/ 110 h 219"/>
                <a:gd name="T4" fmla="*/ 109 w 218"/>
                <a:gd name="T5" fmla="*/ 0 h 219"/>
                <a:gd name="T6" fmla="*/ 218 w 218"/>
                <a:gd name="T7" fmla="*/ 110 h 219"/>
                <a:gd name="T8" fmla="*/ 109 w 218"/>
                <a:gd name="T9" fmla="*/ 219 h 219"/>
                <a:gd name="T10" fmla="*/ 109 w 218"/>
                <a:gd name="T11" fmla="*/ 55 h 219"/>
                <a:gd name="T12" fmla="*/ 55 w 218"/>
                <a:gd name="T13" fmla="*/ 110 h 219"/>
                <a:gd name="T14" fmla="*/ 109 w 218"/>
                <a:gd name="T15" fmla="*/ 164 h 219"/>
                <a:gd name="T16" fmla="*/ 164 w 218"/>
                <a:gd name="T17" fmla="*/ 110 h 219"/>
                <a:gd name="T18" fmla="*/ 109 w 218"/>
                <a:gd name="T19" fmla="*/ 5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9">
                  <a:moveTo>
                    <a:pt x="109" y="219"/>
                  </a:moveTo>
                  <a:cubicBezTo>
                    <a:pt x="49" y="219"/>
                    <a:pt x="0" y="170"/>
                    <a:pt x="0" y="110"/>
                  </a:cubicBezTo>
                  <a:cubicBezTo>
                    <a:pt x="0" y="49"/>
                    <a:pt x="49" y="0"/>
                    <a:pt x="109" y="0"/>
                  </a:cubicBezTo>
                  <a:cubicBezTo>
                    <a:pt x="169" y="0"/>
                    <a:pt x="218" y="49"/>
                    <a:pt x="218" y="110"/>
                  </a:cubicBezTo>
                  <a:cubicBezTo>
                    <a:pt x="218" y="170"/>
                    <a:pt x="169" y="219"/>
                    <a:pt x="109" y="219"/>
                  </a:cubicBezTo>
                  <a:close/>
                  <a:moveTo>
                    <a:pt x="109" y="55"/>
                  </a:moveTo>
                  <a:cubicBezTo>
                    <a:pt x="79" y="55"/>
                    <a:pt x="55" y="79"/>
                    <a:pt x="55" y="110"/>
                  </a:cubicBezTo>
                  <a:cubicBezTo>
                    <a:pt x="55" y="140"/>
                    <a:pt x="79" y="164"/>
                    <a:pt x="109" y="164"/>
                  </a:cubicBezTo>
                  <a:cubicBezTo>
                    <a:pt x="139" y="164"/>
                    <a:pt x="164" y="140"/>
                    <a:pt x="164" y="110"/>
                  </a:cubicBezTo>
                  <a:cubicBezTo>
                    <a:pt x="164" y="79"/>
                    <a:pt x="139" y="55"/>
                    <a:pt x="109" y="55"/>
                  </a:cubicBezTo>
                  <a:close/>
                </a:path>
              </a:pathLst>
            </a:cu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23" name="Oval 11">
              <a:extLst>
                <a:ext uri="{FF2B5EF4-FFF2-40B4-BE49-F238E27FC236}">
                  <a16:creationId xmlns:a16="http://schemas.microsoft.com/office/drawing/2014/main" id="{A893A6F9-026B-43C3-8BFC-B2CF6E6DA3F3}"/>
                </a:ext>
              </a:extLst>
            </p:cNvPr>
            <p:cNvSpPr>
              <a:spLocks noChangeArrowheads="1"/>
            </p:cNvSpPr>
            <p:nvPr/>
          </p:nvSpPr>
          <p:spPr bwMode="auto">
            <a:xfrm>
              <a:off x="11129963" y="419100"/>
              <a:ext cx="55563" cy="55563"/>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24" name="Freeform 12">
              <a:extLst>
                <a:ext uri="{FF2B5EF4-FFF2-40B4-BE49-F238E27FC236}">
                  <a16:creationId xmlns:a16="http://schemas.microsoft.com/office/drawing/2014/main" id="{6522EE5F-CB9C-4F4A-8513-AE4819B91D56}"/>
                </a:ext>
              </a:extLst>
            </p:cNvPr>
            <p:cNvSpPr>
              <a:spLocks noEditPoints="1"/>
            </p:cNvSpPr>
            <p:nvPr/>
          </p:nvSpPr>
          <p:spPr bwMode="auto">
            <a:xfrm>
              <a:off x="11122025" y="409575"/>
              <a:ext cx="73025" cy="74613"/>
            </a:xfrm>
            <a:custGeom>
              <a:avLst/>
              <a:gdLst>
                <a:gd name="T0" fmla="*/ 109 w 218"/>
                <a:gd name="T1" fmla="*/ 219 h 219"/>
                <a:gd name="T2" fmla="*/ 0 w 218"/>
                <a:gd name="T3" fmla="*/ 110 h 219"/>
                <a:gd name="T4" fmla="*/ 109 w 218"/>
                <a:gd name="T5" fmla="*/ 0 h 219"/>
                <a:gd name="T6" fmla="*/ 218 w 218"/>
                <a:gd name="T7" fmla="*/ 110 h 219"/>
                <a:gd name="T8" fmla="*/ 109 w 218"/>
                <a:gd name="T9" fmla="*/ 219 h 219"/>
                <a:gd name="T10" fmla="*/ 109 w 218"/>
                <a:gd name="T11" fmla="*/ 55 h 219"/>
                <a:gd name="T12" fmla="*/ 55 w 218"/>
                <a:gd name="T13" fmla="*/ 110 h 219"/>
                <a:gd name="T14" fmla="*/ 109 w 218"/>
                <a:gd name="T15" fmla="*/ 164 h 219"/>
                <a:gd name="T16" fmla="*/ 164 w 218"/>
                <a:gd name="T17" fmla="*/ 110 h 219"/>
                <a:gd name="T18" fmla="*/ 109 w 218"/>
                <a:gd name="T19" fmla="*/ 5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9">
                  <a:moveTo>
                    <a:pt x="109" y="219"/>
                  </a:moveTo>
                  <a:cubicBezTo>
                    <a:pt x="49" y="219"/>
                    <a:pt x="0" y="170"/>
                    <a:pt x="0" y="110"/>
                  </a:cubicBezTo>
                  <a:cubicBezTo>
                    <a:pt x="0" y="49"/>
                    <a:pt x="49" y="0"/>
                    <a:pt x="109" y="0"/>
                  </a:cubicBezTo>
                  <a:cubicBezTo>
                    <a:pt x="169" y="0"/>
                    <a:pt x="218" y="49"/>
                    <a:pt x="218" y="110"/>
                  </a:cubicBezTo>
                  <a:cubicBezTo>
                    <a:pt x="218" y="170"/>
                    <a:pt x="169" y="219"/>
                    <a:pt x="109" y="219"/>
                  </a:cubicBezTo>
                  <a:close/>
                  <a:moveTo>
                    <a:pt x="109" y="55"/>
                  </a:moveTo>
                  <a:cubicBezTo>
                    <a:pt x="79" y="55"/>
                    <a:pt x="55" y="79"/>
                    <a:pt x="55" y="110"/>
                  </a:cubicBezTo>
                  <a:cubicBezTo>
                    <a:pt x="55" y="140"/>
                    <a:pt x="79" y="164"/>
                    <a:pt x="109" y="164"/>
                  </a:cubicBezTo>
                  <a:cubicBezTo>
                    <a:pt x="139" y="164"/>
                    <a:pt x="164" y="140"/>
                    <a:pt x="164" y="110"/>
                  </a:cubicBezTo>
                  <a:cubicBezTo>
                    <a:pt x="164" y="79"/>
                    <a:pt x="139" y="55"/>
                    <a:pt x="109" y="55"/>
                  </a:cubicBezTo>
                  <a:close/>
                </a:path>
              </a:pathLst>
            </a:cu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lvl="0"/>
              <a:endParaRPr lang="en-IN" sz="1799" dirty="0">
                <a:latin typeface="EYInterstate Light" panose="02000506000000020004" pitchFamily="2" charset="0"/>
              </a:endParaRPr>
            </a:p>
          </p:txBody>
        </p:sp>
        <p:sp>
          <p:nvSpPr>
            <p:cNvPr id="25" name="Oval 13">
              <a:extLst>
                <a:ext uri="{FF2B5EF4-FFF2-40B4-BE49-F238E27FC236}">
                  <a16:creationId xmlns:a16="http://schemas.microsoft.com/office/drawing/2014/main" id="{E93CBF5C-E85F-4DFD-AA89-4B194B52C904}"/>
                </a:ext>
              </a:extLst>
            </p:cNvPr>
            <p:cNvSpPr>
              <a:spLocks noChangeArrowheads="1"/>
            </p:cNvSpPr>
            <p:nvPr/>
          </p:nvSpPr>
          <p:spPr bwMode="auto">
            <a:xfrm>
              <a:off x="11285538" y="484188"/>
              <a:ext cx="55563" cy="53975"/>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26" name="Freeform 14">
              <a:extLst>
                <a:ext uri="{FF2B5EF4-FFF2-40B4-BE49-F238E27FC236}">
                  <a16:creationId xmlns:a16="http://schemas.microsoft.com/office/drawing/2014/main" id="{96520C9A-FB0A-40FD-A00B-93B323149E21}"/>
                </a:ext>
              </a:extLst>
            </p:cNvPr>
            <p:cNvSpPr>
              <a:spLocks noEditPoints="1"/>
            </p:cNvSpPr>
            <p:nvPr/>
          </p:nvSpPr>
          <p:spPr bwMode="auto">
            <a:xfrm>
              <a:off x="11277600" y="474663"/>
              <a:ext cx="73025" cy="73025"/>
            </a:xfrm>
            <a:custGeom>
              <a:avLst/>
              <a:gdLst>
                <a:gd name="T0" fmla="*/ 109 w 218"/>
                <a:gd name="T1" fmla="*/ 219 h 219"/>
                <a:gd name="T2" fmla="*/ 0 w 218"/>
                <a:gd name="T3" fmla="*/ 110 h 219"/>
                <a:gd name="T4" fmla="*/ 109 w 218"/>
                <a:gd name="T5" fmla="*/ 0 h 219"/>
                <a:gd name="T6" fmla="*/ 218 w 218"/>
                <a:gd name="T7" fmla="*/ 110 h 219"/>
                <a:gd name="T8" fmla="*/ 109 w 218"/>
                <a:gd name="T9" fmla="*/ 219 h 219"/>
                <a:gd name="T10" fmla="*/ 109 w 218"/>
                <a:gd name="T11" fmla="*/ 55 h 219"/>
                <a:gd name="T12" fmla="*/ 55 w 218"/>
                <a:gd name="T13" fmla="*/ 110 h 219"/>
                <a:gd name="T14" fmla="*/ 109 w 218"/>
                <a:gd name="T15" fmla="*/ 164 h 219"/>
                <a:gd name="T16" fmla="*/ 164 w 218"/>
                <a:gd name="T17" fmla="*/ 110 h 219"/>
                <a:gd name="T18" fmla="*/ 109 w 218"/>
                <a:gd name="T19" fmla="*/ 5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9">
                  <a:moveTo>
                    <a:pt x="109" y="219"/>
                  </a:moveTo>
                  <a:cubicBezTo>
                    <a:pt x="49" y="219"/>
                    <a:pt x="0" y="170"/>
                    <a:pt x="0" y="110"/>
                  </a:cubicBezTo>
                  <a:cubicBezTo>
                    <a:pt x="0" y="49"/>
                    <a:pt x="49" y="0"/>
                    <a:pt x="109" y="0"/>
                  </a:cubicBezTo>
                  <a:cubicBezTo>
                    <a:pt x="169" y="0"/>
                    <a:pt x="218" y="49"/>
                    <a:pt x="218" y="110"/>
                  </a:cubicBezTo>
                  <a:cubicBezTo>
                    <a:pt x="218" y="170"/>
                    <a:pt x="169" y="219"/>
                    <a:pt x="109" y="219"/>
                  </a:cubicBezTo>
                  <a:close/>
                  <a:moveTo>
                    <a:pt x="109" y="55"/>
                  </a:moveTo>
                  <a:cubicBezTo>
                    <a:pt x="79" y="55"/>
                    <a:pt x="55" y="79"/>
                    <a:pt x="55" y="110"/>
                  </a:cubicBezTo>
                  <a:cubicBezTo>
                    <a:pt x="55" y="140"/>
                    <a:pt x="79" y="164"/>
                    <a:pt x="109" y="164"/>
                  </a:cubicBezTo>
                  <a:cubicBezTo>
                    <a:pt x="139" y="164"/>
                    <a:pt x="164" y="140"/>
                    <a:pt x="164" y="110"/>
                  </a:cubicBezTo>
                  <a:cubicBezTo>
                    <a:pt x="164" y="79"/>
                    <a:pt x="139" y="55"/>
                    <a:pt x="109" y="55"/>
                  </a:cubicBezTo>
                  <a:close/>
                </a:path>
              </a:pathLst>
            </a:cu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lvl="0"/>
              <a:endParaRPr lang="en-IN" sz="1799" dirty="0">
                <a:latin typeface="EYInterstate Light" panose="02000506000000020004" pitchFamily="2" charset="0"/>
              </a:endParaRPr>
            </a:p>
          </p:txBody>
        </p:sp>
        <p:sp>
          <p:nvSpPr>
            <p:cNvPr id="27" name="Oval 15">
              <a:extLst>
                <a:ext uri="{FF2B5EF4-FFF2-40B4-BE49-F238E27FC236}">
                  <a16:creationId xmlns:a16="http://schemas.microsoft.com/office/drawing/2014/main" id="{EFF4C99B-BA4D-4754-AD74-A5EC8DAC6F70}"/>
                </a:ext>
              </a:extLst>
            </p:cNvPr>
            <p:cNvSpPr>
              <a:spLocks noChangeArrowheads="1"/>
            </p:cNvSpPr>
            <p:nvPr/>
          </p:nvSpPr>
          <p:spPr bwMode="auto">
            <a:xfrm>
              <a:off x="11029950" y="593725"/>
              <a:ext cx="53975" cy="55563"/>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28" name="Freeform 16">
              <a:extLst>
                <a:ext uri="{FF2B5EF4-FFF2-40B4-BE49-F238E27FC236}">
                  <a16:creationId xmlns:a16="http://schemas.microsoft.com/office/drawing/2014/main" id="{26E796F0-36E4-4200-9320-0025543A2F95}"/>
                </a:ext>
              </a:extLst>
            </p:cNvPr>
            <p:cNvSpPr>
              <a:spLocks noEditPoints="1"/>
            </p:cNvSpPr>
            <p:nvPr/>
          </p:nvSpPr>
          <p:spPr bwMode="auto">
            <a:xfrm>
              <a:off x="11020425" y="584200"/>
              <a:ext cx="73025" cy="74613"/>
            </a:xfrm>
            <a:custGeom>
              <a:avLst/>
              <a:gdLst>
                <a:gd name="T0" fmla="*/ 109 w 218"/>
                <a:gd name="T1" fmla="*/ 218 h 218"/>
                <a:gd name="T2" fmla="*/ 0 w 218"/>
                <a:gd name="T3" fmla="*/ 109 h 218"/>
                <a:gd name="T4" fmla="*/ 109 w 218"/>
                <a:gd name="T5" fmla="*/ 0 h 218"/>
                <a:gd name="T6" fmla="*/ 218 w 218"/>
                <a:gd name="T7" fmla="*/ 109 h 218"/>
                <a:gd name="T8" fmla="*/ 109 w 218"/>
                <a:gd name="T9" fmla="*/ 218 h 218"/>
                <a:gd name="T10" fmla="*/ 109 w 218"/>
                <a:gd name="T11" fmla="*/ 54 h 218"/>
                <a:gd name="T12" fmla="*/ 54 w 218"/>
                <a:gd name="T13" fmla="*/ 109 h 218"/>
                <a:gd name="T14" fmla="*/ 109 w 218"/>
                <a:gd name="T15" fmla="*/ 164 h 218"/>
                <a:gd name="T16" fmla="*/ 164 w 218"/>
                <a:gd name="T17" fmla="*/ 109 h 218"/>
                <a:gd name="T18" fmla="*/ 109 w 218"/>
                <a:gd name="T19" fmla="*/ 5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8">
                  <a:moveTo>
                    <a:pt x="109" y="218"/>
                  </a:moveTo>
                  <a:cubicBezTo>
                    <a:pt x="49" y="218"/>
                    <a:pt x="0" y="169"/>
                    <a:pt x="0" y="109"/>
                  </a:cubicBezTo>
                  <a:cubicBezTo>
                    <a:pt x="0" y="49"/>
                    <a:pt x="49" y="0"/>
                    <a:pt x="109" y="0"/>
                  </a:cubicBezTo>
                  <a:cubicBezTo>
                    <a:pt x="169" y="0"/>
                    <a:pt x="218" y="49"/>
                    <a:pt x="218" y="109"/>
                  </a:cubicBezTo>
                  <a:cubicBezTo>
                    <a:pt x="218" y="169"/>
                    <a:pt x="169" y="218"/>
                    <a:pt x="109" y="218"/>
                  </a:cubicBezTo>
                  <a:close/>
                  <a:moveTo>
                    <a:pt x="109" y="54"/>
                  </a:moveTo>
                  <a:cubicBezTo>
                    <a:pt x="79" y="54"/>
                    <a:pt x="54" y="79"/>
                    <a:pt x="54" y="109"/>
                  </a:cubicBezTo>
                  <a:cubicBezTo>
                    <a:pt x="54" y="139"/>
                    <a:pt x="79" y="164"/>
                    <a:pt x="109" y="164"/>
                  </a:cubicBezTo>
                  <a:cubicBezTo>
                    <a:pt x="139" y="164"/>
                    <a:pt x="164" y="139"/>
                    <a:pt x="164" y="109"/>
                  </a:cubicBezTo>
                  <a:cubicBezTo>
                    <a:pt x="164" y="79"/>
                    <a:pt x="139" y="54"/>
                    <a:pt x="109" y="54"/>
                  </a:cubicBezTo>
                  <a:close/>
                </a:path>
              </a:pathLst>
            </a:cu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lvl="0"/>
              <a:endParaRPr lang="en-IN" sz="1799" dirty="0">
                <a:latin typeface="EYInterstate Light" panose="02000506000000020004" pitchFamily="2" charset="0"/>
              </a:endParaRPr>
            </a:p>
          </p:txBody>
        </p:sp>
        <p:sp>
          <p:nvSpPr>
            <p:cNvPr id="29" name="Freeform 17">
              <a:extLst>
                <a:ext uri="{FF2B5EF4-FFF2-40B4-BE49-F238E27FC236}">
                  <a16:creationId xmlns:a16="http://schemas.microsoft.com/office/drawing/2014/main" id="{D0B659B7-5B0F-45A8-ADC4-4B0CF0F70E01}"/>
                </a:ext>
              </a:extLst>
            </p:cNvPr>
            <p:cNvSpPr>
              <a:spLocks/>
            </p:cNvSpPr>
            <p:nvPr/>
          </p:nvSpPr>
          <p:spPr bwMode="auto">
            <a:xfrm>
              <a:off x="11304588" y="668338"/>
              <a:ext cx="211138" cy="82550"/>
            </a:xfrm>
            <a:custGeom>
              <a:avLst/>
              <a:gdLst>
                <a:gd name="T0" fmla="*/ 600 w 628"/>
                <a:gd name="T1" fmla="*/ 245 h 245"/>
                <a:gd name="T2" fmla="*/ 382 w 628"/>
                <a:gd name="T3" fmla="*/ 245 h 245"/>
                <a:gd name="T4" fmla="*/ 358 w 628"/>
                <a:gd name="T5" fmla="*/ 231 h 245"/>
                <a:gd name="T6" fmla="*/ 257 w 628"/>
                <a:gd name="T7" fmla="*/ 54 h 245"/>
                <a:gd name="T8" fmla="*/ 27 w 628"/>
                <a:gd name="T9" fmla="*/ 54 h 245"/>
                <a:gd name="T10" fmla="*/ 0 w 628"/>
                <a:gd name="T11" fmla="*/ 27 h 245"/>
                <a:gd name="T12" fmla="*/ 27 w 628"/>
                <a:gd name="T13" fmla="*/ 0 h 245"/>
                <a:gd name="T14" fmla="*/ 273 w 628"/>
                <a:gd name="T15" fmla="*/ 0 h 245"/>
                <a:gd name="T16" fmla="*/ 296 w 628"/>
                <a:gd name="T17" fmla="*/ 13 h 245"/>
                <a:gd name="T18" fmla="*/ 398 w 628"/>
                <a:gd name="T19" fmla="*/ 191 h 245"/>
                <a:gd name="T20" fmla="*/ 600 w 628"/>
                <a:gd name="T21" fmla="*/ 191 h 245"/>
                <a:gd name="T22" fmla="*/ 628 w 628"/>
                <a:gd name="T23" fmla="*/ 218 h 245"/>
                <a:gd name="T24" fmla="*/ 600 w 628"/>
                <a:gd name="T2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245">
                  <a:moveTo>
                    <a:pt x="600" y="245"/>
                  </a:moveTo>
                  <a:cubicBezTo>
                    <a:pt x="382" y="245"/>
                    <a:pt x="382" y="245"/>
                    <a:pt x="382" y="245"/>
                  </a:cubicBezTo>
                  <a:cubicBezTo>
                    <a:pt x="372" y="245"/>
                    <a:pt x="363" y="240"/>
                    <a:pt x="358" y="231"/>
                  </a:cubicBezTo>
                  <a:cubicBezTo>
                    <a:pt x="257" y="54"/>
                    <a:pt x="257" y="54"/>
                    <a:pt x="257" y="54"/>
                  </a:cubicBezTo>
                  <a:cubicBezTo>
                    <a:pt x="27" y="54"/>
                    <a:pt x="27" y="54"/>
                    <a:pt x="27" y="54"/>
                  </a:cubicBezTo>
                  <a:cubicBezTo>
                    <a:pt x="12" y="54"/>
                    <a:pt x="0" y="42"/>
                    <a:pt x="0" y="27"/>
                  </a:cubicBezTo>
                  <a:cubicBezTo>
                    <a:pt x="0" y="12"/>
                    <a:pt x="12" y="0"/>
                    <a:pt x="27" y="0"/>
                  </a:cubicBezTo>
                  <a:cubicBezTo>
                    <a:pt x="273" y="0"/>
                    <a:pt x="273" y="0"/>
                    <a:pt x="273" y="0"/>
                  </a:cubicBezTo>
                  <a:cubicBezTo>
                    <a:pt x="283" y="0"/>
                    <a:pt x="292" y="5"/>
                    <a:pt x="296" y="13"/>
                  </a:cubicBezTo>
                  <a:cubicBezTo>
                    <a:pt x="398" y="191"/>
                    <a:pt x="398" y="191"/>
                    <a:pt x="398" y="191"/>
                  </a:cubicBezTo>
                  <a:cubicBezTo>
                    <a:pt x="600" y="191"/>
                    <a:pt x="600" y="191"/>
                    <a:pt x="600" y="191"/>
                  </a:cubicBezTo>
                  <a:cubicBezTo>
                    <a:pt x="615" y="191"/>
                    <a:pt x="628" y="203"/>
                    <a:pt x="628" y="218"/>
                  </a:cubicBezTo>
                  <a:cubicBezTo>
                    <a:pt x="628" y="233"/>
                    <a:pt x="615" y="245"/>
                    <a:pt x="600" y="245"/>
                  </a:cubicBezTo>
                  <a:close/>
                </a:path>
              </a:pathLst>
            </a:custGeom>
            <a:solidFill>
              <a:schemeClr val="bg1"/>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30" name="Freeform 18">
              <a:extLst>
                <a:ext uri="{FF2B5EF4-FFF2-40B4-BE49-F238E27FC236}">
                  <a16:creationId xmlns:a16="http://schemas.microsoft.com/office/drawing/2014/main" id="{68465E55-9A09-48E8-969B-26EAE67111CE}"/>
                </a:ext>
              </a:extLst>
            </p:cNvPr>
            <p:cNvSpPr>
              <a:spLocks/>
            </p:cNvSpPr>
            <p:nvPr/>
          </p:nvSpPr>
          <p:spPr bwMode="auto">
            <a:xfrm>
              <a:off x="11056938" y="731838"/>
              <a:ext cx="339725" cy="19050"/>
            </a:xfrm>
            <a:custGeom>
              <a:avLst/>
              <a:gdLst>
                <a:gd name="T0" fmla="*/ 982 w 1010"/>
                <a:gd name="T1" fmla="*/ 54 h 54"/>
                <a:gd name="T2" fmla="*/ 27 w 1010"/>
                <a:gd name="T3" fmla="*/ 54 h 54"/>
                <a:gd name="T4" fmla="*/ 0 w 1010"/>
                <a:gd name="T5" fmla="*/ 27 h 54"/>
                <a:gd name="T6" fmla="*/ 27 w 1010"/>
                <a:gd name="T7" fmla="*/ 0 h 54"/>
                <a:gd name="T8" fmla="*/ 982 w 1010"/>
                <a:gd name="T9" fmla="*/ 0 h 54"/>
                <a:gd name="T10" fmla="*/ 1010 w 1010"/>
                <a:gd name="T11" fmla="*/ 27 h 54"/>
                <a:gd name="T12" fmla="*/ 982 w 1010"/>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010" h="54">
                  <a:moveTo>
                    <a:pt x="982" y="54"/>
                  </a:moveTo>
                  <a:cubicBezTo>
                    <a:pt x="27" y="54"/>
                    <a:pt x="27" y="54"/>
                    <a:pt x="27" y="54"/>
                  </a:cubicBezTo>
                  <a:cubicBezTo>
                    <a:pt x="12" y="54"/>
                    <a:pt x="0" y="42"/>
                    <a:pt x="0" y="27"/>
                  </a:cubicBezTo>
                  <a:cubicBezTo>
                    <a:pt x="0" y="12"/>
                    <a:pt x="12" y="0"/>
                    <a:pt x="27" y="0"/>
                  </a:cubicBezTo>
                  <a:cubicBezTo>
                    <a:pt x="982" y="0"/>
                    <a:pt x="982" y="0"/>
                    <a:pt x="982" y="0"/>
                  </a:cubicBezTo>
                  <a:cubicBezTo>
                    <a:pt x="998" y="0"/>
                    <a:pt x="1010" y="12"/>
                    <a:pt x="1010" y="27"/>
                  </a:cubicBezTo>
                  <a:cubicBezTo>
                    <a:pt x="1010" y="42"/>
                    <a:pt x="998" y="54"/>
                    <a:pt x="982" y="54"/>
                  </a:cubicBezTo>
                  <a:close/>
                </a:path>
              </a:pathLst>
            </a:custGeom>
            <a:solidFill>
              <a:schemeClr val="bg1"/>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31" name="Oval 19">
              <a:extLst>
                <a:ext uri="{FF2B5EF4-FFF2-40B4-BE49-F238E27FC236}">
                  <a16:creationId xmlns:a16="http://schemas.microsoft.com/office/drawing/2014/main" id="{C8DF87E0-2C87-4F3C-A1FA-188C1A8F00D8}"/>
                </a:ext>
              </a:extLst>
            </p:cNvPr>
            <p:cNvSpPr>
              <a:spLocks noChangeArrowheads="1"/>
            </p:cNvSpPr>
            <p:nvPr/>
          </p:nvSpPr>
          <p:spPr bwMode="auto">
            <a:xfrm>
              <a:off x="11295063" y="714375"/>
              <a:ext cx="55563" cy="53975"/>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32" name="Freeform 20">
              <a:extLst>
                <a:ext uri="{FF2B5EF4-FFF2-40B4-BE49-F238E27FC236}">
                  <a16:creationId xmlns:a16="http://schemas.microsoft.com/office/drawing/2014/main" id="{AE695F6D-D4F0-498A-8508-6512A82513F5}"/>
                </a:ext>
              </a:extLst>
            </p:cNvPr>
            <p:cNvSpPr>
              <a:spLocks noEditPoints="1"/>
            </p:cNvSpPr>
            <p:nvPr/>
          </p:nvSpPr>
          <p:spPr bwMode="auto">
            <a:xfrm>
              <a:off x="11285538" y="704850"/>
              <a:ext cx="74613" cy="73025"/>
            </a:xfrm>
            <a:custGeom>
              <a:avLst/>
              <a:gdLst>
                <a:gd name="T0" fmla="*/ 109 w 219"/>
                <a:gd name="T1" fmla="*/ 218 h 218"/>
                <a:gd name="T2" fmla="*/ 0 w 219"/>
                <a:gd name="T3" fmla="*/ 109 h 218"/>
                <a:gd name="T4" fmla="*/ 109 w 219"/>
                <a:gd name="T5" fmla="*/ 0 h 218"/>
                <a:gd name="T6" fmla="*/ 219 w 219"/>
                <a:gd name="T7" fmla="*/ 109 h 218"/>
                <a:gd name="T8" fmla="*/ 109 w 219"/>
                <a:gd name="T9" fmla="*/ 218 h 218"/>
                <a:gd name="T10" fmla="*/ 109 w 219"/>
                <a:gd name="T11" fmla="*/ 54 h 218"/>
                <a:gd name="T12" fmla="*/ 55 w 219"/>
                <a:gd name="T13" fmla="*/ 109 h 218"/>
                <a:gd name="T14" fmla="*/ 109 w 219"/>
                <a:gd name="T15" fmla="*/ 163 h 218"/>
                <a:gd name="T16" fmla="*/ 164 w 219"/>
                <a:gd name="T17" fmla="*/ 109 h 218"/>
                <a:gd name="T18" fmla="*/ 109 w 219"/>
                <a:gd name="T19" fmla="*/ 5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18">
                  <a:moveTo>
                    <a:pt x="109" y="218"/>
                  </a:moveTo>
                  <a:cubicBezTo>
                    <a:pt x="49" y="218"/>
                    <a:pt x="0" y="169"/>
                    <a:pt x="0" y="109"/>
                  </a:cubicBezTo>
                  <a:cubicBezTo>
                    <a:pt x="0" y="49"/>
                    <a:pt x="49" y="0"/>
                    <a:pt x="109" y="0"/>
                  </a:cubicBezTo>
                  <a:cubicBezTo>
                    <a:pt x="170" y="0"/>
                    <a:pt x="219" y="49"/>
                    <a:pt x="219" y="109"/>
                  </a:cubicBezTo>
                  <a:cubicBezTo>
                    <a:pt x="219" y="169"/>
                    <a:pt x="170" y="218"/>
                    <a:pt x="109" y="218"/>
                  </a:cubicBezTo>
                  <a:close/>
                  <a:moveTo>
                    <a:pt x="109" y="54"/>
                  </a:moveTo>
                  <a:cubicBezTo>
                    <a:pt x="79" y="54"/>
                    <a:pt x="55" y="79"/>
                    <a:pt x="55" y="109"/>
                  </a:cubicBezTo>
                  <a:cubicBezTo>
                    <a:pt x="55" y="139"/>
                    <a:pt x="79" y="163"/>
                    <a:pt x="109" y="163"/>
                  </a:cubicBezTo>
                  <a:cubicBezTo>
                    <a:pt x="140" y="163"/>
                    <a:pt x="164" y="139"/>
                    <a:pt x="164" y="109"/>
                  </a:cubicBezTo>
                  <a:cubicBezTo>
                    <a:pt x="164" y="79"/>
                    <a:pt x="140" y="54"/>
                    <a:pt x="109" y="54"/>
                  </a:cubicBezTo>
                  <a:close/>
                </a:path>
              </a:pathLst>
            </a:cu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lvl="0"/>
              <a:endParaRPr lang="en-IN" sz="1799" dirty="0">
                <a:latin typeface="EYInterstate Light" panose="02000506000000020004" pitchFamily="2" charset="0"/>
              </a:endParaRPr>
            </a:p>
          </p:txBody>
        </p:sp>
      </p:grpSp>
      <p:sp>
        <p:nvSpPr>
          <p:cNvPr id="33" name="Line 10">
            <a:extLst>
              <a:ext uri="{FF2B5EF4-FFF2-40B4-BE49-F238E27FC236}">
                <a16:creationId xmlns:a16="http://schemas.microsoft.com/office/drawing/2014/main" id="{E645A9D2-EC11-4457-A5B8-3E2F9421506E}"/>
              </a:ext>
            </a:extLst>
          </p:cNvPr>
          <p:cNvSpPr>
            <a:spLocks noChangeShapeType="1"/>
          </p:cNvSpPr>
          <p:nvPr userDrawn="1"/>
        </p:nvSpPr>
        <p:spPr bwMode="auto">
          <a:xfrm>
            <a:off x="609600" y="907908"/>
            <a:ext cx="4495599" cy="0"/>
          </a:xfrm>
          <a:prstGeom prst="line">
            <a:avLst/>
          </a:prstGeom>
          <a:noFill/>
          <a:ln w="762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
        <p:nvSpPr>
          <p:cNvPr id="34" name="Freeform 5">
            <a:extLst>
              <a:ext uri="{FF2B5EF4-FFF2-40B4-BE49-F238E27FC236}">
                <a16:creationId xmlns:a16="http://schemas.microsoft.com/office/drawing/2014/main" id="{6AD39E56-E4B2-4E60-B811-CA6637284EF7}"/>
              </a:ext>
            </a:extLst>
          </p:cNvPr>
          <p:cNvSpPr>
            <a:spLocks/>
          </p:cNvSpPr>
          <p:nvPr userDrawn="1"/>
        </p:nvSpPr>
        <p:spPr bwMode="auto">
          <a:xfrm>
            <a:off x="10842813" y="207658"/>
            <a:ext cx="866390" cy="700250"/>
          </a:xfrm>
          <a:custGeom>
            <a:avLst/>
            <a:gdLst>
              <a:gd name="T0" fmla="*/ 204 w 224"/>
              <a:gd name="T1" fmla="*/ 180 h 180"/>
              <a:gd name="T2" fmla="*/ 224 w 224"/>
              <a:gd name="T3" fmla="*/ 114 h 180"/>
              <a:gd name="T4" fmla="*/ 112 w 224"/>
              <a:gd name="T5" fmla="*/ 0 h 180"/>
              <a:gd name="T6" fmla="*/ 0 w 224"/>
              <a:gd name="T7" fmla="*/ 114 h 180"/>
              <a:gd name="T8" fmla="*/ 20 w 224"/>
              <a:gd name="T9" fmla="*/ 180 h 180"/>
              <a:gd name="T10" fmla="*/ 204 w 224"/>
              <a:gd name="T11" fmla="*/ 180 h 180"/>
            </a:gdLst>
            <a:ahLst/>
            <a:cxnLst>
              <a:cxn ang="0">
                <a:pos x="T0" y="T1"/>
              </a:cxn>
              <a:cxn ang="0">
                <a:pos x="T2" y="T3"/>
              </a:cxn>
              <a:cxn ang="0">
                <a:pos x="T4" y="T5"/>
              </a:cxn>
              <a:cxn ang="0">
                <a:pos x="T6" y="T7"/>
              </a:cxn>
              <a:cxn ang="0">
                <a:pos x="T8" y="T9"/>
              </a:cxn>
              <a:cxn ang="0">
                <a:pos x="T10" y="T11"/>
              </a:cxn>
            </a:cxnLst>
            <a:rect l="0" t="0" r="r" b="b"/>
            <a:pathLst>
              <a:path w="224" h="180">
                <a:moveTo>
                  <a:pt x="204" y="180"/>
                </a:moveTo>
                <a:cubicBezTo>
                  <a:pt x="216" y="161"/>
                  <a:pt x="224" y="139"/>
                  <a:pt x="224" y="114"/>
                </a:cubicBezTo>
                <a:cubicBezTo>
                  <a:pt x="224" y="51"/>
                  <a:pt x="174" y="0"/>
                  <a:pt x="112" y="0"/>
                </a:cubicBezTo>
                <a:cubicBezTo>
                  <a:pt x="50" y="0"/>
                  <a:pt x="0" y="51"/>
                  <a:pt x="0" y="114"/>
                </a:cubicBezTo>
                <a:cubicBezTo>
                  <a:pt x="0" y="139"/>
                  <a:pt x="8" y="161"/>
                  <a:pt x="20" y="180"/>
                </a:cubicBezTo>
                <a:lnTo>
                  <a:pt x="204" y="180"/>
                </a:lnTo>
                <a:close/>
              </a:path>
            </a:pathLst>
          </a:custGeom>
          <a:noFill/>
          <a:ln w="9525">
            <a:solidFill>
              <a:srgbClr val="C4C4CD"/>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pPr lvl="0"/>
            <a:endParaRPr lang="en-IN" sz="1799"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15160194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480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EYInterstate Light" panose="02000506000000020004" pitchFamily="2" charset="0"/>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EYInterstate Light" panose="02000506000000020004" pitchFamily="2" charset="0"/>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1211485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EYInterstate Light" panose="02000506000000020004" pitchFamily="2" charset="0"/>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EYInterstate Light" panose="02000506000000020004" pitchFamily="2" charset="0"/>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9777076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a:prstGeom prst="rect">
            <a:avLst/>
          </a:prstGeom>
        </p:spPr>
        <p:txBody>
          <a:bodyPr/>
          <a:lstStyle>
            <a:lvl1pPr>
              <a:defRPr>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18169942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a:prstGeom prst="rect">
            <a:avLst/>
          </a:prstGeom>
        </p:spPr>
        <p:txBody>
          <a:bodyPr/>
          <a:lstStyle>
            <a:lvl1pPr>
              <a:defRPr>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42544186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a:prstGeom prst="rect">
            <a:avLst/>
          </a:prstGeom>
        </p:spPr>
        <p:txBody>
          <a:bodyPr/>
          <a:lstStyle>
            <a:lvl1pPr>
              <a:defRPr>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9106380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601" y="294200"/>
            <a:ext cx="10972800" cy="590880"/>
          </a:xfrm>
          <a:prstGeom prst="rect">
            <a:avLst/>
          </a:prstGeom>
        </p:spPr>
        <p:txBody>
          <a:bodyPr/>
          <a:lstStyle>
            <a:lvl1pPr>
              <a:defRPr>
                <a:solidFill>
                  <a:schemeClr val="bg1"/>
                </a:solidFill>
                <a:latin typeface="EYInterstate Light" panose="02000506000000020004" pitchFamily="2" charset="0"/>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42473481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BA9BB-737D-52B6-9B52-69218AA9785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BA0993D5-E1A0-DF80-6FED-47DC97D8AA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354431-F8C1-2975-68F1-D2628C01F257}"/>
              </a:ext>
            </a:extLst>
          </p:cNvPr>
          <p:cNvSpPr>
            <a:spLocks noGrp="1"/>
          </p:cNvSpPr>
          <p:nvPr>
            <p:ph type="dt" sz="half" idx="10"/>
          </p:nvPr>
        </p:nvSpPr>
        <p:spPr/>
        <p:txBody>
          <a:bodyPr/>
          <a:lstStyle/>
          <a:p>
            <a:fld id="{87D83E36-9F37-404A-95A6-9BA245F490EB}" type="datetimeFigureOut">
              <a:rPr lang="en-IN" smtClean="0"/>
              <a:t>09-09-2023</a:t>
            </a:fld>
            <a:endParaRPr lang="en-IN"/>
          </a:p>
        </p:txBody>
      </p:sp>
      <p:sp>
        <p:nvSpPr>
          <p:cNvPr id="5" name="Footer Placeholder 4">
            <a:extLst>
              <a:ext uri="{FF2B5EF4-FFF2-40B4-BE49-F238E27FC236}">
                <a16:creationId xmlns:a16="http://schemas.microsoft.com/office/drawing/2014/main" id="{DF9EFC59-ACA2-5BBF-08D1-0F2DBBFB9F6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14F36CA-C125-F752-8DC0-9D998F0A0F5B}"/>
              </a:ext>
            </a:extLst>
          </p:cNvPr>
          <p:cNvSpPr>
            <a:spLocks noGrp="1"/>
          </p:cNvSpPr>
          <p:nvPr>
            <p:ph type="sldNum" sz="quarter" idx="12"/>
          </p:nvPr>
        </p:nvSpPr>
        <p:spPr/>
        <p:txBody>
          <a:bodyPr/>
          <a:lstStyle/>
          <a:p>
            <a:fld id="{C3B1290E-90F2-496A-A4DF-6BB0DB28A9AB}" type="slidenum">
              <a:rPr lang="en-IN" smtClean="0"/>
              <a:t>‹#›</a:t>
            </a:fld>
            <a:endParaRPr lang="en-IN"/>
          </a:p>
        </p:txBody>
      </p:sp>
    </p:spTree>
    <p:extLst>
      <p:ext uri="{BB962C8B-B14F-4D97-AF65-F5344CB8AC3E}">
        <p14:creationId xmlns:p14="http://schemas.microsoft.com/office/powerpoint/2010/main" val="36270743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1987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6868808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7062291"/>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791609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69215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19520104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2113380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02500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077343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58927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02343-4A10-80A3-457E-FAF3564D3F2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3760DD8-F4BF-A6F7-47DF-3B898484705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E3F66BAC-948F-3EB2-1885-CA1CCF6AEE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CD7AB9E3-5F9A-1C7F-A0BE-B3D30ED20F9F}"/>
              </a:ext>
            </a:extLst>
          </p:cNvPr>
          <p:cNvSpPr>
            <a:spLocks noGrp="1"/>
          </p:cNvSpPr>
          <p:nvPr>
            <p:ph type="dt" sz="half" idx="10"/>
          </p:nvPr>
        </p:nvSpPr>
        <p:spPr/>
        <p:txBody>
          <a:bodyPr/>
          <a:lstStyle/>
          <a:p>
            <a:fld id="{87D83E36-9F37-404A-95A6-9BA245F490EB}" type="datetimeFigureOut">
              <a:rPr lang="en-IN" smtClean="0"/>
              <a:t>09-09-2023</a:t>
            </a:fld>
            <a:endParaRPr lang="en-IN"/>
          </a:p>
        </p:txBody>
      </p:sp>
      <p:sp>
        <p:nvSpPr>
          <p:cNvPr id="6" name="Footer Placeholder 5">
            <a:extLst>
              <a:ext uri="{FF2B5EF4-FFF2-40B4-BE49-F238E27FC236}">
                <a16:creationId xmlns:a16="http://schemas.microsoft.com/office/drawing/2014/main" id="{DD722096-CE1B-EE9C-95EF-F2A0B9FF441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51C5D89A-AF7C-8220-3B83-81F5E777D85B}"/>
              </a:ext>
            </a:extLst>
          </p:cNvPr>
          <p:cNvSpPr>
            <a:spLocks noGrp="1"/>
          </p:cNvSpPr>
          <p:nvPr>
            <p:ph type="sldNum" sz="quarter" idx="12"/>
          </p:nvPr>
        </p:nvSpPr>
        <p:spPr/>
        <p:txBody>
          <a:bodyPr/>
          <a:lstStyle/>
          <a:p>
            <a:fld id="{C3B1290E-90F2-496A-A4DF-6BB0DB28A9AB}" type="slidenum">
              <a:rPr lang="en-IN" smtClean="0"/>
              <a:t>‹#›</a:t>
            </a:fld>
            <a:endParaRPr lang="en-IN"/>
          </a:p>
        </p:txBody>
      </p:sp>
    </p:spTree>
    <p:extLst>
      <p:ext uri="{BB962C8B-B14F-4D97-AF65-F5344CB8AC3E}">
        <p14:creationId xmlns:p14="http://schemas.microsoft.com/office/powerpoint/2010/main" val="5357972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EYInterstate Light" panose="02000506000000020004" pitchFamily="2" charset="0"/>
            </a:endParaRPr>
          </a:p>
        </p:txBody>
      </p:sp>
      <p:sp>
        <p:nvSpPr>
          <p:cNvPr id="11" name="Title 1"/>
          <p:cNvSpPr>
            <a:spLocks noGrp="1"/>
          </p:cNvSpPr>
          <p:nvPr>
            <p:ph type="ctrTitle"/>
          </p:nvPr>
        </p:nvSpPr>
        <p:spPr>
          <a:xfrm>
            <a:off x="775100" y="1954221"/>
            <a:ext cx="4326679" cy="979702"/>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Light" panose="0200050600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41453477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EYInterstate Light" panose="02000506000000020004" pitchFamily="2" charset="0"/>
            </a:endParaRPr>
          </a:p>
        </p:txBody>
      </p:sp>
      <p:sp>
        <p:nvSpPr>
          <p:cNvPr id="11" name="Title 1"/>
          <p:cNvSpPr>
            <a:spLocks noGrp="1"/>
          </p:cNvSpPr>
          <p:nvPr>
            <p:ph type="ctrTitle"/>
          </p:nvPr>
        </p:nvSpPr>
        <p:spPr>
          <a:xfrm>
            <a:off x="775100" y="1954221"/>
            <a:ext cx="4326679" cy="979702"/>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Light" panose="0200050600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dirty="0"/>
          </a:p>
        </p:txBody>
      </p:sp>
    </p:spTree>
    <p:extLst>
      <p:ext uri="{BB962C8B-B14F-4D97-AF65-F5344CB8AC3E}">
        <p14:creationId xmlns:p14="http://schemas.microsoft.com/office/powerpoint/2010/main" val="67945572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EYInterstate Light" panose="02000506000000020004" pitchFamily="2"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latin typeface="EYInterstate Light" panose="02000506000000020004" pitchFamily="2"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dirty="0">
                <a:latin typeface="EYInterstate Light" panose="02000506000000020004" pitchFamily="2" charset="0"/>
              </a:endParaRPr>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latin typeface="EYInterstate Light" panose="02000506000000020004" pitchFamily="2" charset="0"/>
              </a:endParaRPr>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latin typeface="EYInterstate Light" panose="02000506000000020004" pitchFamily="2" charset="0"/>
              </a:endParaRPr>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latin typeface="EYInterstate Light" panose="02000506000000020004" pitchFamily="2" charset="0"/>
              </a:endParaRPr>
            </a:p>
          </p:txBody>
        </p:sp>
      </p:grpSp>
    </p:spTree>
    <p:extLst>
      <p:ext uri="{BB962C8B-B14F-4D97-AF65-F5344CB8AC3E}">
        <p14:creationId xmlns:p14="http://schemas.microsoft.com/office/powerpoint/2010/main" val="277229818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a:prstGeom prst="rect">
            <a:avLst/>
          </a:prstGeom>
        </p:spPr>
        <p:txBody>
          <a:bodyPr/>
          <a:lstStyle>
            <a:lvl1pPr>
              <a:defRPr>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12" name="Line 10">
            <a:extLst>
              <a:ext uri="{FF2B5EF4-FFF2-40B4-BE49-F238E27FC236}">
                <a16:creationId xmlns:a16="http://schemas.microsoft.com/office/drawing/2014/main" id="{E9541F66-BB92-4F4E-B9CE-814B26A19CB6}"/>
              </a:ext>
            </a:extLst>
          </p:cNvPr>
          <p:cNvSpPr>
            <a:spLocks noChangeShapeType="1"/>
          </p:cNvSpPr>
          <p:nvPr userDrawn="1"/>
        </p:nvSpPr>
        <p:spPr bwMode="auto">
          <a:xfrm>
            <a:off x="609601" y="907908"/>
            <a:ext cx="10720320" cy="0"/>
          </a:xfrm>
          <a:prstGeom prst="line">
            <a:avLst/>
          </a:prstGeom>
          <a:noFill/>
          <a:ln w="9525">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
        <p:nvSpPr>
          <p:cNvPr id="33" name="Line 10">
            <a:extLst>
              <a:ext uri="{FF2B5EF4-FFF2-40B4-BE49-F238E27FC236}">
                <a16:creationId xmlns:a16="http://schemas.microsoft.com/office/drawing/2014/main" id="{8A455087-818B-4715-A681-05670C1C0A22}"/>
              </a:ext>
            </a:extLst>
          </p:cNvPr>
          <p:cNvSpPr>
            <a:spLocks noChangeShapeType="1"/>
          </p:cNvSpPr>
          <p:nvPr userDrawn="1"/>
        </p:nvSpPr>
        <p:spPr bwMode="auto">
          <a:xfrm>
            <a:off x="609600" y="907908"/>
            <a:ext cx="4495599" cy="0"/>
          </a:xfrm>
          <a:prstGeom prst="line">
            <a:avLst/>
          </a:prstGeom>
          <a:noFill/>
          <a:ln w="762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endParaRPr>
          </a:p>
        </p:txBody>
      </p:sp>
      <p:sp>
        <p:nvSpPr>
          <p:cNvPr id="34" name="Freeform 5">
            <a:extLst>
              <a:ext uri="{FF2B5EF4-FFF2-40B4-BE49-F238E27FC236}">
                <a16:creationId xmlns:a16="http://schemas.microsoft.com/office/drawing/2014/main" id="{C6B4BBFF-02A3-49C0-A7E6-87847393D362}"/>
              </a:ext>
            </a:extLst>
          </p:cNvPr>
          <p:cNvSpPr>
            <a:spLocks/>
          </p:cNvSpPr>
          <p:nvPr userDrawn="1"/>
        </p:nvSpPr>
        <p:spPr bwMode="auto">
          <a:xfrm>
            <a:off x="10842813" y="207658"/>
            <a:ext cx="866390" cy="700250"/>
          </a:xfrm>
          <a:custGeom>
            <a:avLst/>
            <a:gdLst>
              <a:gd name="T0" fmla="*/ 204 w 224"/>
              <a:gd name="T1" fmla="*/ 180 h 180"/>
              <a:gd name="T2" fmla="*/ 224 w 224"/>
              <a:gd name="T3" fmla="*/ 114 h 180"/>
              <a:gd name="T4" fmla="*/ 112 w 224"/>
              <a:gd name="T5" fmla="*/ 0 h 180"/>
              <a:gd name="T6" fmla="*/ 0 w 224"/>
              <a:gd name="T7" fmla="*/ 114 h 180"/>
              <a:gd name="T8" fmla="*/ 20 w 224"/>
              <a:gd name="T9" fmla="*/ 180 h 180"/>
              <a:gd name="T10" fmla="*/ 204 w 224"/>
              <a:gd name="T11" fmla="*/ 180 h 180"/>
            </a:gdLst>
            <a:ahLst/>
            <a:cxnLst>
              <a:cxn ang="0">
                <a:pos x="T0" y="T1"/>
              </a:cxn>
              <a:cxn ang="0">
                <a:pos x="T2" y="T3"/>
              </a:cxn>
              <a:cxn ang="0">
                <a:pos x="T4" y="T5"/>
              </a:cxn>
              <a:cxn ang="0">
                <a:pos x="T6" y="T7"/>
              </a:cxn>
              <a:cxn ang="0">
                <a:pos x="T8" y="T9"/>
              </a:cxn>
              <a:cxn ang="0">
                <a:pos x="T10" y="T11"/>
              </a:cxn>
            </a:cxnLst>
            <a:rect l="0" t="0" r="r" b="b"/>
            <a:pathLst>
              <a:path w="224" h="180">
                <a:moveTo>
                  <a:pt x="204" y="180"/>
                </a:moveTo>
                <a:cubicBezTo>
                  <a:pt x="216" y="161"/>
                  <a:pt x="224" y="139"/>
                  <a:pt x="224" y="114"/>
                </a:cubicBezTo>
                <a:cubicBezTo>
                  <a:pt x="224" y="51"/>
                  <a:pt x="174" y="0"/>
                  <a:pt x="112" y="0"/>
                </a:cubicBezTo>
                <a:cubicBezTo>
                  <a:pt x="50" y="0"/>
                  <a:pt x="0" y="51"/>
                  <a:pt x="0" y="114"/>
                </a:cubicBezTo>
                <a:cubicBezTo>
                  <a:pt x="0" y="139"/>
                  <a:pt x="8" y="161"/>
                  <a:pt x="20" y="180"/>
                </a:cubicBezTo>
                <a:lnTo>
                  <a:pt x="204" y="180"/>
                </a:lnTo>
                <a:close/>
              </a:path>
            </a:pathLst>
          </a:custGeom>
          <a:noFill/>
          <a:ln w="9525">
            <a:solidFill>
              <a:srgbClr val="C4C4CD"/>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pPr lvl="0"/>
            <a:endParaRPr lang="en-IN" sz="1799"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38460492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Box 3">
            <a:extLst>
              <a:ext uri="{FF2B5EF4-FFF2-40B4-BE49-F238E27FC236}">
                <a16:creationId xmlns:a16="http://schemas.microsoft.com/office/drawing/2014/main" id="{F27FD101-BF6F-4B0E-BB31-9AA9BA6CF8CD}"/>
              </a:ext>
            </a:extLst>
          </p:cNvPr>
          <p:cNvSpPr txBox="1"/>
          <p:nvPr userDrawn="1"/>
        </p:nvSpPr>
        <p:spPr>
          <a:xfrm>
            <a:off x="7956216" y="6527556"/>
            <a:ext cx="2366048" cy="154658"/>
          </a:xfrm>
          <a:prstGeom prst="rect">
            <a:avLst/>
          </a:prstGeom>
          <a:noFill/>
        </p:spPr>
        <p:txBody>
          <a:bodyPr wrap="square" lIns="0" tIns="36557" rIns="0" bIns="0" rtlCol="0">
            <a:spAutoFit/>
          </a:bodyPr>
          <a:lstStyle/>
          <a:p>
            <a:pPr marL="0" indent="0" algn="ctr">
              <a:lnSpc>
                <a:spcPct val="85000"/>
              </a:lnSpc>
              <a:spcAft>
                <a:spcPts val="600"/>
              </a:spcAft>
              <a:buClr>
                <a:schemeClr val="accent2"/>
              </a:buClr>
              <a:buSzPct val="70000"/>
              <a:buFont typeface="Arial" pitchFamily="34" charset="0"/>
              <a:buNone/>
            </a:pPr>
            <a:r>
              <a:rPr lang="en-IN" sz="900" b="1" dirty="0">
                <a:solidFill>
                  <a:schemeClr val="bg1"/>
                </a:solidFill>
                <a:latin typeface="EYInterstate Light" panose="02000506000000020004" pitchFamily="2" charset="0"/>
              </a:rPr>
              <a:t>Confidential</a:t>
            </a:r>
          </a:p>
        </p:txBody>
      </p:sp>
    </p:spTree>
    <p:extLst>
      <p:ext uri="{BB962C8B-B14F-4D97-AF65-F5344CB8AC3E}">
        <p14:creationId xmlns:p14="http://schemas.microsoft.com/office/powerpoint/2010/main" val="36050793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Tree>
    <p:extLst>
      <p:ext uri="{BB962C8B-B14F-4D97-AF65-F5344CB8AC3E}">
        <p14:creationId xmlns:p14="http://schemas.microsoft.com/office/powerpoint/2010/main" val="23165660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EYInterstate Light" panose="02000506000000020004" pitchFamily="2" charset="0"/>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EYInterstate Light" panose="02000506000000020004" pitchFamily="2" charset="0"/>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12814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EYInterstate Light" panose="02000506000000020004" pitchFamily="2" charset="0"/>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EYInterstate Light" panose="02000506000000020004" pitchFamily="2" charset="0"/>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8474349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19835689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538797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A4A36-2EF3-38BC-9374-AF8170E793F7}"/>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AC53E87-D42A-5610-0B02-2590DC059A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20D0905-0265-61FE-CF87-871F47E0723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6F5D6CD2-26F7-F304-A899-0C3338D13BE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82F3267-FA4E-85E5-513E-8EA2DE7E9B9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B687FCC4-4BD4-7E84-6E43-91AC20C43845}"/>
              </a:ext>
            </a:extLst>
          </p:cNvPr>
          <p:cNvSpPr>
            <a:spLocks noGrp="1"/>
          </p:cNvSpPr>
          <p:nvPr>
            <p:ph type="dt" sz="half" idx="10"/>
          </p:nvPr>
        </p:nvSpPr>
        <p:spPr/>
        <p:txBody>
          <a:bodyPr/>
          <a:lstStyle/>
          <a:p>
            <a:fld id="{87D83E36-9F37-404A-95A6-9BA245F490EB}" type="datetimeFigureOut">
              <a:rPr lang="en-IN" smtClean="0"/>
              <a:t>09-09-2023</a:t>
            </a:fld>
            <a:endParaRPr lang="en-IN"/>
          </a:p>
        </p:txBody>
      </p:sp>
      <p:sp>
        <p:nvSpPr>
          <p:cNvPr id="8" name="Footer Placeholder 7">
            <a:extLst>
              <a:ext uri="{FF2B5EF4-FFF2-40B4-BE49-F238E27FC236}">
                <a16:creationId xmlns:a16="http://schemas.microsoft.com/office/drawing/2014/main" id="{C1F09D3B-D972-9288-160D-74E13230F1FD}"/>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5064F6C5-C47C-1E7A-2207-FCBE6D598587}"/>
              </a:ext>
            </a:extLst>
          </p:cNvPr>
          <p:cNvSpPr>
            <a:spLocks noGrp="1"/>
          </p:cNvSpPr>
          <p:nvPr>
            <p:ph type="sldNum" sz="quarter" idx="12"/>
          </p:nvPr>
        </p:nvSpPr>
        <p:spPr/>
        <p:txBody>
          <a:bodyPr/>
          <a:lstStyle/>
          <a:p>
            <a:fld id="{C3B1290E-90F2-496A-A4DF-6BB0DB28A9AB}" type="slidenum">
              <a:rPr lang="en-IN" smtClean="0"/>
              <a:t>‹#›</a:t>
            </a:fld>
            <a:endParaRPr lang="en-IN"/>
          </a:p>
        </p:txBody>
      </p:sp>
    </p:spTree>
    <p:extLst>
      <p:ext uri="{BB962C8B-B14F-4D97-AF65-F5344CB8AC3E}">
        <p14:creationId xmlns:p14="http://schemas.microsoft.com/office/powerpoint/2010/main" val="14165794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Picture 338">
            <a:extLst>
              <a:ext uri="{FF2B5EF4-FFF2-40B4-BE49-F238E27FC236}">
                <a16:creationId xmlns:a16="http://schemas.microsoft.com/office/drawing/2014/main" id="{39809D30-1D6A-47E8-B5E3-C14E4B89550E}"/>
              </a:ext>
            </a:extLst>
          </p:cNvPr>
          <p:cNvPicPr>
            <a:picLocks noChangeArrowheads="1"/>
          </p:cNvPicPr>
          <p:nvPr userDrawn="1"/>
        </p:nvPicPr>
        <p:blipFill>
          <a:blip r:embed="rId3">
            <a:extLst>
              <a:ext uri="{28A0092B-C50C-407E-A947-70E740481C1C}">
                <a14:useLocalDpi xmlns:a14="http://schemas.microsoft.com/office/drawing/2010/main" val="0"/>
              </a:ext>
            </a:extLst>
          </a:blip>
          <a:srcRect/>
          <a:stretch>
            <a:fillRect/>
          </a:stretch>
        </p:blipFill>
        <p:spPr>
          <a:xfrm>
            <a:off x="3995959" y="0"/>
            <a:ext cx="8196041" cy="6858000"/>
          </a:xfrm>
          <a:prstGeom prst="rect">
            <a:avLst/>
          </a:prstGeom>
          <a:noFill/>
        </p:spPr>
      </p:pic>
      <p:pic>
        <p:nvPicPr>
          <p:cNvPr id="17" name="Picture 339">
            <a:extLst>
              <a:ext uri="{FF2B5EF4-FFF2-40B4-BE49-F238E27FC236}">
                <a16:creationId xmlns:a16="http://schemas.microsoft.com/office/drawing/2014/main" id="{3DE70AE0-AF07-40E9-894C-33E2B4688656}"/>
              </a:ext>
            </a:extLst>
          </p:cNvPr>
          <p:cNvPicPr>
            <a:picLocks noChangeArrowheads="1"/>
          </p:cNvPicPr>
          <p:nvPr userDrawn="1"/>
        </p:nvPicPr>
        <p:blipFill>
          <a:blip r:embed="rId4">
            <a:extLst>
              <a:ext uri="{28A0092B-C50C-407E-A947-70E740481C1C}">
                <a14:useLocalDpi xmlns:a14="http://schemas.microsoft.com/office/drawing/2010/main" val="0"/>
              </a:ext>
            </a:extLst>
          </a:blip>
          <a:srcRect/>
          <a:stretch>
            <a:fillRect/>
          </a:stretch>
        </p:blipFill>
        <p:spPr>
          <a:xfrm>
            <a:off x="-30480" y="-10160"/>
            <a:ext cx="12222480" cy="6939280"/>
          </a:xfrm>
          <a:prstGeom prst="rect">
            <a:avLst/>
          </a:prstGeom>
          <a:noFill/>
        </p:spPr>
      </p:pic>
      <p:sp>
        <p:nvSpPr>
          <p:cNvPr id="18" name="Freeform: Shape 17">
            <a:extLst>
              <a:ext uri="{FF2B5EF4-FFF2-40B4-BE49-F238E27FC236}">
                <a16:creationId xmlns:a16="http://schemas.microsoft.com/office/drawing/2014/main" id="{17B788C7-CCF2-4C48-BA04-FD7A52560B23}"/>
              </a:ext>
            </a:extLst>
          </p:cNvPr>
          <p:cNvSpPr/>
          <p:nvPr userDrawn="1"/>
        </p:nvSpPr>
        <p:spPr>
          <a:xfrm>
            <a:off x="4" y="1354013"/>
            <a:ext cx="5256629" cy="5496850"/>
          </a:xfrm>
          <a:custGeom>
            <a:avLst/>
            <a:gdLst>
              <a:gd name="connsiteX0" fmla="*/ 0 w 5259367"/>
              <a:gd name="connsiteY0" fmla="*/ 5338349 h 5516096"/>
              <a:gd name="connsiteX1" fmla="*/ 120792 w 5259367"/>
              <a:gd name="connsiteY1" fmla="*/ 5448132 h 5516096"/>
              <a:gd name="connsiteX2" fmla="*/ 210551 w 5259367"/>
              <a:gd name="connsiteY2" fmla="*/ 5516096 h 5516096"/>
              <a:gd name="connsiteX3" fmla="*/ 0 w 5259367"/>
              <a:gd name="connsiteY3" fmla="*/ 5516096 h 5516096"/>
              <a:gd name="connsiteX4" fmla="*/ 1573383 w 5259367"/>
              <a:gd name="connsiteY4" fmla="*/ 0 h 5516096"/>
              <a:gd name="connsiteX5" fmla="*/ 5259367 w 5259367"/>
              <a:gd name="connsiteY5" fmla="*/ 3685984 h 5516096"/>
              <a:gd name="connsiteX6" fmla="*/ 4814489 w 5259367"/>
              <a:gd name="connsiteY6" fmla="*/ 5442943 h 5516096"/>
              <a:gd name="connsiteX7" fmla="*/ 4770047 w 5259367"/>
              <a:gd name="connsiteY7" fmla="*/ 5516096 h 5516096"/>
              <a:gd name="connsiteX8" fmla="*/ 2935085 w 5259367"/>
              <a:gd name="connsiteY8" fmla="*/ 5516096 h 5516096"/>
              <a:gd name="connsiteX9" fmla="*/ 3025973 w 5259367"/>
              <a:gd name="connsiteY9" fmla="*/ 5448132 h 5516096"/>
              <a:gd name="connsiteX10" fmla="*/ 3856996 w 5259367"/>
              <a:gd name="connsiteY10" fmla="*/ 3685984 h 5516096"/>
              <a:gd name="connsiteX11" fmla="*/ 1573382 w 5259367"/>
              <a:gd name="connsiteY11" fmla="*/ 1402370 h 5516096"/>
              <a:gd name="connsiteX12" fmla="*/ 120792 w 5259367"/>
              <a:gd name="connsiteY12" fmla="*/ 1923837 h 5516096"/>
              <a:gd name="connsiteX13" fmla="*/ 0 w 5259367"/>
              <a:gd name="connsiteY13" fmla="*/ 2033619 h 5516096"/>
              <a:gd name="connsiteX14" fmla="*/ 0 w 5259367"/>
              <a:gd name="connsiteY14" fmla="*/ 356445 h 5516096"/>
              <a:gd name="connsiteX15" fmla="*/ 138632 w 5259367"/>
              <a:gd name="connsiteY15" fmla="*/ 289663 h 5516096"/>
              <a:gd name="connsiteX16" fmla="*/ 1573383 w 5259367"/>
              <a:gd name="connsiteY16" fmla="*/ 0 h 551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59367" h="5516096">
                <a:moveTo>
                  <a:pt x="0" y="5338349"/>
                </a:moveTo>
                <a:lnTo>
                  <a:pt x="120792" y="5448132"/>
                </a:lnTo>
                <a:lnTo>
                  <a:pt x="210551" y="5516096"/>
                </a:lnTo>
                <a:lnTo>
                  <a:pt x="0" y="5516096"/>
                </a:lnTo>
                <a:close/>
                <a:moveTo>
                  <a:pt x="1573383" y="0"/>
                </a:moveTo>
                <a:cubicBezTo>
                  <a:pt x="3609096" y="0"/>
                  <a:pt x="5259367" y="1650271"/>
                  <a:pt x="5259367" y="3685984"/>
                </a:cubicBezTo>
                <a:cubicBezTo>
                  <a:pt x="5259367" y="4322145"/>
                  <a:pt x="5098208" y="4920664"/>
                  <a:pt x="4814489" y="5442943"/>
                </a:cubicBezTo>
                <a:lnTo>
                  <a:pt x="4770047" y="5516096"/>
                </a:lnTo>
                <a:lnTo>
                  <a:pt x="2935085" y="5516096"/>
                </a:lnTo>
                <a:lnTo>
                  <a:pt x="3025973" y="5448132"/>
                </a:lnTo>
                <a:cubicBezTo>
                  <a:pt x="3533500" y="5029283"/>
                  <a:pt x="3856996" y="4395412"/>
                  <a:pt x="3856996" y="3685984"/>
                </a:cubicBezTo>
                <a:cubicBezTo>
                  <a:pt x="3856996" y="2424779"/>
                  <a:pt x="2834587" y="1402370"/>
                  <a:pt x="1573382" y="1402370"/>
                </a:cubicBezTo>
                <a:cubicBezTo>
                  <a:pt x="1021605" y="1402370"/>
                  <a:pt x="515535" y="1598066"/>
                  <a:pt x="120792" y="1923837"/>
                </a:cubicBezTo>
                <a:lnTo>
                  <a:pt x="0" y="2033619"/>
                </a:lnTo>
                <a:lnTo>
                  <a:pt x="0" y="356445"/>
                </a:lnTo>
                <a:lnTo>
                  <a:pt x="138632" y="289663"/>
                </a:lnTo>
                <a:cubicBezTo>
                  <a:pt x="579617" y="103142"/>
                  <a:pt x="1064455" y="0"/>
                  <a:pt x="1573383" y="0"/>
                </a:cubicBezTo>
                <a:close/>
              </a:path>
            </a:pathLst>
          </a:custGeom>
          <a:solidFill>
            <a:schemeClr val="tx2">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defTabSz="913943"/>
            <a:endParaRPr lang="en-US" sz="1199" dirty="0">
              <a:solidFill>
                <a:srgbClr val="FFFFFF"/>
              </a:solidFill>
              <a:latin typeface="EYInterstate" panose="02000503020000020004" pitchFamily="2" charset="0"/>
            </a:endParaRPr>
          </a:p>
        </p:txBody>
      </p:sp>
      <p:grpSp>
        <p:nvGrpSpPr>
          <p:cNvPr id="19" name="Group 18">
            <a:extLst>
              <a:ext uri="{FF2B5EF4-FFF2-40B4-BE49-F238E27FC236}">
                <a16:creationId xmlns:a16="http://schemas.microsoft.com/office/drawing/2014/main" id="{EF0B9B67-EFC6-4DA4-9887-08EEF47A6E57}"/>
              </a:ext>
            </a:extLst>
          </p:cNvPr>
          <p:cNvGrpSpPr/>
          <p:nvPr userDrawn="1"/>
        </p:nvGrpSpPr>
        <p:grpSpPr>
          <a:xfrm>
            <a:off x="1845368" y="700027"/>
            <a:ext cx="3790498" cy="3790498"/>
            <a:chOff x="11433228" y="97168"/>
            <a:chExt cx="674992" cy="674992"/>
          </a:xfrm>
        </p:grpSpPr>
        <p:sp>
          <p:nvSpPr>
            <p:cNvPr id="20" name="Circle: Hollow 19">
              <a:extLst>
                <a:ext uri="{FF2B5EF4-FFF2-40B4-BE49-F238E27FC236}">
                  <a16:creationId xmlns:a16="http://schemas.microsoft.com/office/drawing/2014/main" id="{1F11F52B-EE23-4504-AE11-35A707286C45}"/>
                </a:ext>
              </a:extLst>
            </p:cNvPr>
            <p:cNvSpPr/>
            <p:nvPr userDrawn="1"/>
          </p:nvSpPr>
          <p:spPr>
            <a:xfrm>
              <a:off x="11433228" y="97168"/>
              <a:ext cx="674992" cy="674992"/>
            </a:xfrm>
            <a:prstGeom prst="donut">
              <a:avLst>
                <a:gd name="adj" fmla="val 11237"/>
              </a:avLst>
            </a:prstGeom>
            <a:solidFill>
              <a:schemeClr val="tx1">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US" sz="1199" dirty="0">
                <a:solidFill>
                  <a:srgbClr val="FFFFFF"/>
                </a:solidFill>
                <a:latin typeface="EYInterstate" panose="02000503020000020004" pitchFamily="2" charset="0"/>
              </a:endParaRPr>
            </a:p>
          </p:txBody>
        </p:sp>
        <p:sp>
          <p:nvSpPr>
            <p:cNvPr id="21" name="Oval 20">
              <a:extLst>
                <a:ext uri="{FF2B5EF4-FFF2-40B4-BE49-F238E27FC236}">
                  <a16:creationId xmlns:a16="http://schemas.microsoft.com/office/drawing/2014/main" id="{84BA8636-83FC-464E-B290-5E7DCA522336}"/>
                </a:ext>
              </a:extLst>
            </p:cNvPr>
            <p:cNvSpPr/>
            <p:nvPr userDrawn="1"/>
          </p:nvSpPr>
          <p:spPr>
            <a:xfrm>
              <a:off x="11551649" y="215589"/>
              <a:ext cx="438150" cy="438150"/>
            </a:xfrm>
            <a:prstGeom prst="ellipse">
              <a:avLst/>
            </a:prstGeom>
            <a:solidFill>
              <a:schemeClr val="tx1">
                <a:alpha val="4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US" sz="1199" dirty="0">
                <a:solidFill>
                  <a:srgbClr val="FFFFFF"/>
                </a:solidFill>
                <a:latin typeface="EYInterstate" panose="02000503020000020004" pitchFamily="2" charset="0"/>
              </a:endParaRPr>
            </a:p>
          </p:txBody>
        </p:sp>
      </p:grpSp>
      <p:sp>
        <p:nvSpPr>
          <p:cNvPr id="22" name="TextBox 21">
            <a:extLst>
              <a:ext uri="{FF2B5EF4-FFF2-40B4-BE49-F238E27FC236}">
                <a16:creationId xmlns:a16="http://schemas.microsoft.com/office/drawing/2014/main" id="{596576AE-A67B-409D-9681-B7B23343D970}"/>
              </a:ext>
            </a:extLst>
          </p:cNvPr>
          <p:cNvSpPr txBox="1"/>
          <p:nvPr userDrawn="1"/>
        </p:nvSpPr>
        <p:spPr>
          <a:xfrm>
            <a:off x="593776" y="4806133"/>
            <a:ext cx="3146841" cy="676756"/>
          </a:xfrm>
          <a:prstGeom prst="rect">
            <a:avLst/>
          </a:prstGeom>
          <a:noFill/>
        </p:spPr>
        <p:txBody>
          <a:bodyPr wrap="square" lIns="0" tIns="0" rIns="0" bIns="0" rtlCol="0">
            <a:spAutoFit/>
          </a:bodyPr>
          <a:lstStyle/>
          <a:p>
            <a:pPr defTabSz="913943">
              <a:spcAft>
                <a:spcPts val="1199"/>
              </a:spcAft>
              <a:defRPr/>
            </a:pPr>
            <a:r>
              <a:rPr lang="en-US" sz="4398" b="1" dirty="0">
                <a:solidFill>
                  <a:srgbClr val="FFFFFF"/>
                </a:solidFill>
                <a:latin typeface="EYInterstate" panose="02000503020000020004" pitchFamily="2" charset="0"/>
              </a:rPr>
              <a:t>Section</a:t>
            </a:r>
            <a:endParaRPr lang="en-CA" sz="4398" b="1" dirty="0">
              <a:solidFill>
                <a:srgbClr val="FFFFFF"/>
              </a:solidFill>
              <a:latin typeface="EYInterstate" panose="02000503020000020004" pitchFamily="2" charset="0"/>
            </a:endParaRPr>
          </a:p>
        </p:txBody>
      </p:sp>
      <p:sp>
        <p:nvSpPr>
          <p:cNvPr id="23" name="Rectangle 22">
            <a:extLst>
              <a:ext uri="{FF2B5EF4-FFF2-40B4-BE49-F238E27FC236}">
                <a16:creationId xmlns:a16="http://schemas.microsoft.com/office/drawing/2014/main" id="{159EF840-0E9C-46E1-A98C-D5C0FB762FEE}"/>
              </a:ext>
            </a:extLst>
          </p:cNvPr>
          <p:cNvSpPr/>
          <p:nvPr userDrawn="1"/>
        </p:nvSpPr>
        <p:spPr>
          <a:xfrm>
            <a:off x="6300874" y="2230465"/>
            <a:ext cx="5891127" cy="2397070"/>
          </a:xfrm>
          <a:prstGeom prst="rect">
            <a:avLst/>
          </a:prstGeom>
          <a:solidFill>
            <a:schemeClr val="bg2">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US" sz="1199" dirty="0">
              <a:solidFill>
                <a:srgbClr val="FFFFFF"/>
              </a:solidFill>
              <a:latin typeface="EYInterstate" panose="02000503020000020004" pitchFamily="2" charset="0"/>
            </a:endParaRPr>
          </a:p>
        </p:txBody>
      </p:sp>
      <p:cxnSp>
        <p:nvCxnSpPr>
          <p:cNvPr id="24" name="Straight Connector 23">
            <a:extLst>
              <a:ext uri="{FF2B5EF4-FFF2-40B4-BE49-F238E27FC236}">
                <a16:creationId xmlns:a16="http://schemas.microsoft.com/office/drawing/2014/main" id="{DEF3FD0A-E4D0-4F78-A003-4345B8248BDA}"/>
              </a:ext>
            </a:extLst>
          </p:cNvPr>
          <p:cNvCxnSpPr>
            <a:cxnSpLocks/>
          </p:cNvCxnSpPr>
          <p:nvPr userDrawn="1"/>
        </p:nvCxnSpPr>
        <p:spPr>
          <a:xfrm>
            <a:off x="6294245" y="2230465"/>
            <a:ext cx="0" cy="2397070"/>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5ECB896-0253-4664-8CCF-00154F5288B1}"/>
              </a:ext>
            </a:extLst>
          </p:cNvPr>
          <p:cNvCxnSpPr>
            <a:cxnSpLocks/>
          </p:cNvCxnSpPr>
          <p:nvPr userDrawn="1"/>
        </p:nvCxnSpPr>
        <p:spPr>
          <a:xfrm>
            <a:off x="6294245" y="2230465"/>
            <a:ext cx="0" cy="2397070"/>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16184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338">
            <a:extLst>
              <a:ext uri="{FF2B5EF4-FFF2-40B4-BE49-F238E27FC236}">
                <a16:creationId xmlns:a16="http://schemas.microsoft.com/office/drawing/2014/main" id="{93F5843D-D5B8-419F-BC75-EA5168CCD708}"/>
              </a:ext>
            </a:extLst>
          </p:cNvPr>
          <p:cNvPicPr>
            <a:picLocks noChangeArrowheads="1"/>
          </p:cNvPicPr>
          <p:nvPr userDrawn="1"/>
        </p:nvPicPr>
        <p:blipFill>
          <a:blip r:embed="rId3">
            <a:extLst>
              <a:ext uri="{28A0092B-C50C-407E-A947-70E740481C1C}">
                <a14:useLocalDpi xmlns:a14="http://schemas.microsoft.com/office/drawing/2010/main" val="0"/>
              </a:ext>
            </a:extLst>
          </a:blip>
          <a:srcRect/>
          <a:stretch/>
        </p:blipFill>
        <p:spPr>
          <a:xfrm>
            <a:off x="3995955" y="0"/>
            <a:ext cx="8196041" cy="6847293"/>
          </a:xfrm>
          <a:prstGeom prst="rect">
            <a:avLst/>
          </a:prstGeom>
          <a:noFill/>
        </p:spPr>
      </p:pic>
      <p:pic>
        <p:nvPicPr>
          <p:cNvPr id="14" name="Picture 339">
            <a:extLst>
              <a:ext uri="{FF2B5EF4-FFF2-40B4-BE49-F238E27FC236}">
                <a16:creationId xmlns:a16="http://schemas.microsoft.com/office/drawing/2014/main" id="{DE5BF1D0-CB27-495D-AC12-63F8DE6FA8F8}"/>
              </a:ext>
            </a:extLst>
          </p:cNvPr>
          <p:cNvPicPr>
            <a:picLocks noChangeArrowheads="1"/>
          </p:cNvPicPr>
          <p:nvPr userDrawn="1"/>
        </p:nvPicPr>
        <p:blipFill>
          <a:blip r:embed="rId4">
            <a:extLst>
              <a:ext uri="{28A0092B-C50C-407E-A947-70E740481C1C}">
                <a14:useLocalDpi xmlns:a14="http://schemas.microsoft.com/office/drawing/2010/main" val="0"/>
              </a:ext>
            </a:extLst>
          </a:blip>
          <a:srcRect/>
          <a:stretch>
            <a:fillRect/>
          </a:stretch>
        </p:blipFill>
        <p:spPr>
          <a:xfrm>
            <a:off x="-7822" y="-1"/>
            <a:ext cx="12199818" cy="6847293"/>
          </a:xfrm>
          <a:prstGeom prst="rect">
            <a:avLst/>
          </a:prstGeom>
          <a:noFill/>
        </p:spPr>
      </p:pic>
      <p:sp>
        <p:nvSpPr>
          <p:cNvPr id="5" name="Freeform: Shape 4">
            <a:extLst>
              <a:ext uri="{FF2B5EF4-FFF2-40B4-BE49-F238E27FC236}">
                <a16:creationId xmlns:a16="http://schemas.microsoft.com/office/drawing/2014/main" id="{6462A042-E9AD-444C-AFB9-A5F03A9E472A}"/>
              </a:ext>
            </a:extLst>
          </p:cNvPr>
          <p:cNvSpPr/>
          <p:nvPr userDrawn="1"/>
        </p:nvSpPr>
        <p:spPr>
          <a:xfrm>
            <a:off x="4" y="1354013"/>
            <a:ext cx="5256629" cy="5496850"/>
          </a:xfrm>
          <a:custGeom>
            <a:avLst/>
            <a:gdLst>
              <a:gd name="connsiteX0" fmla="*/ 0 w 5259367"/>
              <a:gd name="connsiteY0" fmla="*/ 5338349 h 5516096"/>
              <a:gd name="connsiteX1" fmla="*/ 120792 w 5259367"/>
              <a:gd name="connsiteY1" fmla="*/ 5448132 h 5516096"/>
              <a:gd name="connsiteX2" fmla="*/ 210551 w 5259367"/>
              <a:gd name="connsiteY2" fmla="*/ 5516096 h 5516096"/>
              <a:gd name="connsiteX3" fmla="*/ 0 w 5259367"/>
              <a:gd name="connsiteY3" fmla="*/ 5516096 h 5516096"/>
              <a:gd name="connsiteX4" fmla="*/ 1573383 w 5259367"/>
              <a:gd name="connsiteY4" fmla="*/ 0 h 5516096"/>
              <a:gd name="connsiteX5" fmla="*/ 5259367 w 5259367"/>
              <a:gd name="connsiteY5" fmla="*/ 3685984 h 5516096"/>
              <a:gd name="connsiteX6" fmla="*/ 4814489 w 5259367"/>
              <a:gd name="connsiteY6" fmla="*/ 5442943 h 5516096"/>
              <a:gd name="connsiteX7" fmla="*/ 4770047 w 5259367"/>
              <a:gd name="connsiteY7" fmla="*/ 5516096 h 5516096"/>
              <a:gd name="connsiteX8" fmla="*/ 2935085 w 5259367"/>
              <a:gd name="connsiteY8" fmla="*/ 5516096 h 5516096"/>
              <a:gd name="connsiteX9" fmla="*/ 3025973 w 5259367"/>
              <a:gd name="connsiteY9" fmla="*/ 5448132 h 5516096"/>
              <a:gd name="connsiteX10" fmla="*/ 3856996 w 5259367"/>
              <a:gd name="connsiteY10" fmla="*/ 3685984 h 5516096"/>
              <a:gd name="connsiteX11" fmla="*/ 1573382 w 5259367"/>
              <a:gd name="connsiteY11" fmla="*/ 1402370 h 5516096"/>
              <a:gd name="connsiteX12" fmla="*/ 120792 w 5259367"/>
              <a:gd name="connsiteY12" fmla="*/ 1923837 h 5516096"/>
              <a:gd name="connsiteX13" fmla="*/ 0 w 5259367"/>
              <a:gd name="connsiteY13" fmla="*/ 2033619 h 5516096"/>
              <a:gd name="connsiteX14" fmla="*/ 0 w 5259367"/>
              <a:gd name="connsiteY14" fmla="*/ 356445 h 5516096"/>
              <a:gd name="connsiteX15" fmla="*/ 138632 w 5259367"/>
              <a:gd name="connsiteY15" fmla="*/ 289663 h 5516096"/>
              <a:gd name="connsiteX16" fmla="*/ 1573383 w 5259367"/>
              <a:gd name="connsiteY16" fmla="*/ 0 h 551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59367" h="5516096">
                <a:moveTo>
                  <a:pt x="0" y="5338349"/>
                </a:moveTo>
                <a:lnTo>
                  <a:pt x="120792" y="5448132"/>
                </a:lnTo>
                <a:lnTo>
                  <a:pt x="210551" y="5516096"/>
                </a:lnTo>
                <a:lnTo>
                  <a:pt x="0" y="5516096"/>
                </a:lnTo>
                <a:close/>
                <a:moveTo>
                  <a:pt x="1573383" y="0"/>
                </a:moveTo>
                <a:cubicBezTo>
                  <a:pt x="3609096" y="0"/>
                  <a:pt x="5259367" y="1650271"/>
                  <a:pt x="5259367" y="3685984"/>
                </a:cubicBezTo>
                <a:cubicBezTo>
                  <a:pt x="5259367" y="4322145"/>
                  <a:pt x="5098208" y="4920664"/>
                  <a:pt x="4814489" y="5442943"/>
                </a:cubicBezTo>
                <a:lnTo>
                  <a:pt x="4770047" y="5516096"/>
                </a:lnTo>
                <a:lnTo>
                  <a:pt x="2935085" y="5516096"/>
                </a:lnTo>
                <a:lnTo>
                  <a:pt x="3025973" y="5448132"/>
                </a:lnTo>
                <a:cubicBezTo>
                  <a:pt x="3533500" y="5029283"/>
                  <a:pt x="3856996" y="4395412"/>
                  <a:pt x="3856996" y="3685984"/>
                </a:cubicBezTo>
                <a:cubicBezTo>
                  <a:pt x="3856996" y="2424779"/>
                  <a:pt x="2834587" y="1402370"/>
                  <a:pt x="1573382" y="1402370"/>
                </a:cubicBezTo>
                <a:cubicBezTo>
                  <a:pt x="1021605" y="1402370"/>
                  <a:pt x="515535" y="1598066"/>
                  <a:pt x="120792" y="1923837"/>
                </a:cubicBezTo>
                <a:lnTo>
                  <a:pt x="0" y="2033619"/>
                </a:lnTo>
                <a:lnTo>
                  <a:pt x="0" y="356445"/>
                </a:lnTo>
                <a:lnTo>
                  <a:pt x="138632" y="289663"/>
                </a:lnTo>
                <a:cubicBezTo>
                  <a:pt x="579617" y="103142"/>
                  <a:pt x="1064455" y="0"/>
                  <a:pt x="1573383" y="0"/>
                </a:cubicBezTo>
                <a:close/>
              </a:path>
            </a:pathLst>
          </a:custGeom>
          <a:solidFill>
            <a:schemeClr val="tx2">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defTabSz="913943"/>
            <a:endParaRPr lang="en-US" sz="1199" dirty="0">
              <a:solidFill>
                <a:srgbClr val="FFFFFF"/>
              </a:solidFill>
              <a:latin typeface="EYInterstate" panose="02000503020000020004" pitchFamily="2" charset="0"/>
            </a:endParaRPr>
          </a:p>
        </p:txBody>
      </p:sp>
      <p:grpSp>
        <p:nvGrpSpPr>
          <p:cNvPr id="6" name="Group 5">
            <a:extLst>
              <a:ext uri="{FF2B5EF4-FFF2-40B4-BE49-F238E27FC236}">
                <a16:creationId xmlns:a16="http://schemas.microsoft.com/office/drawing/2014/main" id="{D5400E62-39F2-4A0D-87EB-2475980DA9DB}"/>
              </a:ext>
            </a:extLst>
          </p:cNvPr>
          <p:cNvGrpSpPr/>
          <p:nvPr userDrawn="1"/>
        </p:nvGrpSpPr>
        <p:grpSpPr>
          <a:xfrm>
            <a:off x="1845368" y="700027"/>
            <a:ext cx="3790498" cy="3790498"/>
            <a:chOff x="11433228" y="97168"/>
            <a:chExt cx="674992" cy="674992"/>
          </a:xfrm>
        </p:grpSpPr>
        <p:sp>
          <p:nvSpPr>
            <p:cNvPr id="7" name="Circle: Hollow 6">
              <a:extLst>
                <a:ext uri="{FF2B5EF4-FFF2-40B4-BE49-F238E27FC236}">
                  <a16:creationId xmlns:a16="http://schemas.microsoft.com/office/drawing/2014/main" id="{292BEF2A-F950-421E-A47E-2E3968887986}"/>
                </a:ext>
              </a:extLst>
            </p:cNvPr>
            <p:cNvSpPr/>
            <p:nvPr userDrawn="1"/>
          </p:nvSpPr>
          <p:spPr>
            <a:xfrm>
              <a:off x="11433228" y="97168"/>
              <a:ext cx="674992" cy="674992"/>
            </a:xfrm>
            <a:prstGeom prst="donut">
              <a:avLst>
                <a:gd name="adj" fmla="val 11237"/>
              </a:avLst>
            </a:prstGeom>
            <a:solidFill>
              <a:schemeClr val="tx1">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US" sz="1199" dirty="0">
                <a:solidFill>
                  <a:srgbClr val="FFFFFF"/>
                </a:solidFill>
                <a:latin typeface="EYInterstate" panose="02000503020000020004" pitchFamily="2" charset="0"/>
              </a:endParaRPr>
            </a:p>
          </p:txBody>
        </p:sp>
        <p:sp>
          <p:nvSpPr>
            <p:cNvPr id="8" name="Oval 7">
              <a:extLst>
                <a:ext uri="{FF2B5EF4-FFF2-40B4-BE49-F238E27FC236}">
                  <a16:creationId xmlns:a16="http://schemas.microsoft.com/office/drawing/2014/main" id="{91E3F3DE-AEDA-4808-87F6-BCC21ED16E51}"/>
                </a:ext>
              </a:extLst>
            </p:cNvPr>
            <p:cNvSpPr/>
            <p:nvPr userDrawn="1"/>
          </p:nvSpPr>
          <p:spPr>
            <a:xfrm>
              <a:off x="11551649" y="215589"/>
              <a:ext cx="438150" cy="438150"/>
            </a:xfrm>
            <a:prstGeom prst="ellipse">
              <a:avLst/>
            </a:prstGeom>
            <a:solidFill>
              <a:schemeClr val="tx1">
                <a:alpha val="4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US" sz="1199" dirty="0">
                <a:solidFill>
                  <a:srgbClr val="FFFFFF"/>
                </a:solidFill>
                <a:latin typeface="EYInterstate" panose="02000503020000020004" pitchFamily="2" charset="0"/>
              </a:endParaRPr>
            </a:p>
          </p:txBody>
        </p:sp>
      </p:grpSp>
      <p:sp>
        <p:nvSpPr>
          <p:cNvPr id="10" name="TextBox 9">
            <a:extLst>
              <a:ext uri="{FF2B5EF4-FFF2-40B4-BE49-F238E27FC236}">
                <a16:creationId xmlns:a16="http://schemas.microsoft.com/office/drawing/2014/main" id="{7867BD6C-2976-451F-86FF-23B8A6C03023}"/>
              </a:ext>
            </a:extLst>
          </p:cNvPr>
          <p:cNvSpPr txBox="1"/>
          <p:nvPr userDrawn="1"/>
        </p:nvSpPr>
        <p:spPr>
          <a:xfrm>
            <a:off x="593776" y="4806133"/>
            <a:ext cx="3146841" cy="676756"/>
          </a:xfrm>
          <a:prstGeom prst="rect">
            <a:avLst/>
          </a:prstGeom>
          <a:noFill/>
        </p:spPr>
        <p:txBody>
          <a:bodyPr wrap="square" lIns="0" tIns="0" rIns="0" bIns="0" rtlCol="0">
            <a:spAutoFit/>
          </a:bodyPr>
          <a:lstStyle/>
          <a:p>
            <a:pPr defTabSz="913943">
              <a:spcAft>
                <a:spcPts val="1199"/>
              </a:spcAft>
              <a:defRPr/>
            </a:pPr>
            <a:r>
              <a:rPr lang="en-US" sz="4398" b="1" dirty="0">
                <a:solidFill>
                  <a:srgbClr val="FFFFFF"/>
                </a:solidFill>
                <a:latin typeface="EYInterstate" panose="02000503020000020004" pitchFamily="2" charset="0"/>
              </a:rPr>
              <a:t>Section</a:t>
            </a:r>
            <a:endParaRPr lang="en-CA" sz="4398" b="1" dirty="0">
              <a:solidFill>
                <a:srgbClr val="FFFFFF"/>
              </a:solidFill>
              <a:latin typeface="EYInterstate" panose="02000503020000020004" pitchFamily="2" charset="0"/>
            </a:endParaRPr>
          </a:p>
        </p:txBody>
      </p:sp>
      <p:cxnSp>
        <p:nvCxnSpPr>
          <p:cNvPr id="11" name="Straight Connector 10">
            <a:extLst>
              <a:ext uri="{FF2B5EF4-FFF2-40B4-BE49-F238E27FC236}">
                <a16:creationId xmlns:a16="http://schemas.microsoft.com/office/drawing/2014/main" id="{F131EA15-C9FB-48E9-82FA-B7C9D9C80323}"/>
              </a:ext>
            </a:extLst>
          </p:cNvPr>
          <p:cNvCxnSpPr>
            <a:cxnSpLocks/>
          </p:cNvCxnSpPr>
          <p:nvPr userDrawn="1"/>
        </p:nvCxnSpPr>
        <p:spPr>
          <a:xfrm>
            <a:off x="6294245" y="2230465"/>
            <a:ext cx="0" cy="2397070"/>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1E2F0393-1D47-43E4-BFC5-A17F2DD20545}"/>
              </a:ext>
            </a:extLst>
          </p:cNvPr>
          <p:cNvSpPr/>
          <p:nvPr userDrawn="1"/>
        </p:nvSpPr>
        <p:spPr>
          <a:xfrm>
            <a:off x="6300874" y="2230465"/>
            <a:ext cx="5891127" cy="2397070"/>
          </a:xfrm>
          <a:prstGeom prst="rect">
            <a:avLst/>
          </a:prstGeom>
          <a:solidFill>
            <a:schemeClr val="bg2">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US" sz="1199" dirty="0">
              <a:solidFill>
                <a:srgbClr val="FFFFFF"/>
              </a:solidFill>
              <a:latin typeface="EYInterstate" panose="02000503020000020004" pitchFamily="2" charset="0"/>
            </a:endParaRPr>
          </a:p>
        </p:txBody>
      </p:sp>
      <p:cxnSp>
        <p:nvCxnSpPr>
          <p:cNvPr id="15" name="Straight Connector 14">
            <a:extLst>
              <a:ext uri="{FF2B5EF4-FFF2-40B4-BE49-F238E27FC236}">
                <a16:creationId xmlns:a16="http://schemas.microsoft.com/office/drawing/2014/main" id="{EBB545F3-BAED-4D4D-B847-C36EA59B244C}"/>
              </a:ext>
            </a:extLst>
          </p:cNvPr>
          <p:cNvCxnSpPr>
            <a:cxnSpLocks/>
          </p:cNvCxnSpPr>
          <p:nvPr userDrawn="1"/>
        </p:nvCxnSpPr>
        <p:spPr>
          <a:xfrm>
            <a:off x="6300874" y="2230465"/>
            <a:ext cx="0" cy="2397070"/>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867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3" name="Picture 12" descr="A group of people shaking hands&#10;&#10;Description automatically generated with medium confidence">
            <a:extLst>
              <a:ext uri="{FF2B5EF4-FFF2-40B4-BE49-F238E27FC236}">
                <a16:creationId xmlns:a16="http://schemas.microsoft.com/office/drawing/2014/main" id="{BCF02AE3-1084-42A4-A2C4-319DBA0F4D6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131" b="6547"/>
          <a:stretch/>
        </p:blipFill>
        <p:spPr>
          <a:xfrm>
            <a:off x="0" y="0"/>
            <a:ext cx="12183495" cy="6850863"/>
          </a:xfrm>
          <a:prstGeom prst="rect">
            <a:avLst/>
          </a:prstGeom>
        </p:spPr>
      </p:pic>
      <p:pic>
        <p:nvPicPr>
          <p:cNvPr id="14" name="Picture 339">
            <a:extLst>
              <a:ext uri="{FF2B5EF4-FFF2-40B4-BE49-F238E27FC236}">
                <a16:creationId xmlns:a16="http://schemas.microsoft.com/office/drawing/2014/main" id="{DE5BF1D0-CB27-495D-AC12-63F8DE6FA8F8}"/>
              </a:ext>
            </a:extLst>
          </p:cNvPr>
          <p:cNvPicPr>
            <a:picLocks noChangeArrowheads="1"/>
          </p:cNvPicPr>
          <p:nvPr userDrawn="1"/>
        </p:nvPicPr>
        <p:blipFill>
          <a:blip r:embed="rId4">
            <a:extLst>
              <a:ext uri="{28A0092B-C50C-407E-A947-70E740481C1C}">
                <a14:useLocalDpi xmlns:a14="http://schemas.microsoft.com/office/drawing/2010/main" val="0"/>
              </a:ext>
            </a:extLst>
          </a:blip>
          <a:srcRect/>
          <a:stretch>
            <a:fillRect/>
          </a:stretch>
        </p:blipFill>
        <p:spPr>
          <a:xfrm>
            <a:off x="1" y="-27398"/>
            <a:ext cx="12191999" cy="6885397"/>
          </a:xfrm>
          <a:prstGeom prst="rect">
            <a:avLst/>
          </a:prstGeom>
          <a:noFill/>
        </p:spPr>
      </p:pic>
      <p:sp>
        <p:nvSpPr>
          <p:cNvPr id="5" name="Freeform: Shape 4">
            <a:extLst>
              <a:ext uri="{FF2B5EF4-FFF2-40B4-BE49-F238E27FC236}">
                <a16:creationId xmlns:a16="http://schemas.microsoft.com/office/drawing/2014/main" id="{6462A042-E9AD-444C-AFB9-A5F03A9E472A}"/>
              </a:ext>
            </a:extLst>
          </p:cNvPr>
          <p:cNvSpPr/>
          <p:nvPr userDrawn="1"/>
        </p:nvSpPr>
        <p:spPr>
          <a:xfrm>
            <a:off x="4" y="1354013"/>
            <a:ext cx="5256629" cy="5496850"/>
          </a:xfrm>
          <a:custGeom>
            <a:avLst/>
            <a:gdLst>
              <a:gd name="connsiteX0" fmla="*/ 0 w 5259367"/>
              <a:gd name="connsiteY0" fmla="*/ 5338349 h 5516096"/>
              <a:gd name="connsiteX1" fmla="*/ 120792 w 5259367"/>
              <a:gd name="connsiteY1" fmla="*/ 5448132 h 5516096"/>
              <a:gd name="connsiteX2" fmla="*/ 210551 w 5259367"/>
              <a:gd name="connsiteY2" fmla="*/ 5516096 h 5516096"/>
              <a:gd name="connsiteX3" fmla="*/ 0 w 5259367"/>
              <a:gd name="connsiteY3" fmla="*/ 5516096 h 5516096"/>
              <a:gd name="connsiteX4" fmla="*/ 1573383 w 5259367"/>
              <a:gd name="connsiteY4" fmla="*/ 0 h 5516096"/>
              <a:gd name="connsiteX5" fmla="*/ 5259367 w 5259367"/>
              <a:gd name="connsiteY5" fmla="*/ 3685984 h 5516096"/>
              <a:gd name="connsiteX6" fmla="*/ 4814489 w 5259367"/>
              <a:gd name="connsiteY6" fmla="*/ 5442943 h 5516096"/>
              <a:gd name="connsiteX7" fmla="*/ 4770047 w 5259367"/>
              <a:gd name="connsiteY7" fmla="*/ 5516096 h 5516096"/>
              <a:gd name="connsiteX8" fmla="*/ 2935085 w 5259367"/>
              <a:gd name="connsiteY8" fmla="*/ 5516096 h 5516096"/>
              <a:gd name="connsiteX9" fmla="*/ 3025973 w 5259367"/>
              <a:gd name="connsiteY9" fmla="*/ 5448132 h 5516096"/>
              <a:gd name="connsiteX10" fmla="*/ 3856996 w 5259367"/>
              <a:gd name="connsiteY10" fmla="*/ 3685984 h 5516096"/>
              <a:gd name="connsiteX11" fmla="*/ 1573382 w 5259367"/>
              <a:gd name="connsiteY11" fmla="*/ 1402370 h 5516096"/>
              <a:gd name="connsiteX12" fmla="*/ 120792 w 5259367"/>
              <a:gd name="connsiteY12" fmla="*/ 1923837 h 5516096"/>
              <a:gd name="connsiteX13" fmla="*/ 0 w 5259367"/>
              <a:gd name="connsiteY13" fmla="*/ 2033619 h 5516096"/>
              <a:gd name="connsiteX14" fmla="*/ 0 w 5259367"/>
              <a:gd name="connsiteY14" fmla="*/ 356445 h 5516096"/>
              <a:gd name="connsiteX15" fmla="*/ 138632 w 5259367"/>
              <a:gd name="connsiteY15" fmla="*/ 289663 h 5516096"/>
              <a:gd name="connsiteX16" fmla="*/ 1573383 w 5259367"/>
              <a:gd name="connsiteY16" fmla="*/ 0 h 551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59367" h="5516096">
                <a:moveTo>
                  <a:pt x="0" y="5338349"/>
                </a:moveTo>
                <a:lnTo>
                  <a:pt x="120792" y="5448132"/>
                </a:lnTo>
                <a:lnTo>
                  <a:pt x="210551" y="5516096"/>
                </a:lnTo>
                <a:lnTo>
                  <a:pt x="0" y="5516096"/>
                </a:lnTo>
                <a:close/>
                <a:moveTo>
                  <a:pt x="1573383" y="0"/>
                </a:moveTo>
                <a:cubicBezTo>
                  <a:pt x="3609096" y="0"/>
                  <a:pt x="5259367" y="1650271"/>
                  <a:pt x="5259367" y="3685984"/>
                </a:cubicBezTo>
                <a:cubicBezTo>
                  <a:pt x="5259367" y="4322145"/>
                  <a:pt x="5098208" y="4920664"/>
                  <a:pt x="4814489" y="5442943"/>
                </a:cubicBezTo>
                <a:lnTo>
                  <a:pt x="4770047" y="5516096"/>
                </a:lnTo>
                <a:lnTo>
                  <a:pt x="2935085" y="5516096"/>
                </a:lnTo>
                <a:lnTo>
                  <a:pt x="3025973" y="5448132"/>
                </a:lnTo>
                <a:cubicBezTo>
                  <a:pt x="3533500" y="5029283"/>
                  <a:pt x="3856996" y="4395412"/>
                  <a:pt x="3856996" y="3685984"/>
                </a:cubicBezTo>
                <a:cubicBezTo>
                  <a:pt x="3856996" y="2424779"/>
                  <a:pt x="2834587" y="1402370"/>
                  <a:pt x="1573382" y="1402370"/>
                </a:cubicBezTo>
                <a:cubicBezTo>
                  <a:pt x="1021605" y="1402370"/>
                  <a:pt x="515535" y="1598066"/>
                  <a:pt x="120792" y="1923837"/>
                </a:cubicBezTo>
                <a:lnTo>
                  <a:pt x="0" y="2033619"/>
                </a:lnTo>
                <a:lnTo>
                  <a:pt x="0" y="356445"/>
                </a:lnTo>
                <a:lnTo>
                  <a:pt x="138632" y="289663"/>
                </a:lnTo>
                <a:cubicBezTo>
                  <a:pt x="579617" y="103142"/>
                  <a:pt x="1064455" y="0"/>
                  <a:pt x="1573383" y="0"/>
                </a:cubicBezTo>
                <a:close/>
              </a:path>
            </a:pathLst>
          </a:custGeom>
          <a:solidFill>
            <a:schemeClr val="tx2">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defTabSz="913943"/>
            <a:endParaRPr lang="en-US" sz="1199" dirty="0">
              <a:solidFill>
                <a:srgbClr val="FFFFFF"/>
              </a:solidFill>
              <a:latin typeface="EYInterstate" panose="02000503020000020004" pitchFamily="2" charset="0"/>
            </a:endParaRPr>
          </a:p>
        </p:txBody>
      </p:sp>
      <p:grpSp>
        <p:nvGrpSpPr>
          <p:cNvPr id="6" name="Group 5">
            <a:extLst>
              <a:ext uri="{FF2B5EF4-FFF2-40B4-BE49-F238E27FC236}">
                <a16:creationId xmlns:a16="http://schemas.microsoft.com/office/drawing/2014/main" id="{D5400E62-39F2-4A0D-87EB-2475980DA9DB}"/>
              </a:ext>
            </a:extLst>
          </p:cNvPr>
          <p:cNvGrpSpPr/>
          <p:nvPr userDrawn="1"/>
        </p:nvGrpSpPr>
        <p:grpSpPr>
          <a:xfrm>
            <a:off x="1845368" y="700027"/>
            <a:ext cx="3790498" cy="3790498"/>
            <a:chOff x="11433228" y="97168"/>
            <a:chExt cx="674992" cy="674992"/>
          </a:xfrm>
        </p:grpSpPr>
        <p:sp>
          <p:nvSpPr>
            <p:cNvPr id="7" name="Circle: Hollow 6">
              <a:extLst>
                <a:ext uri="{FF2B5EF4-FFF2-40B4-BE49-F238E27FC236}">
                  <a16:creationId xmlns:a16="http://schemas.microsoft.com/office/drawing/2014/main" id="{292BEF2A-F950-421E-A47E-2E3968887986}"/>
                </a:ext>
              </a:extLst>
            </p:cNvPr>
            <p:cNvSpPr/>
            <p:nvPr userDrawn="1"/>
          </p:nvSpPr>
          <p:spPr>
            <a:xfrm>
              <a:off x="11433228" y="97168"/>
              <a:ext cx="674992" cy="674992"/>
            </a:xfrm>
            <a:prstGeom prst="donut">
              <a:avLst>
                <a:gd name="adj" fmla="val 11237"/>
              </a:avLst>
            </a:prstGeom>
            <a:solidFill>
              <a:schemeClr val="tx1">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US" sz="1199" dirty="0">
                <a:solidFill>
                  <a:srgbClr val="FFFFFF"/>
                </a:solidFill>
                <a:latin typeface="EYInterstate" panose="02000503020000020004" pitchFamily="2" charset="0"/>
              </a:endParaRPr>
            </a:p>
          </p:txBody>
        </p:sp>
        <p:sp>
          <p:nvSpPr>
            <p:cNvPr id="8" name="Oval 7">
              <a:extLst>
                <a:ext uri="{FF2B5EF4-FFF2-40B4-BE49-F238E27FC236}">
                  <a16:creationId xmlns:a16="http://schemas.microsoft.com/office/drawing/2014/main" id="{91E3F3DE-AEDA-4808-87F6-BCC21ED16E51}"/>
                </a:ext>
              </a:extLst>
            </p:cNvPr>
            <p:cNvSpPr/>
            <p:nvPr userDrawn="1"/>
          </p:nvSpPr>
          <p:spPr>
            <a:xfrm>
              <a:off x="11551649" y="215589"/>
              <a:ext cx="438150" cy="438150"/>
            </a:xfrm>
            <a:prstGeom prst="ellipse">
              <a:avLst/>
            </a:prstGeom>
            <a:solidFill>
              <a:schemeClr val="tx1">
                <a:alpha val="4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US" sz="1199" dirty="0">
                <a:solidFill>
                  <a:srgbClr val="FFFFFF"/>
                </a:solidFill>
                <a:latin typeface="EYInterstate" panose="02000503020000020004" pitchFamily="2" charset="0"/>
              </a:endParaRPr>
            </a:p>
          </p:txBody>
        </p:sp>
      </p:grpSp>
      <p:sp>
        <p:nvSpPr>
          <p:cNvPr id="10" name="TextBox 9">
            <a:extLst>
              <a:ext uri="{FF2B5EF4-FFF2-40B4-BE49-F238E27FC236}">
                <a16:creationId xmlns:a16="http://schemas.microsoft.com/office/drawing/2014/main" id="{7867BD6C-2976-451F-86FF-23B8A6C03023}"/>
              </a:ext>
            </a:extLst>
          </p:cNvPr>
          <p:cNvSpPr txBox="1"/>
          <p:nvPr userDrawn="1"/>
        </p:nvSpPr>
        <p:spPr>
          <a:xfrm>
            <a:off x="593776" y="4806133"/>
            <a:ext cx="3146841" cy="676756"/>
          </a:xfrm>
          <a:prstGeom prst="rect">
            <a:avLst/>
          </a:prstGeom>
          <a:noFill/>
        </p:spPr>
        <p:txBody>
          <a:bodyPr wrap="square" lIns="0" tIns="0" rIns="0" bIns="0" rtlCol="0">
            <a:spAutoFit/>
          </a:bodyPr>
          <a:lstStyle/>
          <a:p>
            <a:pPr defTabSz="913943">
              <a:spcAft>
                <a:spcPts val="1199"/>
              </a:spcAft>
              <a:defRPr/>
            </a:pPr>
            <a:r>
              <a:rPr lang="en-US" sz="4398" b="1" dirty="0">
                <a:solidFill>
                  <a:srgbClr val="FFFFFF"/>
                </a:solidFill>
                <a:latin typeface="EYInterstate" panose="02000503020000020004" pitchFamily="2" charset="0"/>
              </a:rPr>
              <a:t>Section</a:t>
            </a:r>
            <a:endParaRPr lang="en-CA" sz="4398" b="1" dirty="0">
              <a:solidFill>
                <a:srgbClr val="FFFFFF"/>
              </a:solidFill>
              <a:latin typeface="EYInterstate" panose="02000503020000020004" pitchFamily="2" charset="0"/>
            </a:endParaRPr>
          </a:p>
        </p:txBody>
      </p:sp>
      <p:cxnSp>
        <p:nvCxnSpPr>
          <p:cNvPr id="11" name="Straight Connector 10">
            <a:extLst>
              <a:ext uri="{FF2B5EF4-FFF2-40B4-BE49-F238E27FC236}">
                <a16:creationId xmlns:a16="http://schemas.microsoft.com/office/drawing/2014/main" id="{F131EA15-C9FB-48E9-82FA-B7C9D9C80323}"/>
              </a:ext>
            </a:extLst>
          </p:cNvPr>
          <p:cNvCxnSpPr>
            <a:cxnSpLocks/>
          </p:cNvCxnSpPr>
          <p:nvPr userDrawn="1"/>
        </p:nvCxnSpPr>
        <p:spPr>
          <a:xfrm>
            <a:off x="6294245" y="2230465"/>
            <a:ext cx="0" cy="2397070"/>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1E2F0393-1D47-43E4-BFC5-A17F2DD20545}"/>
              </a:ext>
            </a:extLst>
          </p:cNvPr>
          <p:cNvSpPr/>
          <p:nvPr userDrawn="1"/>
        </p:nvSpPr>
        <p:spPr>
          <a:xfrm>
            <a:off x="6300874" y="2230465"/>
            <a:ext cx="5891127" cy="2397070"/>
          </a:xfrm>
          <a:prstGeom prst="rect">
            <a:avLst/>
          </a:prstGeom>
          <a:solidFill>
            <a:schemeClr val="bg2">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US" sz="1199" dirty="0">
              <a:solidFill>
                <a:srgbClr val="FFFFFF"/>
              </a:solidFill>
              <a:latin typeface="EYInterstate" panose="02000503020000020004" pitchFamily="2" charset="0"/>
            </a:endParaRPr>
          </a:p>
        </p:txBody>
      </p:sp>
      <p:cxnSp>
        <p:nvCxnSpPr>
          <p:cNvPr id="15" name="Straight Connector 14">
            <a:extLst>
              <a:ext uri="{FF2B5EF4-FFF2-40B4-BE49-F238E27FC236}">
                <a16:creationId xmlns:a16="http://schemas.microsoft.com/office/drawing/2014/main" id="{4C53E3C4-AD61-40C0-BB8C-EE2E92805694}"/>
              </a:ext>
            </a:extLst>
          </p:cNvPr>
          <p:cNvCxnSpPr>
            <a:cxnSpLocks/>
          </p:cNvCxnSpPr>
          <p:nvPr userDrawn="1"/>
        </p:nvCxnSpPr>
        <p:spPr>
          <a:xfrm>
            <a:off x="6289290" y="2230465"/>
            <a:ext cx="0" cy="2397070"/>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651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CE0EC-0735-62C4-C965-32E967E8EDEC}"/>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C4FBE397-4132-8F91-CDEA-ADAB90868CAD}"/>
              </a:ext>
            </a:extLst>
          </p:cNvPr>
          <p:cNvSpPr>
            <a:spLocks noGrp="1"/>
          </p:cNvSpPr>
          <p:nvPr>
            <p:ph type="dt" sz="half" idx="10"/>
          </p:nvPr>
        </p:nvSpPr>
        <p:spPr/>
        <p:txBody>
          <a:bodyPr/>
          <a:lstStyle/>
          <a:p>
            <a:fld id="{87D83E36-9F37-404A-95A6-9BA245F490EB}" type="datetimeFigureOut">
              <a:rPr lang="en-IN" smtClean="0"/>
              <a:t>09-09-2023</a:t>
            </a:fld>
            <a:endParaRPr lang="en-IN"/>
          </a:p>
        </p:txBody>
      </p:sp>
      <p:sp>
        <p:nvSpPr>
          <p:cNvPr id="4" name="Footer Placeholder 3">
            <a:extLst>
              <a:ext uri="{FF2B5EF4-FFF2-40B4-BE49-F238E27FC236}">
                <a16:creationId xmlns:a16="http://schemas.microsoft.com/office/drawing/2014/main" id="{3506717B-DDB7-C047-D6CF-EE4A482A82AB}"/>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B3EA000E-B232-6CAC-FF03-6A340A87D734}"/>
              </a:ext>
            </a:extLst>
          </p:cNvPr>
          <p:cNvSpPr>
            <a:spLocks noGrp="1"/>
          </p:cNvSpPr>
          <p:nvPr>
            <p:ph type="sldNum" sz="quarter" idx="12"/>
          </p:nvPr>
        </p:nvSpPr>
        <p:spPr/>
        <p:txBody>
          <a:bodyPr/>
          <a:lstStyle/>
          <a:p>
            <a:fld id="{C3B1290E-90F2-496A-A4DF-6BB0DB28A9AB}" type="slidenum">
              <a:rPr lang="en-IN" smtClean="0"/>
              <a:t>‹#›</a:t>
            </a:fld>
            <a:endParaRPr lang="en-IN"/>
          </a:p>
        </p:txBody>
      </p:sp>
    </p:spTree>
    <p:extLst>
      <p:ext uri="{BB962C8B-B14F-4D97-AF65-F5344CB8AC3E}">
        <p14:creationId xmlns:p14="http://schemas.microsoft.com/office/powerpoint/2010/main" val="2046080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E2A771-0C3F-3776-50CD-17BE40723A3F}"/>
              </a:ext>
            </a:extLst>
          </p:cNvPr>
          <p:cNvSpPr>
            <a:spLocks noGrp="1"/>
          </p:cNvSpPr>
          <p:nvPr>
            <p:ph type="dt" sz="half" idx="10"/>
          </p:nvPr>
        </p:nvSpPr>
        <p:spPr/>
        <p:txBody>
          <a:bodyPr/>
          <a:lstStyle/>
          <a:p>
            <a:fld id="{87D83E36-9F37-404A-95A6-9BA245F490EB}" type="datetimeFigureOut">
              <a:rPr lang="en-IN" smtClean="0"/>
              <a:t>09-09-2023</a:t>
            </a:fld>
            <a:endParaRPr lang="en-IN"/>
          </a:p>
        </p:txBody>
      </p:sp>
      <p:sp>
        <p:nvSpPr>
          <p:cNvPr id="3" name="Footer Placeholder 2">
            <a:extLst>
              <a:ext uri="{FF2B5EF4-FFF2-40B4-BE49-F238E27FC236}">
                <a16:creationId xmlns:a16="http://schemas.microsoft.com/office/drawing/2014/main" id="{86482D6C-B29F-551E-E8F1-CD5F0937EE0F}"/>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7638CF48-BCEF-82D8-06C3-D1431758C08B}"/>
              </a:ext>
            </a:extLst>
          </p:cNvPr>
          <p:cNvSpPr>
            <a:spLocks noGrp="1"/>
          </p:cNvSpPr>
          <p:nvPr>
            <p:ph type="sldNum" sz="quarter" idx="12"/>
          </p:nvPr>
        </p:nvSpPr>
        <p:spPr/>
        <p:txBody>
          <a:bodyPr/>
          <a:lstStyle/>
          <a:p>
            <a:fld id="{C3B1290E-90F2-496A-A4DF-6BB0DB28A9AB}" type="slidenum">
              <a:rPr lang="en-IN" smtClean="0"/>
              <a:t>‹#›</a:t>
            </a:fld>
            <a:endParaRPr lang="en-IN"/>
          </a:p>
        </p:txBody>
      </p:sp>
    </p:spTree>
    <p:extLst>
      <p:ext uri="{BB962C8B-B14F-4D97-AF65-F5344CB8AC3E}">
        <p14:creationId xmlns:p14="http://schemas.microsoft.com/office/powerpoint/2010/main" val="3446950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BC5ED-9B0E-DB03-9415-CC025BFB2F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F593FABB-EE78-8EBF-5DE1-EAEFFE6C2A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C347987A-CB93-5060-412E-78A2C49791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899DC0F-5818-AA7A-21F7-872AEA641EFC}"/>
              </a:ext>
            </a:extLst>
          </p:cNvPr>
          <p:cNvSpPr>
            <a:spLocks noGrp="1"/>
          </p:cNvSpPr>
          <p:nvPr>
            <p:ph type="dt" sz="half" idx="10"/>
          </p:nvPr>
        </p:nvSpPr>
        <p:spPr/>
        <p:txBody>
          <a:bodyPr/>
          <a:lstStyle/>
          <a:p>
            <a:fld id="{87D83E36-9F37-404A-95A6-9BA245F490EB}" type="datetimeFigureOut">
              <a:rPr lang="en-IN" smtClean="0"/>
              <a:t>09-09-2023</a:t>
            </a:fld>
            <a:endParaRPr lang="en-IN"/>
          </a:p>
        </p:txBody>
      </p:sp>
      <p:sp>
        <p:nvSpPr>
          <p:cNvPr id="6" name="Footer Placeholder 5">
            <a:extLst>
              <a:ext uri="{FF2B5EF4-FFF2-40B4-BE49-F238E27FC236}">
                <a16:creationId xmlns:a16="http://schemas.microsoft.com/office/drawing/2014/main" id="{81CEA3E2-7C38-CE9B-A991-4C73BC904BC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EE622C8-4CBF-34A6-2B03-BA204FF380FA}"/>
              </a:ext>
            </a:extLst>
          </p:cNvPr>
          <p:cNvSpPr>
            <a:spLocks noGrp="1"/>
          </p:cNvSpPr>
          <p:nvPr>
            <p:ph type="sldNum" sz="quarter" idx="12"/>
          </p:nvPr>
        </p:nvSpPr>
        <p:spPr/>
        <p:txBody>
          <a:bodyPr/>
          <a:lstStyle/>
          <a:p>
            <a:fld id="{C3B1290E-90F2-496A-A4DF-6BB0DB28A9AB}" type="slidenum">
              <a:rPr lang="en-IN" smtClean="0"/>
              <a:t>‹#›</a:t>
            </a:fld>
            <a:endParaRPr lang="en-IN"/>
          </a:p>
        </p:txBody>
      </p:sp>
    </p:spTree>
    <p:extLst>
      <p:ext uri="{BB962C8B-B14F-4D97-AF65-F5344CB8AC3E}">
        <p14:creationId xmlns:p14="http://schemas.microsoft.com/office/powerpoint/2010/main" val="10669358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71BEC-7186-E89D-4333-CDFDCDE8C14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0E41D861-2156-5221-8CB8-31714670EE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2464A62D-6222-3387-D670-8AAD4A5642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607448B-03BB-6803-0C0A-25A114CD54FA}"/>
              </a:ext>
            </a:extLst>
          </p:cNvPr>
          <p:cNvSpPr>
            <a:spLocks noGrp="1"/>
          </p:cNvSpPr>
          <p:nvPr>
            <p:ph type="dt" sz="half" idx="10"/>
          </p:nvPr>
        </p:nvSpPr>
        <p:spPr/>
        <p:txBody>
          <a:bodyPr/>
          <a:lstStyle/>
          <a:p>
            <a:fld id="{87D83E36-9F37-404A-95A6-9BA245F490EB}" type="datetimeFigureOut">
              <a:rPr lang="en-IN" smtClean="0"/>
              <a:t>09-09-2023</a:t>
            </a:fld>
            <a:endParaRPr lang="en-IN"/>
          </a:p>
        </p:txBody>
      </p:sp>
      <p:sp>
        <p:nvSpPr>
          <p:cNvPr id="6" name="Footer Placeholder 5">
            <a:extLst>
              <a:ext uri="{FF2B5EF4-FFF2-40B4-BE49-F238E27FC236}">
                <a16:creationId xmlns:a16="http://schemas.microsoft.com/office/drawing/2014/main" id="{4675C3D3-A8B8-6DF3-F93C-C454DB9ADD7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E6EAB4C2-CE8C-AE9D-153D-14CEB500639D}"/>
              </a:ext>
            </a:extLst>
          </p:cNvPr>
          <p:cNvSpPr>
            <a:spLocks noGrp="1"/>
          </p:cNvSpPr>
          <p:nvPr>
            <p:ph type="sldNum" sz="quarter" idx="12"/>
          </p:nvPr>
        </p:nvSpPr>
        <p:spPr/>
        <p:txBody>
          <a:bodyPr/>
          <a:lstStyle/>
          <a:p>
            <a:fld id="{C3B1290E-90F2-496A-A4DF-6BB0DB28A9AB}" type="slidenum">
              <a:rPr lang="en-IN" smtClean="0"/>
              <a:t>‹#›</a:t>
            </a:fld>
            <a:endParaRPr lang="en-IN"/>
          </a:p>
        </p:txBody>
      </p:sp>
    </p:spTree>
    <p:extLst>
      <p:ext uri="{BB962C8B-B14F-4D97-AF65-F5344CB8AC3E}">
        <p14:creationId xmlns:p14="http://schemas.microsoft.com/office/powerpoint/2010/main" val="222969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52.xml"/><Relationship Id="rId7" Type="http://schemas.openxmlformats.org/officeDocument/2006/relationships/image" Target="../media/image8.emf"/><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oleObject" Target="../embeddings/oleObject1.bin"/><Relationship Id="rId5" Type="http://schemas.openxmlformats.org/officeDocument/2006/relationships/tags" Target="../tags/tag1.xml"/><Relationship Id="rId10" Type="http://schemas.openxmlformats.org/officeDocument/2006/relationships/image" Target="../media/image11.svg"/><Relationship Id="rId4" Type="http://schemas.openxmlformats.org/officeDocument/2006/relationships/theme" Target="../theme/theme3.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27A421-B29E-BB14-984F-1929D6A49B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4068949-C801-BE5D-CE9C-F6F4EF1C6D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27D107D-A5A4-5127-A262-DFB66B76818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D83E36-9F37-404A-95A6-9BA245F490EB}" type="datetimeFigureOut">
              <a:rPr lang="en-IN" smtClean="0"/>
              <a:t>09-09-2023</a:t>
            </a:fld>
            <a:endParaRPr lang="en-IN"/>
          </a:p>
        </p:txBody>
      </p:sp>
      <p:sp>
        <p:nvSpPr>
          <p:cNvPr id="5" name="Footer Placeholder 4">
            <a:extLst>
              <a:ext uri="{FF2B5EF4-FFF2-40B4-BE49-F238E27FC236}">
                <a16:creationId xmlns:a16="http://schemas.microsoft.com/office/drawing/2014/main" id="{2043DF7D-2445-0569-8E80-A406B2C876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639C9341-7B32-D44C-D075-F272029AB7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B1290E-90F2-496A-A4DF-6BB0DB28A9AB}" type="slidenum">
              <a:rPr lang="en-IN" smtClean="0"/>
              <a:t>‹#›</a:t>
            </a:fld>
            <a:endParaRPr lang="en-IN"/>
          </a:p>
        </p:txBody>
      </p:sp>
    </p:spTree>
    <p:extLst>
      <p:ext uri="{BB962C8B-B14F-4D97-AF65-F5344CB8AC3E}">
        <p14:creationId xmlns:p14="http://schemas.microsoft.com/office/powerpoint/2010/main" val="33612069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Date Placeholder 1">
            <a:extLst>
              <a:ext uri="{FF2B5EF4-FFF2-40B4-BE49-F238E27FC236}">
                <a16:creationId xmlns:a16="http://schemas.microsoft.com/office/drawing/2014/main" id="{3E9075B3-954F-4542-99DC-9D38337796E8}"/>
              </a:ext>
            </a:extLst>
          </p:cNvPr>
          <p:cNvSpPr txBox="1">
            <a:spLocks/>
          </p:cNvSpPr>
          <p:nvPr userDrawn="1"/>
        </p:nvSpPr>
        <p:spPr>
          <a:xfrm>
            <a:off x="2473054" y="6471244"/>
            <a:ext cx="119063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7DBDBB20-DA7B-4EA8-9594-84A1D3A4EA29}" type="datetime3">
              <a:rPr lang="en-US" sz="900" smtClean="0">
                <a:latin typeface="EYInterstate Light" panose="02000506000000020004" pitchFamily="2" charset="0"/>
              </a:rPr>
              <a:t>9 September 2023</a:t>
            </a:fld>
            <a:endParaRPr lang="en-IN" sz="900" dirty="0">
              <a:latin typeface="EYInterstate Light" panose="02000506000000020004" pitchFamily="2" charset="0"/>
            </a:endParaRPr>
          </a:p>
        </p:txBody>
      </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900" dirty="0">
                <a:latin typeface="EYInterstate Light" panose="02000506000000020004" pitchFamily="2" charset="0"/>
              </a:rPr>
              <a:t>Page </a:t>
            </a:r>
            <a:fld id="{D5B76411-544C-4F9A-8EDE-9EEB2BD21F95}" type="slidenum">
              <a:rPr lang="en-IN" sz="900" smtClean="0">
                <a:latin typeface="EYInterstate Light" panose="02000506000000020004" pitchFamily="2" charset="0"/>
              </a:rPr>
              <a:t>‹#›</a:t>
            </a:fld>
            <a:endParaRPr sz="900" dirty="0">
              <a:latin typeface="EYInterstate Light" panose="02000506000000020004" pitchFamily="2" charset="0"/>
            </a:endParaRPr>
          </a:p>
        </p:txBody>
      </p:sp>
      <p:cxnSp>
        <p:nvCxnSpPr>
          <p:cNvPr id="6" name="Straight Connector 5">
            <a:extLst>
              <a:ext uri="{FF2B5EF4-FFF2-40B4-BE49-F238E27FC236}">
                <a16:creationId xmlns:a16="http://schemas.microsoft.com/office/drawing/2014/main" id="{E3C2EB70-C9E8-47A0-8BC5-9AF7BE24E93A}"/>
              </a:ext>
            </a:extLst>
          </p:cNvPr>
          <p:cNvCxnSpPr>
            <a:cxnSpLocks/>
          </p:cNvCxnSpPr>
          <p:nvPr userDrawn="1"/>
        </p:nvCxnSpPr>
        <p:spPr>
          <a:xfrm>
            <a:off x="0" y="875327"/>
            <a:ext cx="12192000"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3A7340D-CBA5-431A-BD73-14B63E6CAA51}"/>
              </a:ext>
            </a:extLst>
          </p:cNvPr>
          <p:cNvCxnSpPr>
            <a:cxnSpLocks/>
          </p:cNvCxnSpPr>
          <p:nvPr userDrawn="1"/>
        </p:nvCxnSpPr>
        <p:spPr>
          <a:xfrm>
            <a:off x="0" y="6209532"/>
            <a:ext cx="12192000"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5" name="Date Placeholder 1">
            <a:extLst>
              <a:ext uri="{FF2B5EF4-FFF2-40B4-BE49-F238E27FC236}">
                <a16:creationId xmlns:a16="http://schemas.microsoft.com/office/drawing/2014/main" id="{8BB70F42-ECD8-42FF-B0FC-E188086AFF4E}"/>
              </a:ext>
            </a:extLst>
          </p:cNvPr>
          <p:cNvSpPr txBox="1">
            <a:spLocks/>
          </p:cNvSpPr>
          <p:nvPr userDrawn="1"/>
        </p:nvSpPr>
        <p:spPr>
          <a:xfrm>
            <a:off x="4864742" y="6471244"/>
            <a:ext cx="2475210" cy="186732"/>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dirty="0">
                <a:latin typeface="EYInterstate Light" panose="02000506000000020004" pitchFamily="2" charset="0"/>
              </a:rPr>
              <a:t>Business Impact Analysis</a:t>
            </a:r>
            <a:endParaRPr lang="en-IN" sz="900" dirty="0">
              <a:latin typeface="EYInterstate Light" panose="02000506000000020004" pitchFamily="2" charset="0"/>
            </a:endParaRPr>
          </a:p>
        </p:txBody>
      </p:sp>
    </p:spTree>
    <p:extLst>
      <p:ext uri="{BB962C8B-B14F-4D97-AF65-F5344CB8AC3E}">
        <p14:creationId xmlns:p14="http://schemas.microsoft.com/office/powerpoint/2010/main" val="140359252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E3B8D0-42D5-4EEB-A56E-F53B49C619E3}"/>
              </a:ext>
            </a:extLst>
          </p:cNvPr>
          <p:cNvGraphicFramePr>
            <a:graphicFrameLocks noChangeAspect="1"/>
          </p:cNvGraphicFramePr>
          <p:nvPr userDrawn="1">
            <p:custDataLst>
              <p:tags r:id="rId5"/>
            </p:custDataLst>
            <p:extLst>
              <p:ext uri="{D42A27DB-BD31-4B8C-83A1-F6EECF244321}">
                <p14:modId xmlns:p14="http://schemas.microsoft.com/office/powerpoint/2010/main" val="192532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C9E3B8D0-42D5-4EEB-A56E-F53B49C619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descr="A close-up of a computer screen&#10;&#10;Description automatically generated with low confidence">
            <a:extLst>
              <a:ext uri="{FF2B5EF4-FFF2-40B4-BE49-F238E27FC236}">
                <a16:creationId xmlns:a16="http://schemas.microsoft.com/office/drawing/2014/main" id="{F0DE4AFB-96B0-4504-B608-29A6CC13FDAA}"/>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flipH="1">
            <a:off x="879" y="-1"/>
            <a:ext cx="12187947" cy="6860281"/>
          </a:xfrm>
          <a:prstGeom prst="rect">
            <a:avLst/>
          </a:prstGeom>
        </p:spPr>
      </p:pic>
      <p:sp>
        <p:nvSpPr>
          <p:cNvPr id="15" name="Rectangle 14">
            <a:extLst>
              <a:ext uri="{FF2B5EF4-FFF2-40B4-BE49-F238E27FC236}">
                <a16:creationId xmlns:a16="http://schemas.microsoft.com/office/drawing/2014/main" id="{C8815B62-5D46-481D-A507-E32100C5CAA3}"/>
              </a:ext>
            </a:extLst>
          </p:cNvPr>
          <p:cNvSpPr/>
          <p:nvPr userDrawn="1"/>
        </p:nvSpPr>
        <p:spPr>
          <a:xfrm>
            <a:off x="-10772" y="1"/>
            <a:ext cx="12206823" cy="7858124"/>
          </a:xfrm>
          <a:prstGeom prst="rect">
            <a:avLst/>
          </a:prstGeom>
          <a:gradFill flip="none" rotWithShape="1">
            <a:gsLst>
              <a:gs pos="0">
                <a:schemeClr val="bg2">
                  <a:alpha val="96000"/>
                </a:schemeClr>
              </a:gs>
              <a:gs pos="100000">
                <a:schemeClr val="bg2">
                  <a:alpha val="41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a:extLst>
              <a:ext uri="{FF2B5EF4-FFF2-40B4-BE49-F238E27FC236}">
                <a16:creationId xmlns:a16="http://schemas.microsoft.com/office/drawing/2014/main" id="{893934D1-0276-470C-BDD4-F53D203DF601}"/>
              </a:ext>
            </a:extLst>
          </p:cNvPr>
          <p:cNvSpPr/>
          <p:nvPr userDrawn="1"/>
        </p:nvSpPr>
        <p:spPr>
          <a:xfrm>
            <a:off x="-10772" y="1084082"/>
            <a:ext cx="12202772" cy="5776198"/>
          </a:xfrm>
          <a:prstGeom prst="rect">
            <a:avLst/>
          </a:prstGeom>
          <a:solidFill>
            <a:schemeClr val="tx1">
              <a:alpha val="9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24" name="Slide Number Placeholder 4">
            <a:extLst>
              <a:ext uri="{FF2B5EF4-FFF2-40B4-BE49-F238E27FC236}">
                <a16:creationId xmlns:a16="http://schemas.microsoft.com/office/drawing/2014/main" id="{E59D4E9C-D280-4A0D-B23D-22954AB0CEC9}"/>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cxnSp>
        <p:nvCxnSpPr>
          <p:cNvPr id="8" name="Straight Connector 7">
            <a:extLst>
              <a:ext uri="{FF2B5EF4-FFF2-40B4-BE49-F238E27FC236}">
                <a16:creationId xmlns:a16="http://schemas.microsoft.com/office/drawing/2014/main" id="{B3199D12-3DA4-4467-B6A8-E9BE535DDB98}"/>
              </a:ext>
            </a:extLst>
          </p:cNvPr>
          <p:cNvCxnSpPr/>
          <p:nvPr userDrawn="1"/>
        </p:nvCxnSpPr>
        <p:spPr>
          <a:xfrm>
            <a:off x="0" y="1084082"/>
            <a:ext cx="12192000"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dirty="0"/>
              <a:t>Click to edit Master title style</a:t>
            </a:r>
            <a:endParaRPr lang="en-GB" dirty="0"/>
          </a:p>
        </p:txBody>
      </p:sp>
      <p:grpSp>
        <p:nvGrpSpPr>
          <p:cNvPr id="155" name="Group 154">
            <a:extLst>
              <a:ext uri="{FF2B5EF4-FFF2-40B4-BE49-F238E27FC236}">
                <a16:creationId xmlns:a16="http://schemas.microsoft.com/office/drawing/2014/main" id="{2170BFA0-8440-4CE8-A5FE-35D6A955D763}"/>
              </a:ext>
            </a:extLst>
          </p:cNvPr>
          <p:cNvGrpSpPr/>
          <p:nvPr userDrawn="1"/>
        </p:nvGrpSpPr>
        <p:grpSpPr>
          <a:xfrm flipH="1" flipV="1">
            <a:off x="11775469" y="1091533"/>
            <a:ext cx="427284" cy="428243"/>
            <a:chOff x="-10777" y="395386"/>
            <a:chExt cx="679396" cy="680566"/>
          </a:xfrm>
        </p:grpSpPr>
        <p:sp>
          <p:nvSpPr>
            <p:cNvPr id="28" name="Freeform: Shape 27">
              <a:extLst>
                <a:ext uri="{FF2B5EF4-FFF2-40B4-BE49-F238E27FC236}">
                  <a16:creationId xmlns:a16="http://schemas.microsoft.com/office/drawing/2014/main" id="{57078060-37D6-4B67-91FB-862E49F8F172}"/>
                </a:ext>
              </a:extLst>
            </p:cNvPr>
            <p:cNvSpPr/>
            <p:nvPr userDrawn="1"/>
          </p:nvSpPr>
          <p:spPr>
            <a:xfrm rot="16200000">
              <a:off x="160894" y="568228"/>
              <a:ext cx="336053" cy="679396"/>
            </a:xfrm>
            <a:custGeom>
              <a:avLst/>
              <a:gdLst>
                <a:gd name="connsiteX0" fmla="*/ 0 w 336053"/>
                <a:gd name="connsiteY0" fmla="*/ 0 h 679396"/>
                <a:gd name="connsiteX1" fmla="*/ 64489 w 336053"/>
                <a:gd name="connsiteY1" fmla="*/ 6501 h 679396"/>
                <a:gd name="connsiteX2" fmla="*/ 336053 w 336053"/>
                <a:gd name="connsiteY2" fmla="*/ 339698 h 679396"/>
                <a:gd name="connsiteX3" fmla="*/ 64489 w 336053"/>
                <a:gd name="connsiteY3" fmla="*/ 672895 h 679396"/>
                <a:gd name="connsiteX4" fmla="*/ 0 w 336053"/>
                <a:gd name="connsiteY4" fmla="*/ 679396 h 679396"/>
                <a:gd name="connsiteX5" fmla="*/ 0 w 336053"/>
                <a:gd name="connsiteY5" fmla="*/ 569195 h 679396"/>
                <a:gd name="connsiteX6" fmla="*/ 42280 w 336053"/>
                <a:gd name="connsiteY6" fmla="*/ 564933 h 679396"/>
                <a:gd name="connsiteX7" fmla="*/ 225852 w 336053"/>
                <a:gd name="connsiteY7" fmla="*/ 339698 h 679396"/>
                <a:gd name="connsiteX8" fmla="*/ 42280 w 336053"/>
                <a:gd name="connsiteY8" fmla="*/ 114463 h 679396"/>
                <a:gd name="connsiteX9" fmla="*/ 0 w 336053"/>
                <a:gd name="connsiteY9" fmla="*/ 110201 h 67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053" h="679396">
                  <a:moveTo>
                    <a:pt x="0" y="0"/>
                  </a:moveTo>
                  <a:lnTo>
                    <a:pt x="64489" y="6501"/>
                  </a:lnTo>
                  <a:cubicBezTo>
                    <a:pt x="219471" y="38214"/>
                    <a:pt x="336053" y="175342"/>
                    <a:pt x="336053" y="339698"/>
                  </a:cubicBezTo>
                  <a:cubicBezTo>
                    <a:pt x="336053" y="504055"/>
                    <a:pt x="219471" y="641182"/>
                    <a:pt x="64489" y="672895"/>
                  </a:cubicBezTo>
                  <a:lnTo>
                    <a:pt x="0" y="679396"/>
                  </a:lnTo>
                  <a:lnTo>
                    <a:pt x="0" y="569195"/>
                  </a:lnTo>
                  <a:lnTo>
                    <a:pt x="42280" y="564933"/>
                  </a:lnTo>
                  <a:cubicBezTo>
                    <a:pt x="147045" y="543495"/>
                    <a:pt x="225852" y="450800"/>
                    <a:pt x="225852" y="339698"/>
                  </a:cubicBezTo>
                  <a:cubicBezTo>
                    <a:pt x="225852" y="228596"/>
                    <a:pt x="147045" y="135901"/>
                    <a:pt x="42280" y="114463"/>
                  </a:cubicBezTo>
                  <a:lnTo>
                    <a:pt x="0" y="110201"/>
                  </a:lnTo>
                  <a:close/>
                </a:path>
              </a:pathLst>
            </a:custGeom>
            <a:solidFill>
              <a:schemeClr val="bg1">
                <a:alpha val="6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US" sz="1199" dirty="0">
                <a:solidFill>
                  <a:schemeClr val="tx1"/>
                </a:solidFill>
              </a:endParaRPr>
            </a:p>
          </p:txBody>
        </p:sp>
        <p:sp>
          <p:nvSpPr>
            <p:cNvPr id="27" name="Freeform: Shape 26">
              <a:extLst>
                <a:ext uri="{FF2B5EF4-FFF2-40B4-BE49-F238E27FC236}">
                  <a16:creationId xmlns:a16="http://schemas.microsoft.com/office/drawing/2014/main" id="{8A1FA3C3-F58B-4FFA-ADEB-3DABDC872E75}"/>
                </a:ext>
              </a:extLst>
            </p:cNvPr>
            <p:cNvSpPr/>
            <p:nvPr userDrawn="1"/>
          </p:nvSpPr>
          <p:spPr>
            <a:xfrm>
              <a:off x="4118" y="395386"/>
              <a:ext cx="423572" cy="680214"/>
            </a:xfrm>
            <a:custGeom>
              <a:avLst/>
              <a:gdLst>
                <a:gd name="connsiteX0" fmla="*/ 83465 w 423572"/>
                <a:gd name="connsiteY0" fmla="*/ 0 h 680214"/>
                <a:gd name="connsiteX1" fmla="*/ 423572 w 423572"/>
                <a:gd name="connsiteY1" fmla="*/ 340107 h 680214"/>
                <a:gd name="connsiteX2" fmla="*/ 83465 w 423572"/>
                <a:gd name="connsiteY2" fmla="*/ 680214 h 680214"/>
                <a:gd name="connsiteX3" fmla="*/ 14922 w 423572"/>
                <a:gd name="connsiteY3" fmla="*/ 673304 h 680214"/>
                <a:gd name="connsiteX4" fmla="*/ 0 w 423572"/>
                <a:gd name="connsiteY4" fmla="*/ 668672 h 680214"/>
                <a:gd name="connsiteX5" fmla="*/ 0 w 423572"/>
                <a:gd name="connsiteY5" fmla="*/ 553162 h 680214"/>
                <a:gd name="connsiteX6" fmla="*/ 83465 w 423572"/>
                <a:gd name="connsiteY6" fmla="*/ 570013 h 680214"/>
                <a:gd name="connsiteX7" fmla="*/ 313371 w 423572"/>
                <a:gd name="connsiteY7" fmla="*/ 340107 h 680214"/>
                <a:gd name="connsiteX8" fmla="*/ 83465 w 423572"/>
                <a:gd name="connsiteY8" fmla="*/ 110201 h 680214"/>
                <a:gd name="connsiteX9" fmla="*/ 0 w 423572"/>
                <a:gd name="connsiteY9" fmla="*/ 127052 h 680214"/>
                <a:gd name="connsiteX10" fmla="*/ 0 w 423572"/>
                <a:gd name="connsiteY10" fmla="*/ 11542 h 680214"/>
                <a:gd name="connsiteX11" fmla="*/ 14922 w 423572"/>
                <a:gd name="connsiteY11" fmla="*/ 6910 h 680214"/>
                <a:gd name="connsiteX12" fmla="*/ 83465 w 423572"/>
                <a:gd name="connsiteY12" fmla="*/ 0 h 68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3572" h="680214">
                  <a:moveTo>
                    <a:pt x="83465" y="0"/>
                  </a:moveTo>
                  <a:cubicBezTo>
                    <a:pt x="271301" y="0"/>
                    <a:pt x="423572" y="152271"/>
                    <a:pt x="423572" y="340107"/>
                  </a:cubicBezTo>
                  <a:cubicBezTo>
                    <a:pt x="423572" y="527943"/>
                    <a:pt x="271301" y="680214"/>
                    <a:pt x="83465" y="680214"/>
                  </a:cubicBezTo>
                  <a:cubicBezTo>
                    <a:pt x="59985" y="680214"/>
                    <a:pt x="37062" y="677835"/>
                    <a:pt x="14922" y="673304"/>
                  </a:cubicBezTo>
                  <a:lnTo>
                    <a:pt x="0" y="668672"/>
                  </a:lnTo>
                  <a:lnTo>
                    <a:pt x="0" y="553162"/>
                  </a:lnTo>
                  <a:lnTo>
                    <a:pt x="83465" y="570013"/>
                  </a:lnTo>
                  <a:cubicBezTo>
                    <a:pt x="210439" y="570013"/>
                    <a:pt x="313371" y="467081"/>
                    <a:pt x="313371" y="340107"/>
                  </a:cubicBezTo>
                  <a:cubicBezTo>
                    <a:pt x="313371" y="213133"/>
                    <a:pt x="210439" y="110201"/>
                    <a:pt x="83465" y="110201"/>
                  </a:cubicBezTo>
                  <a:lnTo>
                    <a:pt x="0" y="127052"/>
                  </a:lnTo>
                  <a:lnTo>
                    <a:pt x="0" y="11542"/>
                  </a:lnTo>
                  <a:lnTo>
                    <a:pt x="14922" y="6910"/>
                  </a:lnTo>
                  <a:cubicBezTo>
                    <a:pt x="37062" y="2379"/>
                    <a:pt x="59985" y="0"/>
                    <a:pt x="83465" y="0"/>
                  </a:cubicBezTo>
                  <a:close/>
                </a:path>
              </a:pathLst>
            </a:custGeom>
            <a:solidFill>
              <a:schemeClr val="tx2">
                <a:alpha val="6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rtl="0"/>
              <a:endParaRPr lang="en-US" sz="1199" dirty="0">
                <a:solidFill>
                  <a:schemeClr val="tx1"/>
                </a:solidFill>
              </a:endParaRPr>
            </a:p>
          </p:txBody>
        </p:sp>
      </p:grpSp>
      <p:grpSp>
        <p:nvGrpSpPr>
          <p:cNvPr id="162" name="Group 161">
            <a:extLst>
              <a:ext uri="{FF2B5EF4-FFF2-40B4-BE49-F238E27FC236}">
                <a16:creationId xmlns:a16="http://schemas.microsoft.com/office/drawing/2014/main" id="{8B656559-2DD3-481C-863C-5B06C78E78C3}"/>
              </a:ext>
            </a:extLst>
          </p:cNvPr>
          <p:cNvGrpSpPr/>
          <p:nvPr userDrawn="1"/>
        </p:nvGrpSpPr>
        <p:grpSpPr>
          <a:xfrm>
            <a:off x="10998706" y="97168"/>
            <a:ext cx="1103211" cy="843722"/>
            <a:chOff x="11004434" y="97168"/>
            <a:chExt cx="1103786" cy="843722"/>
          </a:xfrm>
        </p:grpSpPr>
        <p:sp>
          <p:nvSpPr>
            <p:cNvPr id="23" name="Circle: Hollow 22">
              <a:extLst>
                <a:ext uri="{FF2B5EF4-FFF2-40B4-BE49-F238E27FC236}">
                  <a16:creationId xmlns:a16="http://schemas.microsoft.com/office/drawing/2014/main" id="{D84B1493-0514-4CDE-B3D8-CAEFB6BA8AB1}"/>
                </a:ext>
              </a:extLst>
            </p:cNvPr>
            <p:cNvSpPr/>
            <p:nvPr userDrawn="1"/>
          </p:nvSpPr>
          <p:spPr>
            <a:xfrm>
              <a:off x="11004434" y="260676"/>
              <a:ext cx="680214" cy="680214"/>
            </a:xfrm>
            <a:prstGeom prst="donut">
              <a:avLst>
                <a:gd name="adj" fmla="val 11306"/>
              </a:avLst>
            </a:prstGeom>
            <a:solidFill>
              <a:schemeClr val="tx1">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US" sz="1199" dirty="0">
                <a:solidFill>
                  <a:schemeClr val="tx1"/>
                </a:solidFill>
              </a:endParaRPr>
            </a:p>
          </p:txBody>
        </p:sp>
        <p:sp>
          <p:nvSpPr>
            <p:cNvPr id="14" name="Circle: Hollow 13">
              <a:extLst>
                <a:ext uri="{FF2B5EF4-FFF2-40B4-BE49-F238E27FC236}">
                  <a16:creationId xmlns:a16="http://schemas.microsoft.com/office/drawing/2014/main" id="{1F239BEC-0854-4A46-9019-F677676A27A1}"/>
                </a:ext>
              </a:extLst>
            </p:cNvPr>
            <p:cNvSpPr/>
            <p:nvPr userDrawn="1"/>
          </p:nvSpPr>
          <p:spPr>
            <a:xfrm>
              <a:off x="11433228" y="97168"/>
              <a:ext cx="674992" cy="674992"/>
            </a:xfrm>
            <a:prstGeom prst="donut">
              <a:avLst>
                <a:gd name="adj" fmla="val 11237"/>
              </a:avLst>
            </a:prstGeom>
            <a:solidFill>
              <a:schemeClr val="tx2">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150" name="Oval 149">
              <a:extLst>
                <a:ext uri="{FF2B5EF4-FFF2-40B4-BE49-F238E27FC236}">
                  <a16:creationId xmlns:a16="http://schemas.microsoft.com/office/drawing/2014/main" id="{F47E0392-870C-4C6A-B195-E0FB32966957}"/>
                </a:ext>
              </a:extLst>
            </p:cNvPr>
            <p:cNvSpPr/>
            <p:nvPr userDrawn="1"/>
          </p:nvSpPr>
          <p:spPr>
            <a:xfrm>
              <a:off x="11125466" y="381708"/>
              <a:ext cx="438150" cy="438150"/>
            </a:xfrm>
            <a:prstGeom prst="ellipse">
              <a:avLst/>
            </a:prstGeom>
            <a:solidFill>
              <a:schemeClr val="tx2">
                <a:alpha val="4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US" sz="1199" dirty="0">
                <a:solidFill>
                  <a:schemeClr val="tx1"/>
                </a:solidFill>
              </a:endParaRPr>
            </a:p>
          </p:txBody>
        </p:sp>
        <p:sp>
          <p:nvSpPr>
            <p:cNvPr id="151" name="Oval 150">
              <a:extLst>
                <a:ext uri="{FF2B5EF4-FFF2-40B4-BE49-F238E27FC236}">
                  <a16:creationId xmlns:a16="http://schemas.microsoft.com/office/drawing/2014/main" id="{C01E5354-D510-4657-8027-A31404F4DE63}"/>
                </a:ext>
              </a:extLst>
            </p:cNvPr>
            <p:cNvSpPr/>
            <p:nvPr userDrawn="1"/>
          </p:nvSpPr>
          <p:spPr>
            <a:xfrm>
              <a:off x="11551649" y="215589"/>
              <a:ext cx="438150" cy="438150"/>
            </a:xfrm>
            <a:prstGeom prst="ellipse">
              <a:avLst/>
            </a:prstGeom>
            <a:solidFill>
              <a:schemeClr val="tx1">
                <a:alpha val="4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US" sz="1199" dirty="0">
                <a:solidFill>
                  <a:schemeClr val="tx1"/>
                </a:solidFill>
              </a:endParaRPr>
            </a:p>
          </p:txBody>
        </p:sp>
        <p:sp>
          <p:nvSpPr>
            <p:cNvPr id="77" name="Freeform: Shape 76">
              <a:extLst>
                <a:ext uri="{FF2B5EF4-FFF2-40B4-BE49-F238E27FC236}">
                  <a16:creationId xmlns:a16="http://schemas.microsoft.com/office/drawing/2014/main" id="{17FCB02C-C97C-4B8E-BD60-9CA15680E31E}"/>
                </a:ext>
              </a:extLst>
            </p:cNvPr>
            <p:cNvSpPr/>
            <p:nvPr/>
          </p:nvSpPr>
          <p:spPr>
            <a:xfrm>
              <a:off x="11685213" y="251315"/>
              <a:ext cx="268735" cy="326237"/>
            </a:xfrm>
            <a:custGeom>
              <a:avLst/>
              <a:gdLst>
                <a:gd name="connsiteX0" fmla="*/ 2387047 w 2794330"/>
                <a:gd name="connsiteY0" fmla="*/ 1177578 h 3392239"/>
                <a:gd name="connsiteX1" fmla="*/ 2205154 w 2794330"/>
                <a:gd name="connsiteY1" fmla="*/ 1156181 h 3392239"/>
                <a:gd name="connsiteX2" fmla="*/ 1648791 w 2794330"/>
                <a:gd name="connsiteY2" fmla="*/ 599818 h 3392239"/>
                <a:gd name="connsiteX3" fmla="*/ 1627394 w 2794330"/>
                <a:gd name="connsiteY3" fmla="*/ 417925 h 3392239"/>
                <a:gd name="connsiteX4" fmla="*/ 2387033 w 2794330"/>
                <a:gd name="connsiteY4" fmla="*/ 1177564 h 3392239"/>
                <a:gd name="connsiteX5" fmla="*/ 2451242 w 2794330"/>
                <a:gd name="connsiteY5" fmla="*/ 353745 h 3392239"/>
                <a:gd name="connsiteX6" fmla="*/ 2793601 w 2794330"/>
                <a:gd name="connsiteY6" fmla="*/ 1220332 h 3392239"/>
                <a:gd name="connsiteX7" fmla="*/ 2590312 w 2794330"/>
                <a:gd name="connsiteY7" fmla="*/ 1198934 h 3392239"/>
                <a:gd name="connsiteX8" fmla="*/ 1606025 w 2794330"/>
                <a:gd name="connsiteY8" fmla="*/ 214648 h 3392239"/>
                <a:gd name="connsiteX9" fmla="*/ 1573916 w 2794330"/>
                <a:gd name="connsiteY9" fmla="*/ 670 h 3392239"/>
                <a:gd name="connsiteX10" fmla="*/ 2451255 w 2794330"/>
                <a:gd name="connsiteY10" fmla="*/ 353743 h 3392239"/>
                <a:gd name="connsiteX11" fmla="*/ 332841 w 2794330"/>
                <a:gd name="connsiteY11" fmla="*/ 2472146 h 3392239"/>
                <a:gd name="connsiteX12" fmla="*/ 343552 w 2794330"/>
                <a:gd name="connsiteY12" fmla="*/ 578392 h 3392239"/>
                <a:gd name="connsiteX13" fmla="*/ 1563237 w 2794330"/>
                <a:gd name="connsiteY13" fmla="*/ 813766 h 3392239"/>
                <a:gd name="connsiteX14" fmla="*/ 1402740 w 2794330"/>
                <a:gd name="connsiteY14" fmla="*/ 942154 h 3392239"/>
                <a:gd name="connsiteX15" fmla="*/ 546778 w 2794330"/>
                <a:gd name="connsiteY15" fmla="*/ 770974 h 3392239"/>
                <a:gd name="connsiteX16" fmla="*/ 921247 w 2794330"/>
                <a:gd name="connsiteY16" fmla="*/ 1883648 h 3392239"/>
                <a:gd name="connsiteX17" fmla="*/ 2033921 w 2794330"/>
                <a:gd name="connsiteY17" fmla="*/ 2258117 h 3392239"/>
                <a:gd name="connsiteX18" fmla="*/ 1862741 w 2794330"/>
                <a:gd name="connsiteY18" fmla="*/ 1402155 h 3392239"/>
                <a:gd name="connsiteX19" fmla="*/ 1991129 w 2794330"/>
                <a:gd name="connsiteY19" fmla="*/ 1241658 h 3392239"/>
                <a:gd name="connsiteX20" fmla="*/ 2226503 w 2794330"/>
                <a:gd name="connsiteY20" fmla="*/ 2450655 h 3392239"/>
                <a:gd name="connsiteX21" fmla="*/ 332749 w 2794330"/>
                <a:gd name="connsiteY21" fmla="*/ 2472053 h 3392239"/>
                <a:gd name="connsiteX22" fmla="*/ 1980507 w 2794330"/>
                <a:gd name="connsiteY22" fmla="*/ 3392238 h 3392239"/>
                <a:gd name="connsiteX23" fmla="*/ 193764 w 2794330"/>
                <a:gd name="connsiteY23" fmla="*/ 3392238 h 3392239"/>
                <a:gd name="connsiteX24" fmla="*/ 675225 w 2794330"/>
                <a:gd name="connsiteY24" fmla="*/ 2835876 h 3392239"/>
                <a:gd name="connsiteX25" fmla="*/ 1627446 w 2794330"/>
                <a:gd name="connsiteY25" fmla="*/ 2889383 h 3392239"/>
                <a:gd name="connsiteX26" fmla="*/ 1980520 w 2794330"/>
                <a:gd name="connsiteY26" fmla="*/ 3392240 h 3392239"/>
                <a:gd name="connsiteX27" fmla="*/ 1798613 w 2794330"/>
                <a:gd name="connsiteY27" fmla="*/ 1231020 h 3392239"/>
                <a:gd name="connsiteX28" fmla="*/ 1627434 w 2794330"/>
                <a:gd name="connsiteY28" fmla="*/ 1402200 h 3392239"/>
                <a:gd name="connsiteX29" fmla="*/ 1573927 w 2794330"/>
                <a:gd name="connsiteY29" fmla="*/ 1434309 h 3392239"/>
                <a:gd name="connsiteX30" fmla="*/ 1573927 w 2794330"/>
                <a:gd name="connsiteY30" fmla="*/ 1947880 h 3392239"/>
                <a:gd name="connsiteX31" fmla="*/ 1445539 w 2794330"/>
                <a:gd name="connsiteY31" fmla="*/ 1947880 h 3392239"/>
                <a:gd name="connsiteX32" fmla="*/ 1445539 w 2794330"/>
                <a:gd name="connsiteY32" fmla="*/ 1434309 h 3392239"/>
                <a:gd name="connsiteX33" fmla="*/ 1370638 w 2794330"/>
                <a:gd name="connsiteY33" fmla="*/ 1359408 h 3392239"/>
                <a:gd name="connsiteX34" fmla="*/ 846385 w 2794330"/>
                <a:gd name="connsiteY34" fmla="*/ 1359408 h 3392239"/>
                <a:gd name="connsiteX35" fmla="*/ 846385 w 2794330"/>
                <a:gd name="connsiteY35" fmla="*/ 1220312 h 3392239"/>
                <a:gd name="connsiteX36" fmla="*/ 1359955 w 2794330"/>
                <a:gd name="connsiteY36" fmla="*/ 1220312 h 3392239"/>
                <a:gd name="connsiteX37" fmla="*/ 1402751 w 2794330"/>
                <a:gd name="connsiteY37" fmla="*/ 1177517 h 3392239"/>
                <a:gd name="connsiteX38" fmla="*/ 1563249 w 2794330"/>
                <a:gd name="connsiteY38" fmla="*/ 1006337 h 3392239"/>
                <a:gd name="connsiteX39" fmla="*/ 1798622 w 2794330"/>
                <a:gd name="connsiteY39" fmla="*/ 1231022 h 339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94330" h="3392239">
                  <a:moveTo>
                    <a:pt x="2387047" y="1177578"/>
                  </a:moveTo>
                  <a:lnTo>
                    <a:pt x="2205154" y="1156181"/>
                  </a:lnTo>
                  <a:cubicBezTo>
                    <a:pt x="2183756" y="856613"/>
                    <a:pt x="1948385" y="621214"/>
                    <a:pt x="1648791" y="599818"/>
                  </a:cubicBezTo>
                  <a:lnTo>
                    <a:pt x="1627394" y="417925"/>
                  </a:lnTo>
                  <a:cubicBezTo>
                    <a:pt x="2044661" y="417925"/>
                    <a:pt x="2387033" y="760284"/>
                    <a:pt x="2387033" y="1177564"/>
                  </a:cubicBezTo>
                  <a:close/>
                  <a:moveTo>
                    <a:pt x="2451242" y="353745"/>
                  </a:moveTo>
                  <a:cubicBezTo>
                    <a:pt x="2697329" y="589119"/>
                    <a:pt x="2804315" y="910108"/>
                    <a:pt x="2793601" y="1220332"/>
                  </a:cubicBezTo>
                  <a:lnTo>
                    <a:pt x="2590312" y="1198934"/>
                  </a:lnTo>
                  <a:cubicBezTo>
                    <a:pt x="2590312" y="653279"/>
                    <a:pt x="2151648" y="203959"/>
                    <a:pt x="1606025" y="214648"/>
                  </a:cubicBezTo>
                  <a:lnTo>
                    <a:pt x="1573916" y="670"/>
                  </a:lnTo>
                  <a:cubicBezTo>
                    <a:pt x="1894880" y="-10041"/>
                    <a:pt x="2215856" y="107656"/>
                    <a:pt x="2451255" y="353743"/>
                  </a:cubicBezTo>
                  <a:close/>
                  <a:moveTo>
                    <a:pt x="332841" y="2472146"/>
                  </a:moveTo>
                  <a:cubicBezTo>
                    <a:pt x="-212815" y="1905095"/>
                    <a:pt x="1163" y="942179"/>
                    <a:pt x="343552" y="578392"/>
                  </a:cubicBezTo>
                  <a:cubicBezTo>
                    <a:pt x="578925" y="332305"/>
                    <a:pt x="1092503" y="450004"/>
                    <a:pt x="1563237" y="813766"/>
                  </a:cubicBezTo>
                  <a:cubicBezTo>
                    <a:pt x="1488336" y="845875"/>
                    <a:pt x="1456251" y="877960"/>
                    <a:pt x="1402740" y="942154"/>
                  </a:cubicBezTo>
                  <a:cubicBezTo>
                    <a:pt x="1060380" y="685384"/>
                    <a:pt x="707294" y="610477"/>
                    <a:pt x="546778" y="770974"/>
                  </a:cubicBezTo>
                  <a:cubicBezTo>
                    <a:pt x="343488" y="974264"/>
                    <a:pt x="514668" y="1466419"/>
                    <a:pt x="921247" y="1883648"/>
                  </a:cubicBezTo>
                  <a:cubicBezTo>
                    <a:pt x="1338514" y="2290202"/>
                    <a:pt x="1830651" y="2461407"/>
                    <a:pt x="2033921" y="2258117"/>
                  </a:cubicBezTo>
                  <a:cubicBezTo>
                    <a:pt x="2194419" y="2097620"/>
                    <a:pt x="2108822" y="1744547"/>
                    <a:pt x="1862741" y="1402155"/>
                  </a:cubicBezTo>
                  <a:cubicBezTo>
                    <a:pt x="1916248" y="1348649"/>
                    <a:pt x="1959045" y="1305852"/>
                    <a:pt x="1991129" y="1241658"/>
                  </a:cubicBezTo>
                  <a:cubicBezTo>
                    <a:pt x="2354891" y="1712405"/>
                    <a:pt x="2472590" y="2225944"/>
                    <a:pt x="2226503" y="2450655"/>
                  </a:cubicBezTo>
                  <a:cubicBezTo>
                    <a:pt x="1862741" y="2803728"/>
                    <a:pt x="889118" y="3017706"/>
                    <a:pt x="332749" y="2472053"/>
                  </a:cubicBezTo>
                  <a:close/>
                  <a:moveTo>
                    <a:pt x="1980507" y="3392238"/>
                  </a:moveTo>
                  <a:lnTo>
                    <a:pt x="193764" y="3392238"/>
                  </a:lnTo>
                  <a:cubicBezTo>
                    <a:pt x="193764" y="3114067"/>
                    <a:pt x="407742" y="2921491"/>
                    <a:pt x="675225" y="2835876"/>
                  </a:cubicBezTo>
                  <a:cubicBezTo>
                    <a:pt x="974793" y="2953575"/>
                    <a:pt x="1306470" y="2953575"/>
                    <a:pt x="1627446" y="2889383"/>
                  </a:cubicBezTo>
                  <a:cubicBezTo>
                    <a:pt x="1830736" y="2985686"/>
                    <a:pt x="1980520" y="3156866"/>
                    <a:pt x="1980520" y="3392240"/>
                  </a:cubicBezTo>
                  <a:close/>
                  <a:moveTo>
                    <a:pt x="1798613" y="1231020"/>
                  </a:moveTo>
                  <a:lnTo>
                    <a:pt x="1627434" y="1402200"/>
                  </a:lnTo>
                  <a:cubicBezTo>
                    <a:pt x="1616722" y="1412911"/>
                    <a:pt x="1595325" y="1434309"/>
                    <a:pt x="1573927" y="1434309"/>
                  </a:cubicBezTo>
                  <a:lnTo>
                    <a:pt x="1573927" y="1947880"/>
                  </a:lnTo>
                  <a:lnTo>
                    <a:pt x="1445539" y="1947880"/>
                  </a:lnTo>
                  <a:lnTo>
                    <a:pt x="1445539" y="1434309"/>
                  </a:lnTo>
                  <a:cubicBezTo>
                    <a:pt x="1413430" y="1412911"/>
                    <a:pt x="1392032" y="1391514"/>
                    <a:pt x="1370638" y="1359408"/>
                  </a:cubicBezTo>
                  <a:lnTo>
                    <a:pt x="846385" y="1359408"/>
                  </a:lnTo>
                  <a:lnTo>
                    <a:pt x="846385" y="1220312"/>
                  </a:lnTo>
                  <a:lnTo>
                    <a:pt x="1359955" y="1220312"/>
                  </a:lnTo>
                  <a:cubicBezTo>
                    <a:pt x="1370667" y="1209601"/>
                    <a:pt x="1381353" y="1188203"/>
                    <a:pt x="1402751" y="1177517"/>
                  </a:cubicBezTo>
                  <a:lnTo>
                    <a:pt x="1563249" y="1006337"/>
                  </a:lnTo>
                  <a:cubicBezTo>
                    <a:pt x="1713032" y="856553"/>
                    <a:pt x="1948406" y="1081238"/>
                    <a:pt x="1798622" y="1231022"/>
                  </a:cubicBezTo>
                  <a:close/>
                </a:path>
              </a:pathLst>
            </a:custGeom>
            <a:solidFill>
              <a:schemeClr val="tx1"/>
            </a:solidFill>
            <a:ln w="6355" cap="flat">
              <a:noFill/>
              <a:prstDash val="solid"/>
              <a:miter/>
            </a:ln>
          </p:spPr>
          <p:txBody>
            <a:bodyPr rtlCol="0" anchor="ctr"/>
            <a:lstStyle/>
            <a:p>
              <a:endParaRPr lang="en-US" sz="1799" dirty="0"/>
            </a:p>
          </p:txBody>
        </p:sp>
        <p:pic>
          <p:nvPicPr>
            <p:cNvPr id="154" name="Graphic 153">
              <a:extLst>
                <a:ext uri="{FF2B5EF4-FFF2-40B4-BE49-F238E27FC236}">
                  <a16:creationId xmlns:a16="http://schemas.microsoft.com/office/drawing/2014/main" id="{AAEA6532-2C8B-45AA-BBBA-3B2D9DBFF4E1}"/>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072032" y="411957"/>
              <a:ext cx="438150" cy="438150"/>
            </a:xfrm>
            <a:prstGeom prst="rect">
              <a:avLst/>
            </a:prstGeom>
          </p:spPr>
        </p:pic>
      </p:grpSp>
      <p:grpSp>
        <p:nvGrpSpPr>
          <p:cNvPr id="159" name="Group 158">
            <a:extLst>
              <a:ext uri="{FF2B5EF4-FFF2-40B4-BE49-F238E27FC236}">
                <a16:creationId xmlns:a16="http://schemas.microsoft.com/office/drawing/2014/main" id="{F0FD54F8-8717-479A-A35C-381E4D7DDF46}"/>
              </a:ext>
            </a:extLst>
          </p:cNvPr>
          <p:cNvGrpSpPr/>
          <p:nvPr userDrawn="1"/>
        </p:nvGrpSpPr>
        <p:grpSpPr>
          <a:xfrm>
            <a:off x="-24761" y="396066"/>
            <a:ext cx="679042" cy="680566"/>
            <a:chOff x="-10777" y="395386"/>
            <a:chExt cx="679396" cy="680566"/>
          </a:xfrm>
        </p:grpSpPr>
        <p:sp>
          <p:nvSpPr>
            <p:cNvPr id="160" name="Freeform: Shape 159">
              <a:extLst>
                <a:ext uri="{FF2B5EF4-FFF2-40B4-BE49-F238E27FC236}">
                  <a16:creationId xmlns:a16="http://schemas.microsoft.com/office/drawing/2014/main" id="{28A0BFB6-AD7B-486E-A7C2-07CFBF609345}"/>
                </a:ext>
              </a:extLst>
            </p:cNvPr>
            <p:cNvSpPr/>
            <p:nvPr userDrawn="1"/>
          </p:nvSpPr>
          <p:spPr>
            <a:xfrm rot="16200000">
              <a:off x="160894" y="568228"/>
              <a:ext cx="336053" cy="679396"/>
            </a:xfrm>
            <a:custGeom>
              <a:avLst/>
              <a:gdLst>
                <a:gd name="connsiteX0" fmla="*/ 0 w 336053"/>
                <a:gd name="connsiteY0" fmla="*/ 0 h 679396"/>
                <a:gd name="connsiteX1" fmla="*/ 64489 w 336053"/>
                <a:gd name="connsiteY1" fmla="*/ 6501 h 679396"/>
                <a:gd name="connsiteX2" fmla="*/ 336053 w 336053"/>
                <a:gd name="connsiteY2" fmla="*/ 339698 h 679396"/>
                <a:gd name="connsiteX3" fmla="*/ 64489 w 336053"/>
                <a:gd name="connsiteY3" fmla="*/ 672895 h 679396"/>
                <a:gd name="connsiteX4" fmla="*/ 0 w 336053"/>
                <a:gd name="connsiteY4" fmla="*/ 679396 h 679396"/>
                <a:gd name="connsiteX5" fmla="*/ 0 w 336053"/>
                <a:gd name="connsiteY5" fmla="*/ 569195 h 679396"/>
                <a:gd name="connsiteX6" fmla="*/ 42280 w 336053"/>
                <a:gd name="connsiteY6" fmla="*/ 564933 h 679396"/>
                <a:gd name="connsiteX7" fmla="*/ 225852 w 336053"/>
                <a:gd name="connsiteY7" fmla="*/ 339698 h 679396"/>
                <a:gd name="connsiteX8" fmla="*/ 42280 w 336053"/>
                <a:gd name="connsiteY8" fmla="*/ 114463 h 679396"/>
                <a:gd name="connsiteX9" fmla="*/ 0 w 336053"/>
                <a:gd name="connsiteY9" fmla="*/ 110201 h 67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053" h="679396">
                  <a:moveTo>
                    <a:pt x="0" y="0"/>
                  </a:moveTo>
                  <a:lnTo>
                    <a:pt x="64489" y="6501"/>
                  </a:lnTo>
                  <a:cubicBezTo>
                    <a:pt x="219471" y="38214"/>
                    <a:pt x="336053" y="175342"/>
                    <a:pt x="336053" y="339698"/>
                  </a:cubicBezTo>
                  <a:cubicBezTo>
                    <a:pt x="336053" y="504055"/>
                    <a:pt x="219471" y="641182"/>
                    <a:pt x="64489" y="672895"/>
                  </a:cubicBezTo>
                  <a:lnTo>
                    <a:pt x="0" y="679396"/>
                  </a:lnTo>
                  <a:lnTo>
                    <a:pt x="0" y="569195"/>
                  </a:lnTo>
                  <a:lnTo>
                    <a:pt x="42280" y="564933"/>
                  </a:lnTo>
                  <a:cubicBezTo>
                    <a:pt x="147045" y="543495"/>
                    <a:pt x="225852" y="450800"/>
                    <a:pt x="225852" y="339698"/>
                  </a:cubicBezTo>
                  <a:cubicBezTo>
                    <a:pt x="225852" y="228596"/>
                    <a:pt x="147045" y="135901"/>
                    <a:pt x="42280" y="114463"/>
                  </a:cubicBezTo>
                  <a:lnTo>
                    <a:pt x="0" y="110201"/>
                  </a:lnTo>
                  <a:close/>
                </a:path>
              </a:pathLst>
            </a:custGeom>
            <a:solidFill>
              <a:schemeClr val="tx1">
                <a:alpha val="6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US" sz="1199" dirty="0">
                <a:solidFill>
                  <a:schemeClr val="tx1"/>
                </a:solidFill>
              </a:endParaRPr>
            </a:p>
          </p:txBody>
        </p:sp>
        <p:sp>
          <p:nvSpPr>
            <p:cNvPr id="161" name="Freeform: Shape 160">
              <a:extLst>
                <a:ext uri="{FF2B5EF4-FFF2-40B4-BE49-F238E27FC236}">
                  <a16:creationId xmlns:a16="http://schemas.microsoft.com/office/drawing/2014/main" id="{D9660031-9991-4B4F-BE34-0F483396FBE9}"/>
                </a:ext>
              </a:extLst>
            </p:cNvPr>
            <p:cNvSpPr/>
            <p:nvPr userDrawn="1"/>
          </p:nvSpPr>
          <p:spPr>
            <a:xfrm>
              <a:off x="4118" y="395386"/>
              <a:ext cx="423572" cy="680214"/>
            </a:xfrm>
            <a:custGeom>
              <a:avLst/>
              <a:gdLst>
                <a:gd name="connsiteX0" fmla="*/ 83465 w 423572"/>
                <a:gd name="connsiteY0" fmla="*/ 0 h 680214"/>
                <a:gd name="connsiteX1" fmla="*/ 423572 w 423572"/>
                <a:gd name="connsiteY1" fmla="*/ 340107 h 680214"/>
                <a:gd name="connsiteX2" fmla="*/ 83465 w 423572"/>
                <a:gd name="connsiteY2" fmla="*/ 680214 h 680214"/>
                <a:gd name="connsiteX3" fmla="*/ 14922 w 423572"/>
                <a:gd name="connsiteY3" fmla="*/ 673304 h 680214"/>
                <a:gd name="connsiteX4" fmla="*/ 0 w 423572"/>
                <a:gd name="connsiteY4" fmla="*/ 668672 h 680214"/>
                <a:gd name="connsiteX5" fmla="*/ 0 w 423572"/>
                <a:gd name="connsiteY5" fmla="*/ 553162 h 680214"/>
                <a:gd name="connsiteX6" fmla="*/ 83465 w 423572"/>
                <a:gd name="connsiteY6" fmla="*/ 570013 h 680214"/>
                <a:gd name="connsiteX7" fmla="*/ 313371 w 423572"/>
                <a:gd name="connsiteY7" fmla="*/ 340107 h 680214"/>
                <a:gd name="connsiteX8" fmla="*/ 83465 w 423572"/>
                <a:gd name="connsiteY8" fmla="*/ 110201 h 680214"/>
                <a:gd name="connsiteX9" fmla="*/ 0 w 423572"/>
                <a:gd name="connsiteY9" fmla="*/ 127052 h 680214"/>
                <a:gd name="connsiteX10" fmla="*/ 0 w 423572"/>
                <a:gd name="connsiteY10" fmla="*/ 11542 h 680214"/>
                <a:gd name="connsiteX11" fmla="*/ 14922 w 423572"/>
                <a:gd name="connsiteY11" fmla="*/ 6910 h 680214"/>
                <a:gd name="connsiteX12" fmla="*/ 83465 w 423572"/>
                <a:gd name="connsiteY12" fmla="*/ 0 h 68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3572" h="680214">
                  <a:moveTo>
                    <a:pt x="83465" y="0"/>
                  </a:moveTo>
                  <a:cubicBezTo>
                    <a:pt x="271301" y="0"/>
                    <a:pt x="423572" y="152271"/>
                    <a:pt x="423572" y="340107"/>
                  </a:cubicBezTo>
                  <a:cubicBezTo>
                    <a:pt x="423572" y="527943"/>
                    <a:pt x="271301" y="680214"/>
                    <a:pt x="83465" y="680214"/>
                  </a:cubicBezTo>
                  <a:cubicBezTo>
                    <a:pt x="59985" y="680214"/>
                    <a:pt x="37062" y="677835"/>
                    <a:pt x="14922" y="673304"/>
                  </a:cubicBezTo>
                  <a:lnTo>
                    <a:pt x="0" y="668672"/>
                  </a:lnTo>
                  <a:lnTo>
                    <a:pt x="0" y="553162"/>
                  </a:lnTo>
                  <a:lnTo>
                    <a:pt x="83465" y="570013"/>
                  </a:lnTo>
                  <a:cubicBezTo>
                    <a:pt x="210439" y="570013"/>
                    <a:pt x="313371" y="467081"/>
                    <a:pt x="313371" y="340107"/>
                  </a:cubicBezTo>
                  <a:cubicBezTo>
                    <a:pt x="313371" y="213133"/>
                    <a:pt x="210439" y="110201"/>
                    <a:pt x="83465" y="110201"/>
                  </a:cubicBezTo>
                  <a:lnTo>
                    <a:pt x="0" y="127052"/>
                  </a:lnTo>
                  <a:lnTo>
                    <a:pt x="0" y="11542"/>
                  </a:lnTo>
                  <a:lnTo>
                    <a:pt x="14922" y="6910"/>
                  </a:lnTo>
                  <a:cubicBezTo>
                    <a:pt x="37062" y="2379"/>
                    <a:pt x="59985" y="0"/>
                    <a:pt x="83465" y="0"/>
                  </a:cubicBezTo>
                  <a:close/>
                </a:path>
              </a:pathLst>
            </a:custGeom>
            <a:solidFill>
              <a:schemeClr val="tx2">
                <a:alpha val="6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rtl="0"/>
              <a:endParaRPr lang="en-US" sz="1199" dirty="0">
                <a:solidFill>
                  <a:schemeClr val="tx1"/>
                </a:solidFill>
              </a:endParaRPr>
            </a:p>
          </p:txBody>
        </p:sp>
      </p:grpSp>
    </p:spTree>
    <p:extLst>
      <p:ext uri="{BB962C8B-B14F-4D97-AF65-F5344CB8AC3E}">
        <p14:creationId xmlns:p14="http://schemas.microsoft.com/office/powerpoint/2010/main" val="282816121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Lst>
  <p:hf hdr="0"/>
  <p:txStyles>
    <p:titleStyle>
      <a:lvl1pPr algn="l" defTabSz="913943" rtl="0" eaLnBrk="1" latinLnBrk="0" hangingPunct="1">
        <a:lnSpc>
          <a:spcPct val="85000"/>
        </a:lnSpc>
        <a:spcBef>
          <a:spcPct val="0"/>
        </a:spcBef>
        <a:buNone/>
        <a:defRPr sz="2399" b="0" kern="1200">
          <a:solidFill>
            <a:schemeClr val="tx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2">
          <p15:clr>
            <a:srgbClr val="F26B43"/>
          </p15:clr>
        </p15:guide>
        <p15:guide id="3" pos="384">
          <p15:clr>
            <a:srgbClr val="F26B43"/>
          </p15:clr>
        </p15:guide>
        <p15:guide id="4" pos="7302">
          <p15:clr>
            <a:srgbClr val="F26B43"/>
          </p15:clr>
        </p15:guide>
        <p15:guide id="5" orient="horz" pos="712">
          <p15:clr>
            <a:srgbClr val="F26B43"/>
          </p15:clr>
        </p15:guide>
        <p15:guide id="6" orient="horz" pos="3840">
          <p15:clr>
            <a:srgbClr val="F26B43"/>
          </p15:clr>
        </p15:guide>
        <p15:guide id="7" orient="horz" pos="4199">
          <p15:clr>
            <a:srgbClr val="F26B43"/>
          </p15:clr>
        </p15:guide>
        <p15:guide id="8" orient="horz" pos="173">
          <p15:clr>
            <a:srgbClr val="F26B43"/>
          </p15:clr>
        </p15:guide>
        <p15:guide id="9" orient="horz" pos="399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17.jp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44.xml"/><Relationship Id="rId5" Type="http://schemas.openxmlformats.org/officeDocument/2006/relationships/image" Target="../media/image22.jpe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4.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8E8417-AEED-4597-981F-0A98662069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
            <a:ext cx="12192000" cy="6932095"/>
          </a:xfrm>
          <a:prstGeom prst="rect">
            <a:avLst/>
          </a:prstGeom>
        </p:spPr>
      </p:pic>
      <p:sp>
        <p:nvSpPr>
          <p:cNvPr id="15" name="Freeform 56">
            <a:extLst>
              <a:ext uri="{FF2B5EF4-FFF2-40B4-BE49-F238E27FC236}">
                <a16:creationId xmlns:a16="http://schemas.microsoft.com/office/drawing/2014/main" id="{76D87692-132F-4E51-8693-88F7B6A2A0E3}"/>
              </a:ext>
            </a:extLst>
          </p:cNvPr>
          <p:cNvSpPr/>
          <p:nvPr/>
        </p:nvSpPr>
        <p:spPr>
          <a:xfrm>
            <a:off x="567678" y="1070691"/>
            <a:ext cx="5528321" cy="3034996"/>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0727D7A-C1AE-4114-9541-85CA7D2AFE0F}"/>
              </a:ext>
            </a:extLst>
          </p:cNvPr>
          <p:cNvSpPr>
            <a:spLocks noGrp="1"/>
          </p:cNvSpPr>
          <p:nvPr>
            <p:ph type="ctrTitle"/>
          </p:nvPr>
        </p:nvSpPr>
        <p:spPr>
          <a:xfrm>
            <a:off x="689586" y="2025842"/>
            <a:ext cx="5873774" cy="1403157"/>
          </a:xfrm>
        </p:spPr>
        <p:txBody>
          <a:bodyPr/>
          <a:lstStyle/>
          <a:p>
            <a:pPr>
              <a:lnSpc>
                <a:spcPct val="150000"/>
              </a:lnSpc>
              <a:spcBef>
                <a:spcPts val="600"/>
              </a:spcBef>
              <a:spcAft>
                <a:spcPts val="600"/>
              </a:spcAft>
            </a:pPr>
            <a:r>
              <a:rPr lang="en-US" sz="2800" b="1" dirty="0">
                <a:solidFill>
                  <a:schemeClr val="tx1"/>
                </a:solidFill>
              </a:rPr>
              <a:t>Unit 4</a:t>
            </a:r>
            <a:br>
              <a:rPr lang="en-US" sz="2800" b="1" dirty="0">
                <a:solidFill>
                  <a:schemeClr val="tx1"/>
                </a:solidFill>
              </a:rPr>
            </a:br>
            <a:r>
              <a:rPr lang="en-US" sz="2800" b="1" dirty="0">
                <a:solidFill>
                  <a:schemeClr val="tx1"/>
                </a:solidFill>
              </a:rPr>
              <a:t>Business Impact Analysis </a:t>
            </a:r>
            <a:endParaRPr lang="en-IN" sz="2800" b="1" dirty="0">
              <a:solidFill>
                <a:schemeClr val="tx1"/>
              </a:solidFill>
            </a:endParaRPr>
          </a:p>
        </p:txBody>
      </p:sp>
      <p:sp>
        <p:nvSpPr>
          <p:cNvPr id="14" name="Subtitle 2">
            <a:extLst>
              <a:ext uri="{FF2B5EF4-FFF2-40B4-BE49-F238E27FC236}">
                <a16:creationId xmlns:a16="http://schemas.microsoft.com/office/drawing/2014/main" id="{4C55B967-15C0-411A-BA1F-DE53F916E9D5}"/>
              </a:ext>
            </a:extLst>
          </p:cNvPr>
          <p:cNvSpPr txBox="1">
            <a:spLocks/>
          </p:cNvSpPr>
          <p:nvPr/>
        </p:nvSpPr>
        <p:spPr>
          <a:xfrm>
            <a:off x="4523875" y="3743324"/>
            <a:ext cx="1700431" cy="198734"/>
          </a:xfrm>
          <a:prstGeom prst="rect">
            <a:avLst/>
          </a:prstGeom>
        </p:spPr>
        <p:txBody>
          <a:bodyPr vert="horz" lIns="0" tIns="0" rIns="0" bIns="0" rtlCol="0" anchor="t" anchorCtr="0">
            <a:noAutofit/>
          </a:bodyPr>
          <a:lstStyle>
            <a:lvl1pPr marL="0" indent="0" algn="l" defTabSz="914400" rtl="0" eaLnBrk="1" latinLnBrk="0" hangingPunct="1">
              <a:spcBef>
                <a:spcPct val="20000"/>
              </a:spcBef>
              <a:spcAft>
                <a:spcPts val="1200"/>
              </a:spcAft>
              <a:buClr>
                <a:schemeClr val="tx2"/>
              </a:buClr>
              <a:buSzPct val="70000"/>
              <a:buFont typeface="Arial" pitchFamily="34" charset="0"/>
              <a:buNone/>
              <a:defRPr sz="2000" kern="1200">
                <a:solidFill>
                  <a:schemeClr val="tx1"/>
                </a:solidFill>
                <a:latin typeface="EYInterstate" panose="02000503020000020004" pitchFamily="2" charset="0"/>
                <a:ea typeface="+mn-ea"/>
                <a:cs typeface="Arial" pitchFamily="34" charset="0"/>
              </a:defRPr>
            </a:lvl1pPr>
            <a:lvl2pPr marL="0" indent="0" algn="l" defTabSz="914400" rtl="0" eaLnBrk="1" latinLnBrk="0" hangingPunct="1">
              <a:spcBef>
                <a:spcPct val="20000"/>
              </a:spcBef>
              <a:buClr>
                <a:schemeClr val="tx2"/>
              </a:buClr>
              <a:buSzPct val="70000"/>
              <a:buFont typeface="Arial" pitchFamily="34" charset="0"/>
              <a:buNone/>
              <a:defRPr sz="1600" b="1" kern="1200">
                <a:solidFill>
                  <a:srgbClr val="404040"/>
                </a:solidFill>
                <a:latin typeface="EYInterstate Light" panose="02000506000000020004" pitchFamily="2" charset="0"/>
                <a:ea typeface="+mn-ea"/>
                <a:cs typeface="+mn-cs"/>
              </a:defRPr>
            </a:lvl2pPr>
            <a:lvl3pPr marL="914400" indent="0" algn="ctr" defTabSz="914400" rtl="0" eaLnBrk="1" latinLnBrk="0" hangingPunct="1">
              <a:spcBef>
                <a:spcPct val="20000"/>
              </a:spcBef>
              <a:buClr>
                <a:schemeClr val="tx2"/>
              </a:buClr>
              <a:buSzPct val="70000"/>
              <a:buFont typeface="Arial" pitchFamily="34" charset="0"/>
              <a:buNone/>
              <a:defRPr sz="1600" kern="1200">
                <a:solidFill>
                  <a:schemeClr val="tx1">
                    <a:tint val="75000"/>
                  </a:schemeClr>
                </a:solidFill>
                <a:latin typeface="EYInterstate Light" panose="02000506000000020004" pitchFamily="2" charset="0"/>
                <a:ea typeface="+mn-ea"/>
                <a:cs typeface="+mn-cs"/>
              </a:defRPr>
            </a:lvl3pPr>
            <a:lvl4pPr marL="1371600" indent="0" algn="ctr" defTabSz="914400" rtl="0" eaLnBrk="1" latinLnBrk="0" hangingPunct="1">
              <a:spcBef>
                <a:spcPct val="20000"/>
              </a:spcBef>
              <a:buClr>
                <a:schemeClr val="tx2"/>
              </a:buClr>
              <a:buSzPct val="70000"/>
              <a:buFont typeface="Arial" pitchFamily="34" charset="0"/>
              <a:buNone/>
              <a:defRPr sz="1400" kern="1200">
                <a:solidFill>
                  <a:schemeClr val="tx1">
                    <a:tint val="75000"/>
                  </a:schemeClr>
                </a:solidFill>
                <a:latin typeface="EYInterstate Light" panose="02000506000000020004" pitchFamily="2" charset="0"/>
                <a:ea typeface="+mn-ea"/>
                <a:cs typeface="+mn-cs"/>
              </a:defRPr>
            </a:lvl4pPr>
            <a:lvl5pPr marL="1828800" indent="0" algn="ctr" defTabSz="914400" rtl="0" eaLnBrk="1" latinLnBrk="0" hangingPunct="1">
              <a:spcBef>
                <a:spcPct val="20000"/>
              </a:spcBef>
              <a:buClr>
                <a:schemeClr val="tx2"/>
              </a:buClr>
              <a:buSzPct val="70000"/>
              <a:buFont typeface="Arial" pitchFamily="34" charset="0"/>
              <a:buNone/>
              <a:defRPr sz="1200" kern="1200">
                <a:solidFill>
                  <a:schemeClr val="tx1">
                    <a:tint val="75000"/>
                  </a:schemeClr>
                </a:solidFill>
                <a:latin typeface="EYInterstate Light" panose="02000506000000020004" pitchFamily="2"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lvl="1">
              <a:lnSpc>
                <a:spcPct val="160000"/>
              </a:lnSpc>
              <a:spcBef>
                <a:spcPts val="600"/>
              </a:spcBef>
              <a:spcAft>
                <a:spcPts val="600"/>
              </a:spcAft>
            </a:pPr>
            <a:r>
              <a:rPr lang="en-GB" sz="1400" dirty="0">
                <a:solidFill>
                  <a:schemeClr val="tx1"/>
                </a:solidFill>
                <a:ea typeface="+mj-ea"/>
                <a:cs typeface="Arial" pitchFamily="34" charset="0"/>
              </a:rPr>
              <a:t>September 2023</a:t>
            </a:r>
          </a:p>
        </p:txBody>
      </p:sp>
    </p:spTree>
    <p:extLst>
      <p:ext uri="{BB962C8B-B14F-4D97-AF65-F5344CB8AC3E}">
        <p14:creationId xmlns:p14="http://schemas.microsoft.com/office/powerpoint/2010/main" val="39984909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994091E-296F-FE4D-766C-89802AE41C39}"/>
              </a:ext>
            </a:extLst>
          </p:cNvPr>
          <p:cNvSpPr txBox="1"/>
          <p:nvPr/>
        </p:nvSpPr>
        <p:spPr>
          <a:xfrm>
            <a:off x="376463" y="223520"/>
            <a:ext cx="11205938"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3600" dirty="0">
                <a:solidFill>
                  <a:schemeClr val="bg1"/>
                </a:solidFill>
              </a:rPr>
              <a:t>Terminologies used across the presentation</a:t>
            </a:r>
          </a:p>
        </p:txBody>
      </p:sp>
      <p:sp>
        <p:nvSpPr>
          <p:cNvPr id="66" name="TextBox 65">
            <a:extLst>
              <a:ext uri="{FF2B5EF4-FFF2-40B4-BE49-F238E27FC236}">
                <a16:creationId xmlns:a16="http://schemas.microsoft.com/office/drawing/2014/main" id="{36011373-3816-5129-36A8-2DFBDE265C08}"/>
              </a:ext>
            </a:extLst>
          </p:cNvPr>
          <p:cNvSpPr txBox="1"/>
          <p:nvPr/>
        </p:nvSpPr>
        <p:spPr>
          <a:xfrm>
            <a:off x="886749" y="1813785"/>
            <a:ext cx="2749811" cy="655244"/>
          </a:xfrm>
          <a:prstGeom prst="rect">
            <a:avLst/>
          </a:prstGeom>
          <a:noFill/>
        </p:spPr>
        <p:txBody>
          <a:bodyPr wrap="square" rtlCol="0">
            <a:spAutoFit/>
          </a:bodyPr>
          <a:lstStyle/>
          <a:p>
            <a:pPr marL="0" marR="0" lvl="0" indent="0" algn="r" defTabSz="914400" eaLnBrk="1" fontAlgn="auto" latinLnBrk="0" hangingPunct="1">
              <a:lnSpc>
                <a:spcPct val="114000"/>
              </a:lnSpc>
              <a:spcBef>
                <a:spcPts val="0"/>
              </a:spcBef>
              <a:spcAft>
                <a:spcPts val="0"/>
              </a:spcAft>
              <a:buClrTx/>
              <a:buSzTx/>
              <a:buFontTx/>
              <a:buNone/>
              <a:tabLst/>
              <a:defRPr/>
            </a:pPr>
            <a:r>
              <a:rPr kumimoji="0" lang="en-IN" sz="1100" b="0" i="0" u="none" strike="noStrike" kern="0" cap="none" spc="0" normalizeH="0" baseline="0" noProof="0" dirty="0">
                <a:ln>
                  <a:noFill/>
                </a:ln>
                <a:solidFill>
                  <a:schemeClr val="bg1"/>
                </a:solidFill>
                <a:effectLst/>
                <a:uLnTx/>
                <a:uFillTx/>
                <a:latin typeface="EYInterstate Light" panose="02000506000000020004" pitchFamily="2" charset="0"/>
              </a:rPr>
              <a:t>Business Units and corporate departments / support functions assessed as part of the project</a:t>
            </a:r>
            <a:endParaRPr kumimoji="0" lang="en-US" sz="11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67" name="Rectangle 66">
            <a:extLst>
              <a:ext uri="{FF2B5EF4-FFF2-40B4-BE49-F238E27FC236}">
                <a16:creationId xmlns:a16="http://schemas.microsoft.com/office/drawing/2014/main" id="{6976CFF6-A721-1C1B-BF5F-95CF60745DCE}"/>
              </a:ext>
            </a:extLst>
          </p:cNvPr>
          <p:cNvSpPr/>
          <p:nvPr/>
        </p:nvSpPr>
        <p:spPr>
          <a:xfrm>
            <a:off x="3920027" y="1605370"/>
            <a:ext cx="2100387" cy="1289284"/>
          </a:xfrm>
          <a:prstGeom prst="rect">
            <a:avLst/>
          </a:prstGeom>
          <a:solidFill>
            <a:srgbClr val="1499D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68" name="Rectangle 67">
            <a:extLst>
              <a:ext uri="{FF2B5EF4-FFF2-40B4-BE49-F238E27FC236}">
                <a16:creationId xmlns:a16="http://schemas.microsoft.com/office/drawing/2014/main" id="{DAA5E9AB-F77F-1904-235F-12E95A04A40C}"/>
              </a:ext>
            </a:extLst>
          </p:cNvPr>
          <p:cNvSpPr/>
          <p:nvPr/>
        </p:nvSpPr>
        <p:spPr>
          <a:xfrm>
            <a:off x="6475221" y="3853328"/>
            <a:ext cx="2100387" cy="1289284"/>
          </a:xfrm>
          <a:prstGeom prst="rect">
            <a:avLst/>
          </a:prstGeom>
          <a:solidFill>
            <a:srgbClr val="E64D2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69" name="Rectangle 68">
            <a:extLst>
              <a:ext uri="{FF2B5EF4-FFF2-40B4-BE49-F238E27FC236}">
                <a16:creationId xmlns:a16="http://schemas.microsoft.com/office/drawing/2014/main" id="{6DB132B1-58BE-12DE-2ED3-2AA1BBB48662}"/>
              </a:ext>
            </a:extLst>
          </p:cNvPr>
          <p:cNvSpPr/>
          <p:nvPr/>
        </p:nvSpPr>
        <p:spPr>
          <a:xfrm>
            <a:off x="6475219" y="1605370"/>
            <a:ext cx="2100387" cy="1289284"/>
          </a:xfrm>
          <a:prstGeom prst="rect">
            <a:avLst/>
          </a:prstGeom>
          <a:solidFill>
            <a:srgbClr val="E7830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70" name="Rectangle 69">
            <a:extLst>
              <a:ext uri="{FF2B5EF4-FFF2-40B4-BE49-F238E27FC236}">
                <a16:creationId xmlns:a16="http://schemas.microsoft.com/office/drawing/2014/main" id="{64EE56D8-604B-146B-62CE-66BE839CAB33}"/>
              </a:ext>
            </a:extLst>
          </p:cNvPr>
          <p:cNvSpPr/>
          <p:nvPr/>
        </p:nvSpPr>
        <p:spPr>
          <a:xfrm>
            <a:off x="3920027" y="3847634"/>
            <a:ext cx="2100387" cy="1289284"/>
          </a:xfrm>
          <a:prstGeom prst="rect">
            <a:avLst/>
          </a:prstGeom>
          <a:solidFill>
            <a:srgbClr val="9CCFF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1"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71" name="TextBox 70">
            <a:extLst>
              <a:ext uri="{FF2B5EF4-FFF2-40B4-BE49-F238E27FC236}">
                <a16:creationId xmlns:a16="http://schemas.microsoft.com/office/drawing/2014/main" id="{D699F8EA-8B85-3294-85F2-EAFE5AF2E393}"/>
              </a:ext>
            </a:extLst>
          </p:cNvPr>
          <p:cNvSpPr txBox="1"/>
          <p:nvPr/>
        </p:nvSpPr>
        <p:spPr>
          <a:xfrm>
            <a:off x="4189782" y="2008861"/>
            <a:ext cx="153975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schemeClr val="bg1"/>
                </a:solidFill>
                <a:effectLst/>
                <a:uLnTx/>
                <a:uFillTx/>
                <a:latin typeface="EYInterstate Light" panose="02000506000000020004" pitchFamily="2" charset="0"/>
              </a:rPr>
              <a:t>Departments</a:t>
            </a:r>
          </a:p>
        </p:txBody>
      </p:sp>
      <p:sp>
        <p:nvSpPr>
          <p:cNvPr id="72" name="TextBox 71">
            <a:extLst>
              <a:ext uri="{FF2B5EF4-FFF2-40B4-BE49-F238E27FC236}">
                <a16:creationId xmlns:a16="http://schemas.microsoft.com/office/drawing/2014/main" id="{AE427222-274D-3C5A-E989-3F8F32838331}"/>
              </a:ext>
            </a:extLst>
          </p:cNvPr>
          <p:cNvSpPr txBox="1"/>
          <p:nvPr/>
        </p:nvSpPr>
        <p:spPr>
          <a:xfrm>
            <a:off x="6756036" y="1605370"/>
            <a:ext cx="1539753"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schemeClr val="bg1"/>
                </a:solidFill>
                <a:effectLst/>
                <a:uLnTx/>
                <a:uFillTx/>
                <a:latin typeface="EYInterstate Light" panose="02000506000000020004" pitchFamily="2" charset="0"/>
              </a:rPr>
              <a:t>Sub-functions / business areas</a:t>
            </a:r>
          </a:p>
        </p:txBody>
      </p:sp>
      <p:sp>
        <p:nvSpPr>
          <p:cNvPr id="73" name="TextBox 72">
            <a:extLst>
              <a:ext uri="{FF2B5EF4-FFF2-40B4-BE49-F238E27FC236}">
                <a16:creationId xmlns:a16="http://schemas.microsoft.com/office/drawing/2014/main" id="{87E69D72-250A-6D9E-2EAD-4FC9C90D3493}"/>
              </a:ext>
            </a:extLst>
          </p:cNvPr>
          <p:cNvSpPr txBox="1"/>
          <p:nvPr/>
        </p:nvSpPr>
        <p:spPr>
          <a:xfrm>
            <a:off x="4189782" y="4140528"/>
            <a:ext cx="153975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schemeClr val="bg1"/>
                </a:solidFill>
                <a:effectLst/>
                <a:uLnTx/>
                <a:uFillTx/>
                <a:latin typeface="EYInterstate Light" panose="02000506000000020004" pitchFamily="2" charset="0"/>
              </a:rPr>
              <a:t>Cut-off risk scores</a:t>
            </a:r>
          </a:p>
        </p:txBody>
      </p:sp>
      <p:sp>
        <p:nvSpPr>
          <p:cNvPr id="74" name="TextBox 73">
            <a:extLst>
              <a:ext uri="{FF2B5EF4-FFF2-40B4-BE49-F238E27FC236}">
                <a16:creationId xmlns:a16="http://schemas.microsoft.com/office/drawing/2014/main" id="{20ECAD91-B7E5-6E02-44D2-5A4CE7D73B60}"/>
              </a:ext>
            </a:extLst>
          </p:cNvPr>
          <p:cNvSpPr txBox="1"/>
          <p:nvPr/>
        </p:nvSpPr>
        <p:spPr>
          <a:xfrm>
            <a:off x="6756036" y="4004660"/>
            <a:ext cx="1539753"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schemeClr val="bg1"/>
                </a:solidFill>
                <a:effectLst/>
                <a:uLnTx/>
                <a:uFillTx/>
                <a:latin typeface="EYInterstate Light" panose="02000506000000020004" pitchFamily="2" charset="0"/>
              </a:rPr>
              <a:t>Critical datasets /  Crown jewels</a:t>
            </a:r>
          </a:p>
        </p:txBody>
      </p:sp>
      <p:sp>
        <p:nvSpPr>
          <p:cNvPr id="75" name="TextBox 74">
            <a:extLst>
              <a:ext uri="{FF2B5EF4-FFF2-40B4-BE49-F238E27FC236}">
                <a16:creationId xmlns:a16="http://schemas.microsoft.com/office/drawing/2014/main" id="{072A9926-116D-6375-FB29-5A42BCF12874}"/>
              </a:ext>
            </a:extLst>
          </p:cNvPr>
          <p:cNvSpPr txBox="1"/>
          <p:nvPr/>
        </p:nvSpPr>
        <p:spPr>
          <a:xfrm>
            <a:off x="877119" y="4033807"/>
            <a:ext cx="2749811" cy="1041247"/>
          </a:xfrm>
          <a:prstGeom prst="rect">
            <a:avLst/>
          </a:prstGeom>
          <a:noFill/>
        </p:spPr>
        <p:txBody>
          <a:bodyPr wrap="square" rtlCol="0">
            <a:spAutoFit/>
          </a:bodyPr>
          <a:lstStyle/>
          <a:p>
            <a:pPr marL="0" marR="0" lvl="0" indent="0" algn="r" defTabSz="914400" eaLnBrk="1" fontAlgn="auto" latinLnBrk="0" hangingPunct="1">
              <a:lnSpc>
                <a:spcPct val="114000"/>
              </a:lnSpc>
              <a:spcBef>
                <a:spcPts val="0"/>
              </a:spcBef>
              <a:spcAft>
                <a:spcPts val="0"/>
              </a:spcAft>
              <a:buClrTx/>
              <a:buSzTx/>
              <a:buFontTx/>
              <a:buNone/>
              <a:tabLst/>
              <a:defRPr/>
            </a:pPr>
            <a:r>
              <a:rPr kumimoji="0" lang="en-IN" sz="1100" b="0" i="0" u="none" strike="noStrike" kern="0" cap="none" spc="0" normalizeH="0" baseline="0" noProof="0" dirty="0">
                <a:ln>
                  <a:noFill/>
                </a:ln>
                <a:solidFill>
                  <a:schemeClr val="bg1"/>
                </a:solidFill>
                <a:effectLst/>
                <a:uLnTx/>
                <a:uFillTx/>
                <a:latin typeface="EYInterstate Light" panose="02000506000000020004" pitchFamily="2" charset="0"/>
              </a:rPr>
              <a:t> Determines the threshold for identifying crown jewels. Datasets meeting or exceeding the cut-off risk scores for CIAP areas require enhanced data protection measures</a:t>
            </a:r>
            <a:endParaRPr kumimoji="0" lang="en-US" sz="11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76" name="TextBox 75">
            <a:extLst>
              <a:ext uri="{FF2B5EF4-FFF2-40B4-BE49-F238E27FC236}">
                <a16:creationId xmlns:a16="http://schemas.microsoft.com/office/drawing/2014/main" id="{AAEBACAD-B327-DCD0-390F-DD9A87D2F41B}"/>
              </a:ext>
            </a:extLst>
          </p:cNvPr>
          <p:cNvSpPr txBox="1"/>
          <p:nvPr/>
        </p:nvSpPr>
        <p:spPr>
          <a:xfrm>
            <a:off x="8918314" y="1709578"/>
            <a:ext cx="2749811" cy="706347"/>
          </a:xfrm>
          <a:prstGeom prst="rect">
            <a:avLst/>
          </a:prstGeom>
          <a:noFill/>
        </p:spPr>
        <p:txBody>
          <a:bodyPr wrap="square" rtlCol="0">
            <a:spAutoFit/>
          </a:bodyPr>
          <a:lstStyle/>
          <a:p>
            <a:pPr marL="0" marR="0" lvl="0" indent="0" defTabSz="914400" eaLnBrk="1" fontAlgn="auto" latinLnBrk="0" hangingPunct="1">
              <a:lnSpc>
                <a:spcPct val="114000"/>
              </a:lnSpc>
              <a:spcBef>
                <a:spcPts val="0"/>
              </a:spcBef>
              <a:spcAft>
                <a:spcPts val="0"/>
              </a:spcAft>
              <a:buClrTx/>
              <a:buSzTx/>
              <a:buFontTx/>
              <a:buNone/>
              <a:tabLst/>
              <a:defRPr/>
            </a:pPr>
            <a:r>
              <a:rPr kumimoji="0" lang="en-IN" sz="1200" b="0" i="0" u="none" strike="noStrike" kern="0" cap="none" spc="0" normalizeH="0" baseline="0" noProof="0" dirty="0">
                <a:ln>
                  <a:noFill/>
                </a:ln>
                <a:solidFill>
                  <a:schemeClr val="bg1"/>
                </a:solidFill>
                <a:effectLst/>
                <a:uLnTx/>
                <a:uFillTx/>
                <a:latin typeface="EYInterstate Light" panose="02000506000000020004" pitchFamily="2" charset="0"/>
              </a:rPr>
              <a:t>Sub-business processes / sub-functions within the departments assessed as part of the project</a:t>
            </a: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77" name="TextBox 76">
            <a:extLst>
              <a:ext uri="{FF2B5EF4-FFF2-40B4-BE49-F238E27FC236}">
                <a16:creationId xmlns:a16="http://schemas.microsoft.com/office/drawing/2014/main" id="{897F575A-0546-18B5-96B1-2CD9059CA715}"/>
              </a:ext>
            </a:extLst>
          </p:cNvPr>
          <p:cNvSpPr txBox="1"/>
          <p:nvPr/>
        </p:nvSpPr>
        <p:spPr>
          <a:xfrm>
            <a:off x="8908684" y="4065995"/>
            <a:ext cx="2749811" cy="706347"/>
          </a:xfrm>
          <a:prstGeom prst="rect">
            <a:avLst/>
          </a:prstGeom>
          <a:noFill/>
        </p:spPr>
        <p:txBody>
          <a:bodyPr wrap="square" rtlCol="0">
            <a:spAutoFit/>
          </a:bodyPr>
          <a:lstStyle/>
          <a:p>
            <a:pPr marL="0" marR="0" lvl="0" indent="0" defTabSz="914400" eaLnBrk="1" fontAlgn="auto" latinLnBrk="0" hangingPunct="1">
              <a:lnSpc>
                <a:spcPct val="114000"/>
              </a:lnSpc>
              <a:spcBef>
                <a:spcPts val="0"/>
              </a:spcBef>
              <a:spcAft>
                <a:spcPts val="0"/>
              </a:spcAft>
              <a:buClrTx/>
              <a:buSzTx/>
              <a:buFontTx/>
              <a:buNone/>
              <a:tabLst/>
              <a:defRPr/>
            </a:pPr>
            <a:r>
              <a:rPr kumimoji="0" lang="en-IN" sz="1200" b="0" i="0" u="none" strike="noStrike" kern="0" cap="none" spc="0" normalizeH="0" baseline="0" noProof="0" dirty="0">
                <a:ln>
                  <a:noFill/>
                </a:ln>
                <a:solidFill>
                  <a:schemeClr val="bg1"/>
                </a:solidFill>
                <a:effectLst/>
                <a:uLnTx/>
                <a:uFillTx/>
                <a:latin typeface="EYInterstate Light" panose="02000506000000020004" pitchFamily="2" charset="0"/>
              </a:rPr>
              <a:t>Datasets which meet or exceed the defined cut-off risk scores for the BIA areas, that is, for CIAP</a:t>
            </a: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78" name="Oval 77">
            <a:extLst>
              <a:ext uri="{FF2B5EF4-FFF2-40B4-BE49-F238E27FC236}">
                <a16:creationId xmlns:a16="http://schemas.microsoft.com/office/drawing/2014/main" id="{D2C673A6-EE9B-95F8-AE46-FCD056FEE55B}"/>
              </a:ext>
            </a:extLst>
          </p:cNvPr>
          <p:cNvSpPr>
            <a:spLocks noChangeAspect="1"/>
          </p:cNvSpPr>
          <p:nvPr/>
        </p:nvSpPr>
        <p:spPr>
          <a:xfrm>
            <a:off x="3617300" y="1188541"/>
            <a:ext cx="616342" cy="679734"/>
          </a:xfrm>
          <a:prstGeom prst="ellipse">
            <a:avLst/>
          </a:prstGeom>
          <a:solidFill>
            <a:srgbClr val="1499D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1</a:t>
            </a: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79" name="Oval 78">
            <a:extLst>
              <a:ext uri="{FF2B5EF4-FFF2-40B4-BE49-F238E27FC236}">
                <a16:creationId xmlns:a16="http://schemas.microsoft.com/office/drawing/2014/main" id="{87D0E421-33A4-86A7-AACC-50B5F43052EC}"/>
              </a:ext>
            </a:extLst>
          </p:cNvPr>
          <p:cNvSpPr>
            <a:spLocks noChangeAspect="1"/>
          </p:cNvSpPr>
          <p:nvPr/>
        </p:nvSpPr>
        <p:spPr>
          <a:xfrm>
            <a:off x="8247261" y="1188541"/>
            <a:ext cx="616342" cy="679734"/>
          </a:xfrm>
          <a:prstGeom prst="ellipse">
            <a:avLst/>
          </a:prstGeom>
          <a:solidFill>
            <a:srgbClr val="E7830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2</a:t>
            </a:r>
          </a:p>
        </p:txBody>
      </p:sp>
      <p:sp>
        <p:nvSpPr>
          <p:cNvPr id="80" name="Oval 79">
            <a:extLst>
              <a:ext uri="{FF2B5EF4-FFF2-40B4-BE49-F238E27FC236}">
                <a16:creationId xmlns:a16="http://schemas.microsoft.com/office/drawing/2014/main" id="{E982093A-6CFC-2BEF-E0BE-18B9C8BA94F9}"/>
              </a:ext>
            </a:extLst>
          </p:cNvPr>
          <p:cNvSpPr>
            <a:spLocks noChangeAspect="1"/>
          </p:cNvSpPr>
          <p:nvPr/>
        </p:nvSpPr>
        <p:spPr>
          <a:xfrm>
            <a:off x="3617300" y="3585311"/>
            <a:ext cx="616342" cy="679734"/>
          </a:xfrm>
          <a:prstGeom prst="ellipse">
            <a:avLst/>
          </a:prstGeom>
          <a:solidFill>
            <a:srgbClr val="9CCFF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3</a:t>
            </a:r>
          </a:p>
        </p:txBody>
      </p:sp>
      <p:sp>
        <p:nvSpPr>
          <p:cNvPr id="81" name="Oval 80">
            <a:extLst>
              <a:ext uri="{FF2B5EF4-FFF2-40B4-BE49-F238E27FC236}">
                <a16:creationId xmlns:a16="http://schemas.microsoft.com/office/drawing/2014/main" id="{E288358E-F271-47AF-43FE-7C371763850A}"/>
              </a:ext>
            </a:extLst>
          </p:cNvPr>
          <p:cNvSpPr>
            <a:spLocks noChangeAspect="1"/>
          </p:cNvSpPr>
          <p:nvPr/>
        </p:nvSpPr>
        <p:spPr>
          <a:xfrm>
            <a:off x="8247261" y="3481103"/>
            <a:ext cx="616342" cy="679734"/>
          </a:xfrm>
          <a:prstGeom prst="ellipse">
            <a:avLst/>
          </a:prstGeom>
          <a:solidFill>
            <a:srgbClr val="E64D2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4</a:t>
            </a:r>
          </a:p>
        </p:txBody>
      </p:sp>
      <p:cxnSp>
        <p:nvCxnSpPr>
          <p:cNvPr id="82" name="Straight Connector 81">
            <a:extLst>
              <a:ext uri="{FF2B5EF4-FFF2-40B4-BE49-F238E27FC236}">
                <a16:creationId xmlns:a16="http://schemas.microsoft.com/office/drawing/2014/main" id="{B491BFFC-EA3E-A939-86D7-7D0FA3E3D843}"/>
              </a:ext>
            </a:extLst>
          </p:cNvPr>
          <p:cNvCxnSpPr>
            <a:cxnSpLocks/>
          </p:cNvCxnSpPr>
          <p:nvPr/>
        </p:nvCxnSpPr>
        <p:spPr>
          <a:xfrm>
            <a:off x="1916498" y="1501163"/>
            <a:ext cx="1689329" cy="1"/>
          </a:xfrm>
          <a:prstGeom prst="line">
            <a:avLst/>
          </a:prstGeom>
          <a:noFill/>
          <a:ln w="6350" cap="flat" cmpd="sng" algn="ctr">
            <a:solidFill>
              <a:schemeClr val="bg1"/>
            </a:solidFill>
            <a:prstDash val="solid"/>
            <a:headEnd type="diamond"/>
          </a:ln>
          <a:effectLst/>
        </p:spPr>
      </p:cxnSp>
      <p:cxnSp>
        <p:nvCxnSpPr>
          <p:cNvPr id="83" name="Straight Connector 82">
            <a:extLst>
              <a:ext uri="{FF2B5EF4-FFF2-40B4-BE49-F238E27FC236}">
                <a16:creationId xmlns:a16="http://schemas.microsoft.com/office/drawing/2014/main" id="{5599842D-D405-D0DB-4243-2497AD992FBA}"/>
              </a:ext>
            </a:extLst>
          </p:cNvPr>
          <p:cNvCxnSpPr>
            <a:cxnSpLocks/>
          </p:cNvCxnSpPr>
          <p:nvPr/>
        </p:nvCxnSpPr>
        <p:spPr>
          <a:xfrm>
            <a:off x="1916498" y="3897931"/>
            <a:ext cx="1689329" cy="1"/>
          </a:xfrm>
          <a:prstGeom prst="line">
            <a:avLst/>
          </a:prstGeom>
          <a:noFill/>
          <a:ln w="6350" cap="flat" cmpd="sng" algn="ctr">
            <a:solidFill>
              <a:schemeClr val="bg1"/>
            </a:solidFill>
            <a:prstDash val="solid"/>
            <a:headEnd type="diamond"/>
          </a:ln>
          <a:effectLst/>
        </p:spPr>
      </p:cxnSp>
      <p:cxnSp>
        <p:nvCxnSpPr>
          <p:cNvPr id="84" name="Straight Connector 83">
            <a:extLst>
              <a:ext uri="{FF2B5EF4-FFF2-40B4-BE49-F238E27FC236}">
                <a16:creationId xmlns:a16="http://schemas.microsoft.com/office/drawing/2014/main" id="{AFCF5A17-A9E8-7475-C954-A566A0CF7490}"/>
              </a:ext>
            </a:extLst>
          </p:cNvPr>
          <p:cNvCxnSpPr>
            <a:cxnSpLocks/>
          </p:cNvCxnSpPr>
          <p:nvPr/>
        </p:nvCxnSpPr>
        <p:spPr>
          <a:xfrm flipH="1">
            <a:off x="8847451" y="3897934"/>
            <a:ext cx="1667545" cy="0"/>
          </a:xfrm>
          <a:prstGeom prst="line">
            <a:avLst/>
          </a:prstGeom>
          <a:noFill/>
          <a:ln w="6350" cap="flat" cmpd="sng" algn="ctr">
            <a:solidFill>
              <a:schemeClr val="bg1"/>
            </a:solidFill>
            <a:prstDash val="solid"/>
            <a:headEnd type="diamond"/>
          </a:ln>
          <a:effectLst/>
        </p:spPr>
      </p:cxnSp>
      <p:cxnSp>
        <p:nvCxnSpPr>
          <p:cNvPr id="85" name="Straight Connector 84">
            <a:extLst>
              <a:ext uri="{FF2B5EF4-FFF2-40B4-BE49-F238E27FC236}">
                <a16:creationId xmlns:a16="http://schemas.microsoft.com/office/drawing/2014/main" id="{1C9FEF00-FF22-FE6F-C84D-183C4284EB09}"/>
              </a:ext>
            </a:extLst>
          </p:cNvPr>
          <p:cNvCxnSpPr>
            <a:cxnSpLocks/>
          </p:cNvCxnSpPr>
          <p:nvPr/>
        </p:nvCxnSpPr>
        <p:spPr>
          <a:xfrm flipH="1">
            <a:off x="8847451" y="1501163"/>
            <a:ext cx="1667545" cy="0"/>
          </a:xfrm>
          <a:prstGeom prst="line">
            <a:avLst/>
          </a:prstGeom>
          <a:noFill/>
          <a:ln w="6350" cap="flat" cmpd="sng" algn="ctr">
            <a:solidFill>
              <a:schemeClr val="bg1"/>
            </a:solidFill>
            <a:prstDash val="solid"/>
            <a:headEnd type="diamond"/>
          </a:ln>
          <a:effectLst/>
        </p:spPr>
      </p:cxnSp>
    </p:spTree>
    <p:extLst>
      <p:ext uri="{BB962C8B-B14F-4D97-AF65-F5344CB8AC3E}">
        <p14:creationId xmlns:p14="http://schemas.microsoft.com/office/powerpoint/2010/main" val="3472941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0ACC24-8488-43C0-9A0A-195C0E6ED0D1}"/>
              </a:ext>
            </a:extLst>
          </p:cNvPr>
          <p:cNvSpPr txBox="1"/>
          <p:nvPr/>
        </p:nvSpPr>
        <p:spPr>
          <a:xfrm>
            <a:off x="6669587" y="3182939"/>
            <a:ext cx="5256627" cy="470898"/>
          </a:xfrm>
          <a:prstGeom prst="rect">
            <a:avLst/>
          </a:prstGeom>
          <a:noFill/>
        </p:spPr>
        <p:txBody>
          <a:bodyPr wrap="square" lIns="0" tIns="0" rIns="0" bIns="0" rtlCol="0">
            <a:spAutoFit/>
          </a:body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IN" sz="3600" b="1" i="0" u="none" strike="noStrike" kern="1200" cap="none" spc="0" normalizeH="0" baseline="0" noProof="0" dirty="0">
                <a:ln>
                  <a:noFill/>
                </a:ln>
                <a:solidFill>
                  <a:srgbClr val="FFFFFF"/>
                </a:solidFill>
                <a:effectLst/>
                <a:uLnTx/>
                <a:uFillTx/>
                <a:latin typeface="EYInterstate Light"/>
                <a:ea typeface="+mn-ea"/>
                <a:cs typeface="Arial" pitchFamily="34" charset="0"/>
              </a:rPr>
              <a:t>Steps of BIA</a:t>
            </a:r>
          </a:p>
        </p:txBody>
      </p:sp>
      <p:sp>
        <p:nvSpPr>
          <p:cNvPr id="3" name="TextBox 2">
            <a:extLst>
              <a:ext uri="{FF2B5EF4-FFF2-40B4-BE49-F238E27FC236}">
                <a16:creationId xmlns:a16="http://schemas.microsoft.com/office/drawing/2014/main" id="{561E47C9-B240-494C-9E62-B493CF52B358}"/>
              </a:ext>
            </a:extLst>
          </p:cNvPr>
          <p:cNvSpPr txBox="1"/>
          <p:nvPr/>
        </p:nvSpPr>
        <p:spPr>
          <a:xfrm>
            <a:off x="2894099" y="1710879"/>
            <a:ext cx="2076760" cy="1768794"/>
          </a:xfrm>
          <a:prstGeom prst="rect">
            <a:avLst/>
          </a:prstGeom>
          <a:noFill/>
        </p:spPr>
        <p:txBody>
          <a:bodyPr wrap="square" lIns="0" tIns="0" rIns="0" bIns="0" rtlCol="0">
            <a:spAutoFit/>
          </a:bodyPr>
          <a:lstStyle/>
          <a:p>
            <a:pPr marL="0" marR="0" lvl="0" indent="0" algn="l" defTabSz="913943" rtl="0" eaLnBrk="1" fontAlgn="auto" latinLnBrk="0" hangingPunct="1">
              <a:lnSpc>
                <a:spcPct val="100000"/>
              </a:lnSpc>
              <a:spcBef>
                <a:spcPts val="0"/>
              </a:spcBef>
              <a:spcAft>
                <a:spcPts val="1199"/>
              </a:spcAft>
              <a:buClrTx/>
              <a:buSzTx/>
              <a:buFontTx/>
              <a:buNone/>
              <a:tabLst/>
              <a:defRPr/>
            </a:pPr>
            <a:r>
              <a:rPr kumimoji="0" lang="en-US" sz="11494" b="1" i="0" u="none" strike="noStrike" kern="1200" cap="none" spc="0" normalizeH="0" baseline="0" noProof="0" dirty="0">
                <a:ln>
                  <a:noFill/>
                </a:ln>
                <a:solidFill>
                  <a:srgbClr val="2E2E38"/>
                </a:solidFill>
                <a:effectLst/>
                <a:uLnTx/>
                <a:uFillTx/>
                <a:latin typeface="EYInterstate Light"/>
                <a:ea typeface="+mn-ea"/>
                <a:cs typeface="+mn-cs"/>
              </a:rPr>
              <a:t>03</a:t>
            </a:r>
            <a:endParaRPr kumimoji="0" lang="en-CA" sz="11494"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17922279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3772FAE-C80E-F709-7327-A010FB14C5A3}"/>
              </a:ext>
            </a:extLst>
          </p:cNvPr>
          <p:cNvSpPr txBox="1"/>
          <p:nvPr/>
        </p:nvSpPr>
        <p:spPr>
          <a:xfrm>
            <a:off x="609599" y="147456"/>
            <a:ext cx="10972802"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3600" dirty="0">
                <a:solidFill>
                  <a:schemeClr val="bg1"/>
                </a:solidFill>
              </a:rPr>
              <a:t>Process Steps</a:t>
            </a:r>
          </a:p>
        </p:txBody>
      </p:sp>
      <p:grpSp>
        <p:nvGrpSpPr>
          <p:cNvPr id="46" name="Group 45">
            <a:extLst>
              <a:ext uri="{FF2B5EF4-FFF2-40B4-BE49-F238E27FC236}">
                <a16:creationId xmlns:a16="http://schemas.microsoft.com/office/drawing/2014/main" id="{7512ACA9-DCE6-B91B-A174-DD1B72BC2119}"/>
              </a:ext>
            </a:extLst>
          </p:cNvPr>
          <p:cNvGrpSpPr/>
          <p:nvPr/>
        </p:nvGrpSpPr>
        <p:grpSpPr>
          <a:xfrm>
            <a:off x="25225" y="1235574"/>
            <a:ext cx="3324044" cy="4694724"/>
            <a:chOff x="25225" y="1207581"/>
            <a:chExt cx="3324044" cy="4694724"/>
          </a:xfrm>
          <a:effectLst>
            <a:outerShdw blurRad="50800" dist="38100" dir="2700000" algn="tl" rotWithShape="0">
              <a:prstClr val="black">
                <a:alpha val="40000"/>
              </a:prstClr>
            </a:outerShdw>
          </a:effectLst>
        </p:grpSpPr>
        <p:sp>
          <p:nvSpPr>
            <p:cNvPr id="47" name="Freeform 39">
              <a:extLst>
                <a:ext uri="{FF2B5EF4-FFF2-40B4-BE49-F238E27FC236}">
                  <a16:creationId xmlns:a16="http://schemas.microsoft.com/office/drawing/2014/main" id="{0C5DC7F9-E7B4-6B29-2898-A2C1E218FCA1}"/>
                </a:ext>
              </a:extLst>
            </p:cNvPr>
            <p:cNvSpPr>
              <a:spLocks/>
            </p:cNvSpPr>
            <p:nvPr/>
          </p:nvSpPr>
          <p:spPr bwMode="auto">
            <a:xfrm>
              <a:off x="1001907" y="1207581"/>
              <a:ext cx="1175025" cy="1330978"/>
            </a:xfrm>
            <a:custGeom>
              <a:avLst/>
              <a:gdLst>
                <a:gd name="T0" fmla="*/ 370 w 370"/>
                <a:gd name="T1" fmla="*/ 99 h 419"/>
                <a:gd name="T2" fmla="*/ 0 w 370"/>
                <a:gd name="T3" fmla="*/ 0 h 419"/>
                <a:gd name="T4" fmla="*/ 0 w 370"/>
                <a:gd name="T5" fmla="*/ 370 h 419"/>
                <a:gd name="T6" fmla="*/ 185 w 370"/>
                <a:gd name="T7" fmla="*/ 419 h 419"/>
                <a:gd name="T8" fmla="*/ 370 w 370"/>
                <a:gd name="T9" fmla="*/ 99 h 419"/>
              </a:gdLst>
              <a:ahLst/>
              <a:cxnLst>
                <a:cxn ang="0">
                  <a:pos x="T0" y="T1"/>
                </a:cxn>
                <a:cxn ang="0">
                  <a:pos x="T2" y="T3"/>
                </a:cxn>
                <a:cxn ang="0">
                  <a:pos x="T4" y="T5"/>
                </a:cxn>
                <a:cxn ang="0">
                  <a:pos x="T6" y="T7"/>
                </a:cxn>
                <a:cxn ang="0">
                  <a:pos x="T8" y="T9"/>
                </a:cxn>
              </a:cxnLst>
              <a:rect l="0" t="0" r="r" b="b"/>
              <a:pathLst>
                <a:path w="370" h="419">
                  <a:moveTo>
                    <a:pt x="370" y="99"/>
                  </a:moveTo>
                  <a:cubicBezTo>
                    <a:pt x="257" y="35"/>
                    <a:pt x="130" y="0"/>
                    <a:pt x="0" y="0"/>
                  </a:cubicBezTo>
                  <a:cubicBezTo>
                    <a:pt x="0" y="370"/>
                    <a:pt x="0" y="370"/>
                    <a:pt x="0" y="370"/>
                  </a:cubicBezTo>
                  <a:cubicBezTo>
                    <a:pt x="65" y="370"/>
                    <a:pt x="129" y="387"/>
                    <a:pt x="185" y="419"/>
                  </a:cubicBezTo>
                  <a:lnTo>
                    <a:pt x="370" y="99"/>
                  </a:lnTo>
                  <a:close/>
                </a:path>
              </a:pathLst>
            </a:custGeom>
            <a:solidFill>
              <a:srgbClr val="F0F0F0"/>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Arial" charset="0"/>
              </a:endParaRPr>
            </a:p>
          </p:txBody>
        </p:sp>
        <p:sp>
          <p:nvSpPr>
            <p:cNvPr id="48" name="Freeform 40">
              <a:extLst>
                <a:ext uri="{FF2B5EF4-FFF2-40B4-BE49-F238E27FC236}">
                  <a16:creationId xmlns:a16="http://schemas.microsoft.com/office/drawing/2014/main" id="{7006C45F-C093-B6F0-5E85-1EFBDA7531F0}"/>
                </a:ext>
              </a:extLst>
            </p:cNvPr>
            <p:cNvSpPr>
              <a:spLocks/>
            </p:cNvSpPr>
            <p:nvPr/>
          </p:nvSpPr>
          <p:spPr bwMode="auto">
            <a:xfrm>
              <a:off x="1589420" y="1522176"/>
              <a:ext cx="1445254" cy="1447943"/>
            </a:xfrm>
            <a:custGeom>
              <a:avLst/>
              <a:gdLst>
                <a:gd name="T0" fmla="*/ 455 w 455"/>
                <a:gd name="T1" fmla="*/ 271 h 456"/>
                <a:gd name="T2" fmla="*/ 185 w 455"/>
                <a:gd name="T3" fmla="*/ 0 h 456"/>
                <a:gd name="T4" fmla="*/ 0 w 455"/>
                <a:gd name="T5" fmla="*/ 320 h 456"/>
                <a:gd name="T6" fmla="*/ 135 w 455"/>
                <a:gd name="T7" fmla="*/ 456 h 456"/>
                <a:gd name="T8" fmla="*/ 455 w 455"/>
                <a:gd name="T9" fmla="*/ 271 h 456"/>
              </a:gdLst>
              <a:ahLst/>
              <a:cxnLst>
                <a:cxn ang="0">
                  <a:pos x="T0" y="T1"/>
                </a:cxn>
                <a:cxn ang="0">
                  <a:pos x="T2" y="T3"/>
                </a:cxn>
                <a:cxn ang="0">
                  <a:pos x="T4" y="T5"/>
                </a:cxn>
                <a:cxn ang="0">
                  <a:pos x="T6" y="T7"/>
                </a:cxn>
                <a:cxn ang="0">
                  <a:pos x="T8" y="T9"/>
                </a:cxn>
              </a:cxnLst>
              <a:rect l="0" t="0" r="r" b="b"/>
              <a:pathLst>
                <a:path w="455" h="456">
                  <a:moveTo>
                    <a:pt x="455" y="271"/>
                  </a:moveTo>
                  <a:cubicBezTo>
                    <a:pt x="390" y="159"/>
                    <a:pt x="297" y="65"/>
                    <a:pt x="185" y="0"/>
                  </a:cubicBezTo>
                  <a:cubicBezTo>
                    <a:pt x="0" y="320"/>
                    <a:pt x="0" y="320"/>
                    <a:pt x="0" y="320"/>
                  </a:cubicBezTo>
                  <a:cubicBezTo>
                    <a:pt x="56" y="353"/>
                    <a:pt x="103" y="399"/>
                    <a:pt x="135" y="456"/>
                  </a:cubicBezTo>
                  <a:lnTo>
                    <a:pt x="455" y="271"/>
                  </a:lnTo>
                  <a:close/>
                </a:path>
              </a:pathLst>
            </a:custGeom>
            <a:solidFill>
              <a:sysClr val="window" lastClr="FFFFFF">
                <a:lumMod val="50000"/>
              </a:sysClr>
            </a:solidFill>
            <a:ln w="190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Arial" charset="0"/>
              </a:endParaRPr>
            </a:p>
          </p:txBody>
        </p:sp>
        <p:sp>
          <p:nvSpPr>
            <p:cNvPr id="49" name="Freeform 41">
              <a:extLst>
                <a:ext uri="{FF2B5EF4-FFF2-40B4-BE49-F238E27FC236}">
                  <a16:creationId xmlns:a16="http://schemas.microsoft.com/office/drawing/2014/main" id="{AA74EC05-2408-2750-39C1-ECBA8CA13C7A}"/>
                </a:ext>
              </a:extLst>
            </p:cNvPr>
            <p:cNvSpPr>
              <a:spLocks/>
            </p:cNvSpPr>
            <p:nvPr/>
          </p:nvSpPr>
          <p:spPr bwMode="auto">
            <a:xfrm>
              <a:off x="2018291" y="2381261"/>
              <a:ext cx="1330978" cy="1172337"/>
            </a:xfrm>
            <a:custGeom>
              <a:avLst/>
              <a:gdLst>
                <a:gd name="T0" fmla="*/ 419 w 419"/>
                <a:gd name="T1" fmla="*/ 369 h 369"/>
                <a:gd name="T2" fmla="*/ 320 w 419"/>
                <a:gd name="T3" fmla="*/ 0 h 369"/>
                <a:gd name="T4" fmla="*/ 0 w 419"/>
                <a:gd name="T5" fmla="*/ 185 h 369"/>
                <a:gd name="T6" fmla="*/ 50 w 419"/>
                <a:gd name="T7" fmla="*/ 369 h 369"/>
                <a:gd name="T8" fmla="*/ 419 w 419"/>
                <a:gd name="T9" fmla="*/ 369 h 369"/>
              </a:gdLst>
              <a:ahLst/>
              <a:cxnLst>
                <a:cxn ang="0">
                  <a:pos x="T0" y="T1"/>
                </a:cxn>
                <a:cxn ang="0">
                  <a:pos x="T2" y="T3"/>
                </a:cxn>
                <a:cxn ang="0">
                  <a:pos x="T4" y="T5"/>
                </a:cxn>
                <a:cxn ang="0">
                  <a:pos x="T6" y="T7"/>
                </a:cxn>
                <a:cxn ang="0">
                  <a:pos x="T8" y="T9"/>
                </a:cxn>
              </a:cxnLst>
              <a:rect l="0" t="0" r="r" b="b"/>
              <a:pathLst>
                <a:path w="419" h="369">
                  <a:moveTo>
                    <a:pt x="419" y="369"/>
                  </a:moveTo>
                  <a:cubicBezTo>
                    <a:pt x="419" y="240"/>
                    <a:pt x="385" y="112"/>
                    <a:pt x="320" y="0"/>
                  </a:cubicBezTo>
                  <a:cubicBezTo>
                    <a:pt x="0" y="185"/>
                    <a:pt x="0" y="185"/>
                    <a:pt x="0" y="185"/>
                  </a:cubicBezTo>
                  <a:cubicBezTo>
                    <a:pt x="33" y="241"/>
                    <a:pt x="50" y="304"/>
                    <a:pt x="50" y="369"/>
                  </a:cubicBezTo>
                  <a:lnTo>
                    <a:pt x="419" y="369"/>
                  </a:lnTo>
                  <a:close/>
                </a:path>
              </a:pathLst>
            </a:custGeom>
            <a:solidFill>
              <a:sysClr val="window" lastClr="FFFFFF">
                <a:lumMod val="65000"/>
              </a:sysClr>
            </a:solidFill>
            <a:ln w="190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Arial" charset="0"/>
              </a:endParaRPr>
            </a:p>
          </p:txBody>
        </p:sp>
        <p:sp>
          <p:nvSpPr>
            <p:cNvPr id="50" name="Freeform 42">
              <a:extLst>
                <a:ext uri="{FF2B5EF4-FFF2-40B4-BE49-F238E27FC236}">
                  <a16:creationId xmlns:a16="http://schemas.microsoft.com/office/drawing/2014/main" id="{AF15739D-9205-DD8A-0B55-A5BFA841DE20}"/>
                </a:ext>
              </a:extLst>
            </p:cNvPr>
            <p:cNvSpPr>
              <a:spLocks/>
            </p:cNvSpPr>
            <p:nvPr/>
          </p:nvSpPr>
          <p:spPr bwMode="auto">
            <a:xfrm>
              <a:off x="2018291" y="3554943"/>
              <a:ext cx="1330978" cy="1175025"/>
            </a:xfrm>
            <a:custGeom>
              <a:avLst/>
              <a:gdLst>
                <a:gd name="T0" fmla="*/ 320 w 419"/>
                <a:gd name="T1" fmla="*/ 370 h 370"/>
                <a:gd name="T2" fmla="*/ 419 w 419"/>
                <a:gd name="T3" fmla="*/ 0 h 370"/>
                <a:gd name="T4" fmla="*/ 50 w 419"/>
                <a:gd name="T5" fmla="*/ 0 h 370"/>
                <a:gd name="T6" fmla="*/ 0 w 419"/>
                <a:gd name="T7" fmla="*/ 185 h 370"/>
                <a:gd name="T8" fmla="*/ 320 w 419"/>
                <a:gd name="T9" fmla="*/ 370 h 370"/>
              </a:gdLst>
              <a:ahLst/>
              <a:cxnLst>
                <a:cxn ang="0">
                  <a:pos x="T0" y="T1"/>
                </a:cxn>
                <a:cxn ang="0">
                  <a:pos x="T2" y="T3"/>
                </a:cxn>
                <a:cxn ang="0">
                  <a:pos x="T4" y="T5"/>
                </a:cxn>
                <a:cxn ang="0">
                  <a:pos x="T6" y="T7"/>
                </a:cxn>
                <a:cxn ang="0">
                  <a:pos x="T8" y="T9"/>
                </a:cxn>
              </a:cxnLst>
              <a:rect l="0" t="0" r="r" b="b"/>
              <a:pathLst>
                <a:path w="419" h="370">
                  <a:moveTo>
                    <a:pt x="320" y="370"/>
                  </a:moveTo>
                  <a:cubicBezTo>
                    <a:pt x="385" y="257"/>
                    <a:pt x="419" y="130"/>
                    <a:pt x="419" y="0"/>
                  </a:cubicBezTo>
                  <a:cubicBezTo>
                    <a:pt x="50" y="0"/>
                    <a:pt x="50" y="0"/>
                    <a:pt x="50" y="0"/>
                  </a:cubicBezTo>
                  <a:cubicBezTo>
                    <a:pt x="50" y="65"/>
                    <a:pt x="33" y="129"/>
                    <a:pt x="0" y="185"/>
                  </a:cubicBezTo>
                  <a:lnTo>
                    <a:pt x="320" y="370"/>
                  </a:lnTo>
                  <a:close/>
                </a:path>
              </a:pathLst>
            </a:custGeom>
            <a:solidFill>
              <a:sysClr val="window" lastClr="FFFFFF">
                <a:lumMod val="75000"/>
              </a:sysClr>
            </a:solidFill>
            <a:ln w="190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Arial" charset="0"/>
              </a:endParaRPr>
            </a:p>
          </p:txBody>
        </p:sp>
        <p:sp>
          <p:nvSpPr>
            <p:cNvPr id="51" name="Freeform 43">
              <a:extLst>
                <a:ext uri="{FF2B5EF4-FFF2-40B4-BE49-F238E27FC236}">
                  <a16:creationId xmlns:a16="http://schemas.microsoft.com/office/drawing/2014/main" id="{BAB6C83F-0B07-A1B9-6690-7B2AD9A5CE4D}"/>
                </a:ext>
              </a:extLst>
            </p:cNvPr>
            <p:cNvSpPr>
              <a:spLocks/>
            </p:cNvSpPr>
            <p:nvPr/>
          </p:nvSpPr>
          <p:spPr bwMode="auto">
            <a:xfrm>
              <a:off x="1589420" y="4142456"/>
              <a:ext cx="1445254" cy="1445254"/>
            </a:xfrm>
            <a:custGeom>
              <a:avLst/>
              <a:gdLst>
                <a:gd name="T0" fmla="*/ 185 w 455"/>
                <a:gd name="T1" fmla="*/ 455 h 455"/>
                <a:gd name="T2" fmla="*/ 455 w 455"/>
                <a:gd name="T3" fmla="*/ 185 h 455"/>
                <a:gd name="T4" fmla="*/ 135 w 455"/>
                <a:gd name="T5" fmla="*/ 0 h 455"/>
                <a:gd name="T6" fmla="*/ 0 w 455"/>
                <a:gd name="T7" fmla="*/ 135 h 455"/>
                <a:gd name="T8" fmla="*/ 185 w 455"/>
                <a:gd name="T9" fmla="*/ 455 h 455"/>
              </a:gdLst>
              <a:ahLst/>
              <a:cxnLst>
                <a:cxn ang="0">
                  <a:pos x="T0" y="T1"/>
                </a:cxn>
                <a:cxn ang="0">
                  <a:pos x="T2" y="T3"/>
                </a:cxn>
                <a:cxn ang="0">
                  <a:pos x="T4" y="T5"/>
                </a:cxn>
                <a:cxn ang="0">
                  <a:pos x="T6" y="T7"/>
                </a:cxn>
                <a:cxn ang="0">
                  <a:pos x="T8" y="T9"/>
                </a:cxn>
              </a:cxnLst>
              <a:rect l="0" t="0" r="r" b="b"/>
              <a:pathLst>
                <a:path w="455" h="455">
                  <a:moveTo>
                    <a:pt x="185" y="455"/>
                  </a:moveTo>
                  <a:cubicBezTo>
                    <a:pt x="297" y="390"/>
                    <a:pt x="390" y="297"/>
                    <a:pt x="455" y="185"/>
                  </a:cubicBezTo>
                  <a:cubicBezTo>
                    <a:pt x="135" y="0"/>
                    <a:pt x="135" y="0"/>
                    <a:pt x="135" y="0"/>
                  </a:cubicBezTo>
                  <a:cubicBezTo>
                    <a:pt x="103" y="56"/>
                    <a:pt x="56" y="103"/>
                    <a:pt x="0" y="135"/>
                  </a:cubicBezTo>
                  <a:lnTo>
                    <a:pt x="185" y="455"/>
                  </a:lnTo>
                  <a:close/>
                </a:path>
              </a:pathLst>
            </a:custGeom>
            <a:solidFill>
              <a:sysClr val="window" lastClr="FFFFFF">
                <a:lumMod val="85000"/>
              </a:sysClr>
            </a:solidFill>
            <a:ln w="190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Arial" charset="0"/>
              </a:endParaRPr>
            </a:p>
          </p:txBody>
        </p:sp>
        <p:sp>
          <p:nvSpPr>
            <p:cNvPr id="52" name="Freeform 44">
              <a:extLst>
                <a:ext uri="{FF2B5EF4-FFF2-40B4-BE49-F238E27FC236}">
                  <a16:creationId xmlns:a16="http://schemas.microsoft.com/office/drawing/2014/main" id="{E6E937BA-A62E-8E01-8A46-835CD79E9786}"/>
                </a:ext>
              </a:extLst>
            </p:cNvPr>
            <p:cNvSpPr>
              <a:spLocks/>
            </p:cNvSpPr>
            <p:nvPr/>
          </p:nvSpPr>
          <p:spPr bwMode="auto">
            <a:xfrm>
              <a:off x="1001907" y="4571327"/>
              <a:ext cx="1175025" cy="1330978"/>
            </a:xfrm>
            <a:custGeom>
              <a:avLst/>
              <a:gdLst>
                <a:gd name="T0" fmla="*/ 0 w 370"/>
                <a:gd name="T1" fmla="*/ 419 h 419"/>
                <a:gd name="T2" fmla="*/ 370 w 370"/>
                <a:gd name="T3" fmla="*/ 320 h 419"/>
                <a:gd name="T4" fmla="*/ 185 w 370"/>
                <a:gd name="T5" fmla="*/ 0 h 419"/>
                <a:gd name="T6" fmla="*/ 0 w 370"/>
                <a:gd name="T7" fmla="*/ 50 h 419"/>
                <a:gd name="T8" fmla="*/ 0 w 370"/>
                <a:gd name="T9" fmla="*/ 419 h 419"/>
              </a:gdLst>
              <a:ahLst/>
              <a:cxnLst>
                <a:cxn ang="0">
                  <a:pos x="T0" y="T1"/>
                </a:cxn>
                <a:cxn ang="0">
                  <a:pos x="T2" y="T3"/>
                </a:cxn>
                <a:cxn ang="0">
                  <a:pos x="T4" y="T5"/>
                </a:cxn>
                <a:cxn ang="0">
                  <a:pos x="T6" y="T7"/>
                </a:cxn>
                <a:cxn ang="0">
                  <a:pos x="T8" y="T9"/>
                </a:cxn>
              </a:cxnLst>
              <a:rect l="0" t="0" r="r" b="b"/>
              <a:pathLst>
                <a:path w="370" h="419">
                  <a:moveTo>
                    <a:pt x="0" y="419"/>
                  </a:moveTo>
                  <a:cubicBezTo>
                    <a:pt x="130" y="419"/>
                    <a:pt x="257" y="385"/>
                    <a:pt x="370" y="320"/>
                  </a:cubicBezTo>
                  <a:cubicBezTo>
                    <a:pt x="185" y="0"/>
                    <a:pt x="185" y="0"/>
                    <a:pt x="185" y="0"/>
                  </a:cubicBezTo>
                  <a:cubicBezTo>
                    <a:pt x="129" y="33"/>
                    <a:pt x="65" y="50"/>
                    <a:pt x="0" y="50"/>
                  </a:cubicBezTo>
                  <a:lnTo>
                    <a:pt x="0" y="419"/>
                  </a:lnTo>
                  <a:close/>
                </a:path>
              </a:pathLst>
            </a:custGeom>
            <a:solidFill>
              <a:srgbClr val="F0F0F0"/>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Arial" charset="0"/>
              </a:endParaRPr>
            </a:p>
          </p:txBody>
        </p:sp>
        <p:sp>
          <p:nvSpPr>
            <p:cNvPr id="53" name="Freeform 45">
              <a:extLst>
                <a:ext uri="{FF2B5EF4-FFF2-40B4-BE49-F238E27FC236}">
                  <a16:creationId xmlns:a16="http://schemas.microsoft.com/office/drawing/2014/main" id="{FFD508B2-1EDA-759E-4139-1F7D383A3A4E}"/>
                </a:ext>
              </a:extLst>
            </p:cNvPr>
            <p:cNvSpPr>
              <a:spLocks/>
            </p:cNvSpPr>
            <p:nvPr/>
          </p:nvSpPr>
          <p:spPr bwMode="auto">
            <a:xfrm>
              <a:off x="25225" y="4571327"/>
              <a:ext cx="976682" cy="1330978"/>
            </a:xfrm>
            <a:custGeom>
              <a:avLst/>
              <a:gdLst/>
              <a:ahLst/>
              <a:cxnLst/>
              <a:rect l="l" t="t" r="r" b="b"/>
              <a:pathLst>
                <a:path w="976682" h="1330978">
                  <a:moveTo>
                    <a:pt x="388925" y="0"/>
                  </a:moveTo>
                  <a:cubicBezTo>
                    <a:pt x="570018" y="104827"/>
                    <a:pt x="770173" y="158828"/>
                    <a:pt x="976682" y="158828"/>
                  </a:cubicBezTo>
                  <a:cubicBezTo>
                    <a:pt x="976682" y="158828"/>
                    <a:pt x="976682" y="158828"/>
                    <a:pt x="976682" y="1330978"/>
                  </a:cubicBezTo>
                  <a:cubicBezTo>
                    <a:pt x="637480" y="1330978"/>
                    <a:pt x="304707" y="1258131"/>
                    <a:pt x="0" y="1116588"/>
                  </a:cubicBezTo>
                  <a:lnTo>
                    <a:pt x="0" y="676284"/>
                  </a:lnTo>
                  <a:close/>
                </a:path>
              </a:pathLst>
            </a:custGeom>
            <a:solidFill>
              <a:srgbClr val="F0F0F0"/>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Arial" charset="0"/>
              </a:endParaRPr>
            </a:p>
          </p:txBody>
        </p:sp>
        <p:sp>
          <p:nvSpPr>
            <p:cNvPr id="54" name="Freeform 46">
              <a:extLst>
                <a:ext uri="{FF2B5EF4-FFF2-40B4-BE49-F238E27FC236}">
                  <a16:creationId xmlns:a16="http://schemas.microsoft.com/office/drawing/2014/main" id="{46749593-7927-552C-F667-8B5A621AFD3B}"/>
                </a:ext>
              </a:extLst>
            </p:cNvPr>
            <p:cNvSpPr>
              <a:spLocks/>
            </p:cNvSpPr>
            <p:nvPr/>
          </p:nvSpPr>
          <p:spPr bwMode="auto">
            <a:xfrm>
              <a:off x="25226" y="4201201"/>
              <a:ext cx="389169" cy="1046882"/>
            </a:xfrm>
            <a:custGeom>
              <a:avLst/>
              <a:gdLst/>
              <a:ahLst/>
              <a:cxnLst/>
              <a:rect l="l" t="t" r="r" b="b"/>
              <a:pathLst>
                <a:path w="389169" h="1046882">
                  <a:moveTo>
                    <a:pt x="0" y="0"/>
                  </a:moveTo>
                  <a:cubicBezTo>
                    <a:pt x="99115" y="152754"/>
                    <a:pt x="231695" y="280082"/>
                    <a:pt x="389169" y="370067"/>
                  </a:cubicBezTo>
                  <a:cubicBezTo>
                    <a:pt x="389169" y="370067"/>
                    <a:pt x="389169" y="370067"/>
                    <a:pt x="0" y="1046882"/>
                  </a:cubicBezTo>
                  <a:close/>
                </a:path>
              </a:pathLst>
            </a:custGeom>
            <a:solidFill>
              <a:srgbClr val="F0F0F0"/>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Arial" charset="0"/>
              </a:endParaRPr>
            </a:p>
          </p:txBody>
        </p:sp>
        <p:sp>
          <p:nvSpPr>
            <p:cNvPr id="55" name="Freeform 49">
              <a:extLst>
                <a:ext uri="{FF2B5EF4-FFF2-40B4-BE49-F238E27FC236}">
                  <a16:creationId xmlns:a16="http://schemas.microsoft.com/office/drawing/2014/main" id="{477AD8E7-C6AE-A064-E15F-7DCB947DBFDF}"/>
                </a:ext>
              </a:extLst>
            </p:cNvPr>
            <p:cNvSpPr>
              <a:spLocks/>
            </p:cNvSpPr>
            <p:nvPr/>
          </p:nvSpPr>
          <p:spPr bwMode="auto">
            <a:xfrm>
              <a:off x="25226" y="1861688"/>
              <a:ext cx="389169" cy="1049067"/>
            </a:xfrm>
            <a:custGeom>
              <a:avLst/>
              <a:gdLst/>
              <a:ahLst/>
              <a:cxnLst/>
              <a:rect l="l" t="t" r="r" b="b"/>
              <a:pathLst>
                <a:path w="389169" h="1049067">
                  <a:moveTo>
                    <a:pt x="0" y="0"/>
                  </a:moveTo>
                  <a:lnTo>
                    <a:pt x="389169" y="676588"/>
                  </a:lnTo>
                  <a:cubicBezTo>
                    <a:pt x="231638" y="769388"/>
                    <a:pt x="99020" y="894563"/>
                    <a:pt x="0" y="1049067"/>
                  </a:cubicBezTo>
                  <a:close/>
                </a:path>
              </a:pathLst>
            </a:custGeom>
            <a:solidFill>
              <a:srgbClr val="F0F0F0"/>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Arial" charset="0"/>
              </a:endParaRPr>
            </a:p>
          </p:txBody>
        </p:sp>
        <p:sp>
          <p:nvSpPr>
            <p:cNvPr id="56" name="Freeform 50">
              <a:extLst>
                <a:ext uri="{FF2B5EF4-FFF2-40B4-BE49-F238E27FC236}">
                  <a16:creationId xmlns:a16="http://schemas.microsoft.com/office/drawing/2014/main" id="{5BC2DD8E-E5B2-691F-ADD9-DE5DBD9FC96E}"/>
                </a:ext>
              </a:extLst>
            </p:cNvPr>
            <p:cNvSpPr>
              <a:spLocks/>
            </p:cNvSpPr>
            <p:nvPr/>
          </p:nvSpPr>
          <p:spPr bwMode="auto">
            <a:xfrm>
              <a:off x="25225" y="1207581"/>
              <a:ext cx="976682" cy="1330978"/>
            </a:xfrm>
            <a:custGeom>
              <a:avLst/>
              <a:gdLst/>
              <a:ahLst/>
              <a:cxnLst/>
              <a:rect l="l" t="t" r="r" b="b"/>
              <a:pathLst>
                <a:path w="976682" h="1330978">
                  <a:moveTo>
                    <a:pt x="976682" y="0"/>
                  </a:moveTo>
                  <a:lnTo>
                    <a:pt x="976682" y="1175327"/>
                  </a:lnTo>
                  <a:cubicBezTo>
                    <a:pt x="770173" y="1175327"/>
                    <a:pt x="570018" y="1229328"/>
                    <a:pt x="388925" y="1330978"/>
                  </a:cubicBezTo>
                  <a:cubicBezTo>
                    <a:pt x="388925" y="1330978"/>
                    <a:pt x="388925" y="1330978"/>
                    <a:pt x="0" y="654695"/>
                  </a:cubicBezTo>
                  <a:lnTo>
                    <a:pt x="0" y="215487"/>
                  </a:lnTo>
                  <a:cubicBezTo>
                    <a:pt x="304723" y="74986"/>
                    <a:pt x="637489" y="0"/>
                    <a:pt x="976682" y="0"/>
                  </a:cubicBezTo>
                  <a:close/>
                </a:path>
              </a:pathLst>
            </a:custGeom>
            <a:solidFill>
              <a:srgbClr val="F0F0F0"/>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Arial" charset="0"/>
              </a:endParaRPr>
            </a:p>
          </p:txBody>
        </p:sp>
        <p:sp>
          <p:nvSpPr>
            <p:cNvPr id="57" name="Rectangle 56">
              <a:extLst>
                <a:ext uri="{FF2B5EF4-FFF2-40B4-BE49-F238E27FC236}">
                  <a16:creationId xmlns:a16="http://schemas.microsoft.com/office/drawing/2014/main" id="{ACBDC530-AC54-6E20-3BE2-CE7D58C676E0}"/>
                </a:ext>
              </a:extLst>
            </p:cNvPr>
            <p:cNvSpPr/>
            <p:nvPr/>
          </p:nvSpPr>
          <p:spPr>
            <a:xfrm>
              <a:off x="2052671" y="2057076"/>
              <a:ext cx="509755" cy="492443"/>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cs typeface="Arial" charset="0"/>
                </a:rPr>
                <a:t>01</a:t>
              </a:r>
              <a:endParaRPr kumimoji="0" lang="en-US" sz="3200" b="0" i="0" u="none" strike="noStrike" kern="0" cap="none" spc="0" normalizeH="0" baseline="0" noProof="0" dirty="0">
                <a:ln>
                  <a:noFill/>
                </a:ln>
                <a:solidFill>
                  <a:srgbClr val="000000"/>
                </a:solidFill>
                <a:effectLst/>
                <a:uLnTx/>
                <a:uFillTx/>
                <a:cs typeface="Arial" charset="0"/>
              </a:endParaRPr>
            </a:p>
          </p:txBody>
        </p:sp>
        <p:sp>
          <p:nvSpPr>
            <p:cNvPr id="58" name="Rectangle 57">
              <a:extLst>
                <a:ext uri="{FF2B5EF4-FFF2-40B4-BE49-F238E27FC236}">
                  <a16:creationId xmlns:a16="http://schemas.microsoft.com/office/drawing/2014/main" id="{605B02BA-5B18-08F7-E1EF-1A79FE1111F1}"/>
                </a:ext>
              </a:extLst>
            </p:cNvPr>
            <p:cNvSpPr/>
            <p:nvPr/>
          </p:nvSpPr>
          <p:spPr>
            <a:xfrm>
              <a:off x="2052671" y="4584376"/>
              <a:ext cx="509755" cy="492443"/>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cs typeface="Arial" charset="0"/>
                </a:rPr>
                <a:t>04</a:t>
              </a:r>
            </a:p>
          </p:txBody>
        </p:sp>
        <p:sp>
          <p:nvSpPr>
            <p:cNvPr id="59" name="Rectangle 58">
              <a:extLst>
                <a:ext uri="{FF2B5EF4-FFF2-40B4-BE49-F238E27FC236}">
                  <a16:creationId xmlns:a16="http://schemas.microsoft.com/office/drawing/2014/main" id="{2FC0AD8C-6905-F3FF-200D-D36432237ED3}"/>
                </a:ext>
              </a:extLst>
            </p:cNvPr>
            <p:cNvSpPr/>
            <p:nvPr/>
          </p:nvSpPr>
          <p:spPr>
            <a:xfrm>
              <a:off x="2456153" y="2899509"/>
              <a:ext cx="509755" cy="492443"/>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cs typeface="Arial" charset="0"/>
                </a:rPr>
                <a:t>02</a:t>
              </a:r>
              <a:endParaRPr kumimoji="0" lang="en-US" sz="3200" b="0" i="0" u="none" strike="noStrike" kern="0" cap="none" spc="0" normalizeH="0" baseline="0" noProof="0" dirty="0">
                <a:ln>
                  <a:noFill/>
                </a:ln>
                <a:solidFill>
                  <a:srgbClr val="000000"/>
                </a:solidFill>
                <a:effectLst/>
                <a:uLnTx/>
                <a:uFillTx/>
                <a:cs typeface="Arial" charset="0"/>
              </a:endParaRPr>
            </a:p>
          </p:txBody>
        </p:sp>
        <p:sp>
          <p:nvSpPr>
            <p:cNvPr id="60" name="Rectangle 59">
              <a:extLst>
                <a:ext uri="{FF2B5EF4-FFF2-40B4-BE49-F238E27FC236}">
                  <a16:creationId xmlns:a16="http://schemas.microsoft.com/office/drawing/2014/main" id="{5ACC3577-89AC-71D9-3FE8-942D6210BD89}"/>
                </a:ext>
              </a:extLst>
            </p:cNvPr>
            <p:cNvSpPr/>
            <p:nvPr/>
          </p:nvSpPr>
          <p:spPr>
            <a:xfrm>
              <a:off x="2456153" y="3741942"/>
              <a:ext cx="509755" cy="492443"/>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cs typeface="Arial" charset="0"/>
                </a:rPr>
                <a:t>03</a:t>
              </a:r>
            </a:p>
          </p:txBody>
        </p:sp>
      </p:grpSp>
      <p:grpSp>
        <p:nvGrpSpPr>
          <p:cNvPr id="61" name="Group 60">
            <a:extLst>
              <a:ext uri="{FF2B5EF4-FFF2-40B4-BE49-F238E27FC236}">
                <a16:creationId xmlns:a16="http://schemas.microsoft.com/office/drawing/2014/main" id="{D04A08EC-45FE-E51E-26CD-9AE34D6BA09F}"/>
              </a:ext>
            </a:extLst>
          </p:cNvPr>
          <p:cNvGrpSpPr/>
          <p:nvPr/>
        </p:nvGrpSpPr>
        <p:grpSpPr>
          <a:xfrm>
            <a:off x="3658959" y="1188529"/>
            <a:ext cx="7831998" cy="4783135"/>
            <a:chOff x="3843161" y="1242773"/>
            <a:chExt cx="7831998" cy="4783135"/>
          </a:xfrm>
        </p:grpSpPr>
        <p:sp>
          <p:nvSpPr>
            <p:cNvPr id="62" name="Rectangle 61">
              <a:extLst>
                <a:ext uri="{FF2B5EF4-FFF2-40B4-BE49-F238E27FC236}">
                  <a16:creationId xmlns:a16="http://schemas.microsoft.com/office/drawing/2014/main" id="{D121D835-4742-FF86-D893-B1F342614BF8}"/>
                </a:ext>
              </a:extLst>
            </p:cNvPr>
            <p:cNvSpPr/>
            <p:nvPr/>
          </p:nvSpPr>
          <p:spPr>
            <a:xfrm>
              <a:off x="5052834" y="1354575"/>
              <a:ext cx="2080698" cy="21544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808080"/>
                  </a:solidFill>
                  <a:effectLst/>
                  <a:uLnTx/>
                  <a:uFillTx/>
                  <a:cs typeface="Arial" panose="020B0604020202020204" pitchFamily="34" charset="0"/>
                </a:rPr>
                <a:t>Identify the Environment</a:t>
              </a:r>
            </a:p>
          </p:txBody>
        </p:sp>
        <p:sp>
          <p:nvSpPr>
            <p:cNvPr id="63" name="Rectangle 62">
              <a:extLst>
                <a:ext uri="{FF2B5EF4-FFF2-40B4-BE49-F238E27FC236}">
                  <a16:creationId xmlns:a16="http://schemas.microsoft.com/office/drawing/2014/main" id="{F340C46D-C3D1-7CF4-649C-69D5323EAE3B}"/>
                </a:ext>
              </a:extLst>
            </p:cNvPr>
            <p:cNvSpPr/>
            <p:nvPr/>
          </p:nvSpPr>
          <p:spPr>
            <a:xfrm>
              <a:off x="5052833" y="1612544"/>
              <a:ext cx="6622326" cy="553998"/>
            </a:xfrm>
            <a:prstGeom prst="rect">
              <a:avLst/>
            </a:prstGeom>
          </p:spPr>
          <p:txBody>
            <a:bodyPr wrap="square" lIns="0" tIns="0" rIns="0" bIns="0">
              <a:spAutoFit/>
            </a:bodyPr>
            <a:lstStyle/>
            <a:p>
              <a:pPr marL="171450" marR="0" lvl="0" indent="-1714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IN" sz="1200" b="0" i="0" u="none" strike="noStrike" kern="0" cap="none" spc="0" normalizeH="0" baseline="0" noProof="0" dirty="0">
                  <a:ln>
                    <a:noFill/>
                  </a:ln>
                  <a:solidFill>
                    <a:srgbClr val="FFFFFF"/>
                  </a:solidFill>
                  <a:effectLst/>
                  <a:uLnTx/>
                  <a:uFillTx/>
                  <a:cs typeface="Arial" panose="020B0604020202020204" pitchFamily="34" charset="0"/>
                </a:rPr>
                <a:t>The first step identifies the overall IT environment. This means having a good understanding of the business function. This includes the number of customers and the number of transactions. If sales revenues are generated, you should know the sales amounts.</a:t>
              </a:r>
              <a:endParaRPr kumimoji="0" lang="en-US" sz="1200" b="0" i="0" u="none" strike="noStrike" kern="0" cap="none" spc="0" normalizeH="0" baseline="0" noProof="0" dirty="0">
                <a:ln>
                  <a:noFill/>
                </a:ln>
                <a:solidFill>
                  <a:srgbClr val="FFFFFF"/>
                </a:solidFill>
                <a:effectLst/>
                <a:uLnTx/>
                <a:uFillTx/>
                <a:cs typeface="Arial" panose="020B0604020202020204" pitchFamily="34" charset="0"/>
              </a:endParaRPr>
            </a:p>
          </p:txBody>
        </p:sp>
        <p:sp>
          <p:nvSpPr>
            <p:cNvPr id="64" name="Rectangle 63">
              <a:extLst>
                <a:ext uri="{FF2B5EF4-FFF2-40B4-BE49-F238E27FC236}">
                  <a16:creationId xmlns:a16="http://schemas.microsoft.com/office/drawing/2014/main" id="{9D43B32B-C29F-6762-621D-B779DB6C0DFF}"/>
                </a:ext>
              </a:extLst>
            </p:cNvPr>
            <p:cNvSpPr/>
            <p:nvPr/>
          </p:nvSpPr>
          <p:spPr>
            <a:xfrm>
              <a:off x="5041063" y="2584142"/>
              <a:ext cx="1788951" cy="21544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808080"/>
                  </a:solidFill>
                  <a:effectLst/>
                  <a:uLnTx/>
                  <a:uFillTx/>
                  <a:cs typeface="Arial" panose="020B0604020202020204" pitchFamily="34" charset="0"/>
                </a:rPr>
                <a:t>Identify Stakeholders</a:t>
              </a:r>
            </a:p>
          </p:txBody>
        </p:sp>
        <p:sp>
          <p:nvSpPr>
            <p:cNvPr id="65" name="Rectangle 64">
              <a:extLst>
                <a:ext uri="{FF2B5EF4-FFF2-40B4-BE49-F238E27FC236}">
                  <a16:creationId xmlns:a16="http://schemas.microsoft.com/office/drawing/2014/main" id="{F0E3DB03-36C2-2906-D354-24A06BADA69A}"/>
                </a:ext>
              </a:extLst>
            </p:cNvPr>
            <p:cNvSpPr/>
            <p:nvPr/>
          </p:nvSpPr>
          <p:spPr>
            <a:xfrm>
              <a:off x="5041062" y="2842111"/>
              <a:ext cx="6622326" cy="738664"/>
            </a:xfrm>
            <a:prstGeom prst="rect">
              <a:avLst/>
            </a:prstGeom>
          </p:spPr>
          <p:txBody>
            <a:bodyPr wrap="square" lIns="0" tIns="0" rIns="0" bIns="0">
              <a:spAutoFit/>
            </a:bodyPr>
            <a:lstStyle/>
            <a:p>
              <a:pPr marL="171450" marR="0" lvl="0" indent="-1714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IN" sz="1200" b="0" i="0" u="none" strike="noStrike" kern="0" cap="none" spc="0" normalizeH="0" baseline="0" noProof="0" dirty="0">
                  <a:ln>
                    <a:noFill/>
                  </a:ln>
                  <a:solidFill>
                    <a:srgbClr val="FFFFFF"/>
                  </a:solidFill>
                  <a:effectLst/>
                  <a:uLnTx/>
                  <a:uFillTx/>
                  <a:cs typeface="Arial" panose="020B0604020202020204" pitchFamily="34" charset="0"/>
                </a:rPr>
                <a:t>Stakeholders are those individuals or groups that have a direct stake or interest in the success of a project. A stakeholder can help ensure that you have adequate resources available. This includes simple matters, such as ensuring personnel are available for interviews for the BIA.</a:t>
              </a:r>
              <a:endParaRPr kumimoji="0" lang="en-US" sz="1200" b="0" i="0" u="none" strike="noStrike" kern="0" cap="none" spc="0" normalizeH="0" baseline="0" noProof="0" dirty="0">
                <a:ln>
                  <a:noFill/>
                </a:ln>
                <a:solidFill>
                  <a:srgbClr val="FFFFFF"/>
                </a:solidFill>
                <a:effectLst/>
                <a:uLnTx/>
                <a:uFillTx/>
                <a:cs typeface="Arial" panose="020B0604020202020204" pitchFamily="34" charset="0"/>
              </a:endParaRPr>
            </a:p>
          </p:txBody>
        </p:sp>
        <p:sp>
          <p:nvSpPr>
            <p:cNvPr id="66" name="Rectangle 65">
              <a:extLst>
                <a:ext uri="{FF2B5EF4-FFF2-40B4-BE49-F238E27FC236}">
                  <a16:creationId xmlns:a16="http://schemas.microsoft.com/office/drawing/2014/main" id="{F8697686-9B00-EA1D-0661-DC334A0149E0}"/>
                </a:ext>
              </a:extLst>
            </p:cNvPr>
            <p:cNvSpPr/>
            <p:nvPr/>
          </p:nvSpPr>
          <p:spPr>
            <a:xfrm>
              <a:off x="5052834" y="3693576"/>
              <a:ext cx="2949525" cy="21544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808080"/>
                  </a:solidFill>
                  <a:effectLst/>
                  <a:uLnTx/>
                  <a:uFillTx/>
                  <a:cs typeface="Arial" panose="020B0604020202020204" pitchFamily="34" charset="0"/>
                </a:rPr>
                <a:t>Identify Critical Business Functions</a:t>
              </a:r>
            </a:p>
          </p:txBody>
        </p:sp>
        <p:sp>
          <p:nvSpPr>
            <p:cNvPr id="67" name="Rectangle 66">
              <a:extLst>
                <a:ext uri="{FF2B5EF4-FFF2-40B4-BE49-F238E27FC236}">
                  <a16:creationId xmlns:a16="http://schemas.microsoft.com/office/drawing/2014/main" id="{E144F5B9-CE10-4812-3F9C-2DDC786842CD}"/>
                </a:ext>
              </a:extLst>
            </p:cNvPr>
            <p:cNvSpPr/>
            <p:nvPr/>
          </p:nvSpPr>
          <p:spPr>
            <a:xfrm>
              <a:off x="5052835" y="3981858"/>
              <a:ext cx="6622324" cy="553998"/>
            </a:xfrm>
            <a:prstGeom prst="rect">
              <a:avLst/>
            </a:prstGeom>
          </p:spPr>
          <p:txBody>
            <a:bodyPr wrap="square" lIns="0" tIns="0" rIns="0" bIns="0">
              <a:spAutoFit/>
            </a:bodyPr>
            <a:lstStyle/>
            <a:p>
              <a:pPr marL="171450" marR="0" lvl="0" indent="-1714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IN" sz="1200" dirty="0">
                  <a:solidFill>
                    <a:srgbClr val="FFFFFF"/>
                  </a:solidFill>
                </a:rPr>
                <a:t>The critical functions are those that will have a direct impact on the profitability or survivability of an organization. Some BIAs are designed to focus on a critical function from the beginning.</a:t>
              </a:r>
              <a:endParaRPr kumimoji="0" lang="en-US" sz="1200" b="0" i="0" u="none" strike="noStrike" kern="0" cap="none" spc="0" normalizeH="0" baseline="0" noProof="0" dirty="0">
                <a:ln>
                  <a:noFill/>
                </a:ln>
                <a:solidFill>
                  <a:srgbClr val="FFFFFF"/>
                </a:solidFill>
                <a:effectLst/>
                <a:uLnTx/>
                <a:uFillTx/>
                <a:cs typeface="Arial" panose="020B0604020202020204" pitchFamily="34" charset="0"/>
              </a:endParaRPr>
            </a:p>
          </p:txBody>
        </p:sp>
        <p:sp>
          <p:nvSpPr>
            <p:cNvPr id="68" name="Rectangle 67">
              <a:extLst>
                <a:ext uri="{FF2B5EF4-FFF2-40B4-BE49-F238E27FC236}">
                  <a16:creationId xmlns:a16="http://schemas.microsoft.com/office/drawing/2014/main" id="{FBD1109F-F975-D807-C6CA-CEC1D0574991}"/>
                </a:ext>
              </a:extLst>
            </p:cNvPr>
            <p:cNvSpPr/>
            <p:nvPr/>
          </p:nvSpPr>
          <p:spPr>
            <a:xfrm>
              <a:off x="5048007" y="5053162"/>
              <a:ext cx="2216954" cy="21544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808080"/>
                  </a:solidFill>
                  <a:effectLst/>
                  <a:uLnTx/>
                  <a:uFillTx/>
                  <a:cs typeface="Arial" panose="020B0604020202020204" pitchFamily="34" charset="0"/>
                </a:rPr>
                <a:t>Identify Critical Resources</a:t>
              </a:r>
            </a:p>
          </p:txBody>
        </p:sp>
        <p:sp>
          <p:nvSpPr>
            <p:cNvPr id="69" name="Rectangle 68">
              <a:extLst>
                <a:ext uri="{FF2B5EF4-FFF2-40B4-BE49-F238E27FC236}">
                  <a16:creationId xmlns:a16="http://schemas.microsoft.com/office/drawing/2014/main" id="{595CB7E4-077C-0BC2-31A4-68228BB101C9}"/>
                </a:ext>
              </a:extLst>
            </p:cNvPr>
            <p:cNvSpPr/>
            <p:nvPr/>
          </p:nvSpPr>
          <p:spPr>
            <a:xfrm>
              <a:off x="5052835" y="5279699"/>
              <a:ext cx="6622324" cy="553998"/>
            </a:xfrm>
            <a:prstGeom prst="rect">
              <a:avLst/>
            </a:prstGeom>
          </p:spPr>
          <p:txBody>
            <a:bodyPr wrap="square" lIns="0" tIns="0" rIns="0" bIns="0">
              <a:spAutoFit/>
            </a:bodyPr>
            <a:lstStyle/>
            <a:p>
              <a:pPr marL="171450" marR="0" lvl="0" indent="-171450" defTabSz="91440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IN" sz="1200" b="0" i="0" u="none" strike="noStrike" kern="0" cap="none" spc="0" normalizeH="0" baseline="0" noProof="0" dirty="0">
                  <a:ln>
                    <a:noFill/>
                  </a:ln>
                  <a:solidFill>
                    <a:srgbClr val="FFFFFF"/>
                  </a:solidFill>
                  <a:effectLst/>
                  <a:uLnTx/>
                  <a:uFillTx/>
                  <a:cs typeface="Arial" panose="020B0604020202020204" pitchFamily="34" charset="0"/>
                </a:rPr>
                <a:t>Determine the resources (internal and external) needed to support important business functions. Personnel, technology, data, buildings, equipment, suppliers, and other dependencies are examples of resources.</a:t>
              </a:r>
              <a:endParaRPr kumimoji="0" lang="en-US" sz="1200" b="0" i="0" u="none" strike="noStrike" kern="0" cap="none" spc="0" normalizeH="0" baseline="0" noProof="0" dirty="0">
                <a:ln>
                  <a:noFill/>
                </a:ln>
                <a:solidFill>
                  <a:srgbClr val="FFFFFF"/>
                </a:solidFill>
                <a:effectLst/>
                <a:uLnTx/>
                <a:uFillTx/>
                <a:cs typeface="Arial" panose="020B0604020202020204" pitchFamily="34" charset="0"/>
              </a:endParaRPr>
            </a:p>
          </p:txBody>
        </p:sp>
        <p:sp>
          <p:nvSpPr>
            <p:cNvPr id="70" name="Rectangle 69">
              <a:extLst>
                <a:ext uri="{FF2B5EF4-FFF2-40B4-BE49-F238E27FC236}">
                  <a16:creationId xmlns:a16="http://schemas.microsoft.com/office/drawing/2014/main" id="{FA571EFA-F67C-CC5D-73CB-AC63858168B2}"/>
                </a:ext>
              </a:extLst>
            </p:cNvPr>
            <p:cNvSpPr/>
            <p:nvPr/>
          </p:nvSpPr>
          <p:spPr>
            <a:xfrm>
              <a:off x="3843162" y="1242773"/>
              <a:ext cx="990600" cy="990600"/>
            </a:xfrm>
            <a:prstGeom prst="rect">
              <a:avLst/>
            </a:prstGeom>
            <a:noFill/>
            <a:ln w="57150" cap="flat" cmpd="sng" algn="ctr">
              <a:solidFill>
                <a:srgbClr val="FFE600"/>
              </a:solidFill>
              <a:prstDash val="solid"/>
              <a:miter lim="800000"/>
            </a:ln>
            <a:effectLst>
              <a:outerShdw blurRad="50800" dist="38100" dir="2700000" algn="tl" rotWithShape="0">
                <a:prstClr val="black">
                  <a:alpha val="40000"/>
                </a:prst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FFFFFF"/>
                </a:solidFill>
                <a:effectLst/>
                <a:uLnTx/>
                <a:uFillTx/>
                <a:cs typeface="Arial" charset="0"/>
              </a:endParaRPr>
            </a:p>
          </p:txBody>
        </p:sp>
        <p:sp>
          <p:nvSpPr>
            <p:cNvPr id="71" name="Rectangle 70">
              <a:extLst>
                <a:ext uri="{FF2B5EF4-FFF2-40B4-BE49-F238E27FC236}">
                  <a16:creationId xmlns:a16="http://schemas.microsoft.com/office/drawing/2014/main" id="{295DACCB-3C49-D3F5-1CDE-3960B02F4F0D}"/>
                </a:ext>
              </a:extLst>
            </p:cNvPr>
            <p:cNvSpPr/>
            <p:nvPr/>
          </p:nvSpPr>
          <p:spPr>
            <a:xfrm>
              <a:off x="3843161" y="2474884"/>
              <a:ext cx="990600" cy="990600"/>
            </a:xfrm>
            <a:prstGeom prst="rect">
              <a:avLst/>
            </a:prstGeom>
            <a:noFill/>
            <a:ln w="57150" cap="flat" cmpd="sng" algn="ctr">
              <a:solidFill>
                <a:srgbClr val="FFE600"/>
              </a:solidFill>
              <a:prstDash val="solid"/>
              <a:miter lim="800000"/>
            </a:ln>
            <a:effectLst>
              <a:outerShdw blurRad="50800" dist="38100" dir="2700000" algn="tl" rotWithShape="0">
                <a:prstClr val="black">
                  <a:alpha val="40000"/>
                </a:prst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FFFFFF"/>
                </a:solidFill>
                <a:effectLst/>
                <a:uLnTx/>
                <a:uFillTx/>
                <a:cs typeface="Arial" charset="0"/>
              </a:endParaRPr>
            </a:p>
          </p:txBody>
        </p:sp>
        <p:sp>
          <p:nvSpPr>
            <p:cNvPr id="72" name="Rectangle 71">
              <a:extLst>
                <a:ext uri="{FF2B5EF4-FFF2-40B4-BE49-F238E27FC236}">
                  <a16:creationId xmlns:a16="http://schemas.microsoft.com/office/drawing/2014/main" id="{5BA36870-BFF0-D426-5EEA-58188122E812}"/>
                </a:ext>
              </a:extLst>
            </p:cNvPr>
            <p:cNvSpPr/>
            <p:nvPr/>
          </p:nvSpPr>
          <p:spPr>
            <a:xfrm>
              <a:off x="3843162" y="3699922"/>
              <a:ext cx="990600" cy="990600"/>
            </a:xfrm>
            <a:prstGeom prst="rect">
              <a:avLst/>
            </a:prstGeom>
            <a:noFill/>
            <a:ln w="57150" cap="flat" cmpd="sng" algn="ctr">
              <a:solidFill>
                <a:srgbClr val="FFE600"/>
              </a:solidFill>
              <a:prstDash val="solid"/>
              <a:miter lim="800000"/>
            </a:ln>
            <a:effectLst>
              <a:outerShdw blurRad="50800" dist="38100" dir="2700000" algn="tl" rotWithShape="0">
                <a:prstClr val="black">
                  <a:alpha val="40000"/>
                </a:prst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FFFFFF"/>
                </a:solidFill>
                <a:effectLst/>
                <a:uLnTx/>
                <a:uFillTx/>
                <a:cs typeface="Arial" charset="0"/>
              </a:endParaRPr>
            </a:p>
          </p:txBody>
        </p:sp>
        <p:sp>
          <p:nvSpPr>
            <p:cNvPr id="73" name="Rectangle 72">
              <a:extLst>
                <a:ext uri="{FF2B5EF4-FFF2-40B4-BE49-F238E27FC236}">
                  <a16:creationId xmlns:a16="http://schemas.microsoft.com/office/drawing/2014/main" id="{468092A0-663B-5525-2A45-22D1DAA95F76}"/>
                </a:ext>
              </a:extLst>
            </p:cNvPr>
            <p:cNvSpPr/>
            <p:nvPr/>
          </p:nvSpPr>
          <p:spPr>
            <a:xfrm>
              <a:off x="3843162" y="5035308"/>
              <a:ext cx="990600" cy="990600"/>
            </a:xfrm>
            <a:prstGeom prst="rect">
              <a:avLst/>
            </a:prstGeom>
            <a:noFill/>
            <a:ln w="57150" cap="flat" cmpd="sng" algn="ctr">
              <a:solidFill>
                <a:srgbClr val="FFE600"/>
              </a:solidFill>
              <a:prstDash val="solid"/>
              <a:miter lim="800000"/>
            </a:ln>
            <a:effectLst>
              <a:outerShdw blurRad="50800" dist="38100" dir="2700000" algn="tl" rotWithShape="0">
                <a:prstClr val="black">
                  <a:alpha val="40000"/>
                </a:prst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FFFFFF"/>
                </a:solidFill>
                <a:effectLst/>
                <a:uLnTx/>
                <a:uFillTx/>
                <a:cs typeface="Arial" charset="0"/>
              </a:endParaRPr>
            </a:p>
          </p:txBody>
        </p:sp>
        <p:pic>
          <p:nvPicPr>
            <p:cNvPr id="75" name="Picture 2" descr="Evaluation Icon Vector Art, Icons, and Graphics for Free Download">
              <a:extLst>
                <a:ext uri="{FF2B5EF4-FFF2-40B4-BE49-F238E27FC236}">
                  <a16:creationId xmlns:a16="http://schemas.microsoft.com/office/drawing/2014/main" id="{F2946F78-89B6-D267-7735-AE6597F273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12002" y="2552647"/>
              <a:ext cx="826238" cy="828000"/>
            </a:xfrm>
            <a:prstGeom prst="rect">
              <a:avLst/>
            </a:prstGeom>
            <a:solidFill>
              <a:srgbClr val="E31837">
                <a:lumMod val="75000"/>
              </a:srgbClr>
            </a:solidFill>
          </p:spPr>
        </p:pic>
      </p:grpSp>
      <p:pic>
        <p:nvPicPr>
          <p:cNvPr id="1026" name="Picture 2" descr="Sales order Vector Icons free download in SVG, PNG Format">
            <a:extLst>
              <a:ext uri="{FF2B5EF4-FFF2-40B4-BE49-F238E27FC236}">
                <a16:creationId xmlns:a16="http://schemas.microsoft.com/office/drawing/2014/main" id="{6B6AA45F-7D0F-DB3C-5A11-E306CA3C61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27800" y="1280874"/>
            <a:ext cx="828000" cy="83319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ritical Business Process Icons - Free SVG &amp; PNG Critical Business Process  Images - Noun Project">
            <a:extLst>
              <a:ext uri="{FF2B5EF4-FFF2-40B4-BE49-F238E27FC236}">
                <a16:creationId xmlns:a16="http://schemas.microsoft.com/office/drawing/2014/main" id="{6B0F0747-B0BC-CB90-901D-F08A502059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0259" y="3726978"/>
            <a:ext cx="828000" cy="8280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ritical Icon - Slide Team">
            <a:extLst>
              <a:ext uri="{FF2B5EF4-FFF2-40B4-BE49-F238E27FC236}">
                <a16:creationId xmlns:a16="http://schemas.microsoft.com/office/drawing/2014/main" id="{0F8B7758-5A44-DD22-BA4D-EBAC3BF0913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234" t="18840" r="26193"/>
          <a:stretch/>
        </p:blipFill>
        <p:spPr bwMode="auto">
          <a:xfrm>
            <a:off x="3740259" y="5061463"/>
            <a:ext cx="830425" cy="82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5627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E6F94D10-BDAB-0387-3944-EA279EBA0FE3}"/>
              </a:ext>
            </a:extLst>
          </p:cNvPr>
          <p:cNvSpPr/>
          <p:nvPr/>
        </p:nvSpPr>
        <p:spPr>
          <a:xfrm>
            <a:off x="4824235" y="1539799"/>
            <a:ext cx="2370842" cy="215444"/>
          </a:xfrm>
          <a:prstGeom prst="rect">
            <a:avLst/>
          </a:prstGeom>
        </p:spPr>
        <p:txBody>
          <a:bodyPr wrap="none" lIns="0" tIns="0" rIns="0" bIns="0">
            <a:spAutoFit/>
          </a:bodyPr>
          <a:lstStyle/>
          <a:p>
            <a:pPr>
              <a:spcAft>
                <a:spcPts val="600"/>
              </a:spcAft>
              <a:defRPr/>
            </a:pPr>
            <a:r>
              <a:rPr lang="en-US" sz="1400" b="1" kern="0" dirty="0">
                <a:solidFill>
                  <a:srgbClr val="808080"/>
                </a:solidFill>
                <a:latin typeface="+mj-lt"/>
                <a:cs typeface="Arial" charset="0"/>
              </a:rPr>
              <a:t>Identify Maximum Downtime</a:t>
            </a:r>
          </a:p>
        </p:txBody>
      </p:sp>
      <p:sp>
        <p:nvSpPr>
          <p:cNvPr id="30" name="Rectangle 29">
            <a:extLst>
              <a:ext uri="{FF2B5EF4-FFF2-40B4-BE49-F238E27FC236}">
                <a16:creationId xmlns:a16="http://schemas.microsoft.com/office/drawing/2014/main" id="{FE327382-F278-4B14-ABB2-EEFF1F30C458}"/>
              </a:ext>
            </a:extLst>
          </p:cNvPr>
          <p:cNvSpPr/>
          <p:nvPr/>
        </p:nvSpPr>
        <p:spPr>
          <a:xfrm>
            <a:off x="4824235" y="1811902"/>
            <a:ext cx="6321460" cy="677108"/>
          </a:xfrm>
          <a:prstGeom prst="rect">
            <a:avLst/>
          </a:prstGeom>
        </p:spPr>
        <p:txBody>
          <a:bodyPr wrap="square" lIns="0" tIns="0" rIns="0" bIns="0">
            <a:spAutoFit/>
          </a:bodyPr>
          <a:lstStyle/>
          <a:p>
            <a:pPr marL="171450" indent="-171450">
              <a:buFont typeface="Wingdings" panose="05000000000000000000" pitchFamily="2" charset="2"/>
              <a:buChar char="Ø"/>
              <a:defRPr/>
            </a:pPr>
            <a:r>
              <a:rPr lang="en-IN" sz="1100" dirty="0">
                <a:solidFill>
                  <a:srgbClr val="FFFFFF"/>
                </a:solidFill>
              </a:rPr>
              <a:t>Determine the maximum allowable downtime for each critical business function, known as the Recovery Time Objective (RTO).</a:t>
            </a:r>
          </a:p>
          <a:p>
            <a:pPr marL="171450" indent="-171450">
              <a:buFont typeface="Wingdings" panose="05000000000000000000" pitchFamily="2" charset="2"/>
              <a:buChar char="Ø"/>
              <a:defRPr/>
            </a:pPr>
            <a:r>
              <a:rPr lang="en-IN" sz="1100" dirty="0">
                <a:solidFill>
                  <a:srgbClr val="FFFFFF"/>
                </a:solidFill>
              </a:rPr>
              <a:t>The RTO represents the time within which the function must be restored to prevent severe impacts on the organization.</a:t>
            </a:r>
            <a:endParaRPr lang="en-US" sz="1100" kern="0" dirty="0">
              <a:solidFill>
                <a:srgbClr val="FFFFFF"/>
              </a:solidFill>
              <a:latin typeface="EYInterstate Light" panose="02000506000000020004" pitchFamily="2" charset="0"/>
              <a:cs typeface="Arial" panose="020B0604020202020204" pitchFamily="34" charset="0"/>
            </a:endParaRPr>
          </a:p>
        </p:txBody>
      </p:sp>
      <p:sp>
        <p:nvSpPr>
          <p:cNvPr id="31" name="Rectangle 30">
            <a:extLst>
              <a:ext uri="{FF2B5EF4-FFF2-40B4-BE49-F238E27FC236}">
                <a16:creationId xmlns:a16="http://schemas.microsoft.com/office/drawing/2014/main" id="{300D8A34-5B8A-25BC-6AE7-A532CA8E3100}"/>
              </a:ext>
            </a:extLst>
          </p:cNvPr>
          <p:cNvSpPr/>
          <p:nvPr/>
        </p:nvSpPr>
        <p:spPr>
          <a:xfrm>
            <a:off x="4824235" y="3080043"/>
            <a:ext cx="2306722" cy="215444"/>
          </a:xfrm>
          <a:prstGeom prst="rect">
            <a:avLst/>
          </a:prstGeom>
        </p:spPr>
        <p:txBody>
          <a:bodyPr wrap="none" lIns="0" tIns="0" rIns="0" bIns="0">
            <a:spAutoFit/>
          </a:bodyPr>
          <a:lstStyle/>
          <a:p>
            <a:pPr>
              <a:spcAft>
                <a:spcPts val="600"/>
              </a:spcAft>
              <a:defRPr/>
            </a:pPr>
            <a:r>
              <a:rPr lang="en-US" sz="1400" b="1" kern="0" dirty="0">
                <a:solidFill>
                  <a:srgbClr val="808080"/>
                </a:solidFill>
                <a:latin typeface="+mj-lt"/>
                <a:cs typeface="Arial" charset="0"/>
              </a:rPr>
              <a:t>Identify Recovery Priorities</a:t>
            </a:r>
          </a:p>
        </p:txBody>
      </p:sp>
      <p:sp>
        <p:nvSpPr>
          <p:cNvPr id="32" name="Rectangle 31">
            <a:extLst>
              <a:ext uri="{FF2B5EF4-FFF2-40B4-BE49-F238E27FC236}">
                <a16:creationId xmlns:a16="http://schemas.microsoft.com/office/drawing/2014/main" id="{67D6F05C-9B1C-9723-786A-1BE47D9CFC64}"/>
              </a:ext>
            </a:extLst>
          </p:cNvPr>
          <p:cNvSpPr/>
          <p:nvPr/>
        </p:nvSpPr>
        <p:spPr>
          <a:xfrm>
            <a:off x="4824235" y="3365563"/>
            <a:ext cx="6321460" cy="461665"/>
          </a:xfrm>
          <a:prstGeom prst="rect">
            <a:avLst/>
          </a:prstGeom>
        </p:spPr>
        <p:txBody>
          <a:bodyPr wrap="square" lIns="0" tIns="0" rIns="0" bIns="0">
            <a:spAutoFit/>
          </a:bodyPr>
          <a:lstStyle/>
          <a:p>
            <a:pPr marL="171450" indent="-171450">
              <a:buFont typeface="Wingdings" panose="05000000000000000000" pitchFamily="2" charset="2"/>
              <a:buChar char="Ø"/>
              <a:defRPr/>
            </a:pPr>
            <a:r>
              <a:rPr lang="en-IN" sz="1000" dirty="0">
                <a:solidFill>
                  <a:srgbClr val="FFFFFF"/>
                </a:solidFill>
                <a:latin typeface="EYInterstate Light" panose="02000506000000020004" pitchFamily="2" charset="0"/>
                <a:cs typeface="Arial" panose="020B0604020202020204" pitchFamily="34" charset="0"/>
              </a:rPr>
              <a:t>Prioritize recovery efforts based on the criticality of business functions, resources, and RTOs.</a:t>
            </a:r>
          </a:p>
          <a:p>
            <a:pPr marL="171450" indent="-171450">
              <a:buFont typeface="Wingdings" panose="05000000000000000000" pitchFamily="2" charset="2"/>
              <a:buChar char="Ø"/>
              <a:defRPr/>
            </a:pPr>
            <a:r>
              <a:rPr lang="en-IN" sz="1000" dirty="0">
                <a:solidFill>
                  <a:srgbClr val="FFFFFF"/>
                </a:solidFill>
                <a:latin typeface="EYInterstate Light" panose="02000506000000020004" pitchFamily="2" charset="0"/>
                <a:cs typeface="Arial" panose="020B0604020202020204" pitchFamily="34" charset="0"/>
              </a:rPr>
              <a:t>This step aids in the optimal allocation of resources and the concentration of recovery efforts on the most crucial components.</a:t>
            </a:r>
            <a:endParaRPr lang="en-US" sz="1000" kern="0" dirty="0">
              <a:solidFill>
                <a:srgbClr val="FFFFFF"/>
              </a:solidFill>
              <a:latin typeface="EYInterstate Light" panose="02000506000000020004" pitchFamily="2" charset="0"/>
              <a:cs typeface="Arial" panose="020B0604020202020204" pitchFamily="34" charset="0"/>
            </a:endParaRPr>
          </a:p>
        </p:txBody>
      </p:sp>
      <p:sp>
        <p:nvSpPr>
          <p:cNvPr id="33" name="Rectangle 32">
            <a:extLst>
              <a:ext uri="{FF2B5EF4-FFF2-40B4-BE49-F238E27FC236}">
                <a16:creationId xmlns:a16="http://schemas.microsoft.com/office/drawing/2014/main" id="{83718EF3-D050-3951-1763-9037AD3E9D63}"/>
              </a:ext>
            </a:extLst>
          </p:cNvPr>
          <p:cNvSpPr/>
          <p:nvPr/>
        </p:nvSpPr>
        <p:spPr>
          <a:xfrm>
            <a:off x="4824235" y="4594048"/>
            <a:ext cx="1622239" cy="215444"/>
          </a:xfrm>
          <a:prstGeom prst="rect">
            <a:avLst/>
          </a:prstGeom>
        </p:spPr>
        <p:txBody>
          <a:bodyPr wrap="none" lIns="0" tIns="0" rIns="0" bIns="0">
            <a:spAutoFit/>
          </a:bodyPr>
          <a:lstStyle/>
          <a:p>
            <a:pPr>
              <a:spcAft>
                <a:spcPts val="600"/>
              </a:spcAft>
              <a:defRPr/>
            </a:pPr>
            <a:r>
              <a:rPr lang="en-US" sz="1400" b="1" kern="0" dirty="0">
                <a:solidFill>
                  <a:srgbClr val="808080"/>
                </a:solidFill>
                <a:latin typeface="+mj-lt"/>
                <a:cs typeface="Arial" charset="0"/>
              </a:rPr>
              <a:t>Develop BIA report</a:t>
            </a:r>
          </a:p>
        </p:txBody>
      </p:sp>
      <p:sp>
        <p:nvSpPr>
          <p:cNvPr id="34" name="Rectangle 33">
            <a:extLst>
              <a:ext uri="{FF2B5EF4-FFF2-40B4-BE49-F238E27FC236}">
                <a16:creationId xmlns:a16="http://schemas.microsoft.com/office/drawing/2014/main" id="{01E17A40-BCA4-FC19-4EB7-F51B8DBE50D9}"/>
              </a:ext>
            </a:extLst>
          </p:cNvPr>
          <p:cNvSpPr/>
          <p:nvPr/>
        </p:nvSpPr>
        <p:spPr>
          <a:xfrm>
            <a:off x="4824236" y="4875689"/>
            <a:ext cx="6321459" cy="738664"/>
          </a:xfrm>
          <a:prstGeom prst="rect">
            <a:avLst/>
          </a:prstGeom>
        </p:spPr>
        <p:txBody>
          <a:bodyPr wrap="square" lIns="0" tIns="0" rIns="0" bIns="0">
            <a:spAutoFit/>
          </a:bodyPr>
          <a:lstStyle/>
          <a:p>
            <a:pPr marL="171450" indent="-171450">
              <a:buFont typeface="Wingdings" panose="05000000000000000000" pitchFamily="2" charset="2"/>
              <a:buChar char="Ø"/>
              <a:defRPr/>
            </a:pPr>
            <a:r>
              <a:rPr lang="en-IN" sz="1200" dirty="0">
                <a:solidFill>
                  <a:srgbClr val="FFFFFF"/>
                </a:solidFill>
              </a:rPr>
              <a:t>Gather all the information acquired during the BIA process and compile it into a detailed report.</a:t>
            </a:r>
          </a:p>
          <a:p>
            <a:pPr marL="171450" indent="-171450">
              <a:buFont typeface="Wingdings" panose="05000000000000000000" pitchFamily="2" charset="2"/>
              <a:buChar char="Ø"/>
              <a:defRPr/>
            </a:pPr>
            <a:r>
              <a:rPr lang="en-IN" sz="1200" dirty="0">
                <a:solidFill>
                  <a:srgbClr val="FFFFFF"/>
                </a:solidFill>
              </a:rPr>
              <a:t>Details on important functions, impact analysis, resource dependencies, recovery priority, and RTOs should all be included in the report</a:t>
            </a:r>
            <a:endParaRPr lang="en-US" sz="1200" kern="0" dirty="0">
              <a:solidFill>
                <a:srgbClr val="FFFFFF"/>
              </a:solidFill>
              <a:cs typeface="Arial" panose="020B0604020202020204" pitchFamily="34" charset="0"/>
            </a:endParaRPr>
          </a:p>
        </p:txBody>
      </p:sp>
      <p:sp>
        <p:nvSpPr>
          <p:cNvPr id="35" name="Rectangle 34">
            <a:extLst>
              <a:ext uri="{FF2B5EF4-FFF2-40B4-BE49-F238E27FC236}">
                <a16:creationId xmlns:a16="http://schemas.microsoft.com/office/drawing/2014/main" id="{9AF0578B-05DC-8F6F-6B20-C8B5C35BA702}"/>
              </a:ext>
            </a:extLst>
          </p:cNvPr>
          <p:cNvSpPr/>
          <p:nvPr/>
        </p:nvSpPr>
        <p:spPr>
          <a:xfrm>
            <a:off x="3614562" y="1539799"/>
            <a:ext cx="990600" cy="990600"/>
          </a:xfrm>
          <a:prstGeom prst="rect">
            <a:avLst/>
          </a:prstGeom>
          <a:noFill/>
          <a:ln w="57150" cap="flat" cmpd="sng" algn="ctr">
            <a:solidFill>
              <a:srgbClr val="FFE600"/>
            </a:solidFill>
            <a:prstDash val="solid"/>
            <a:miter lim="800000"/>
          </a:ln>
          <a:effectLst>
            <a:outerShdw blurRad="50800" dist="38100" dir="2700000" algn="tl" rotWithShape="0">
              <a:prstClr val="black">
                <a:alpha val="40000"/>
              </a:prst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FFFFFF"/>
              </a:solidFill>
              <a:effectLst/>
              <a:uLnTx/>
              <a:uFillTx/>
              <a:latin typeface="EYInterstate Light" panose="02000506000000020004" pitchFamily="2" charset="0"/>
              <a:cs typeface="Arial" charset="0"/>
            </a:endParaRPr>
          </a:p>
        </p:txBody>
      </p:sp>
      <p:sp>
        <p:nvSpPr>
          <p:cNvPr id="36" name="Rectangle 35">
            <a:extLst>
              <a:ext uri="{FF2B5EF4-FFF2-40B4-BE49-F238E27FC236}">
                <a16:creationId xmlns:a16="http://schemas.microsoft.com/office/drawing/2014/main" id="{758701CA-DF5D-6ECD-2DDD-AFD686B3420B}"/>
              </a:ext>
            </a:extLst>
          </p:cNvPr>
          <p:cNvSpPr/>
          <p:nvPr/>
        </p:nvSpPr>
        <p:spPr>
          <a:xfrm>
            <a:off x="3614562" y="4594048"/>
            <a:ext cx="990600" cy="990600"/>
          </a:xfrm>
          <a:prstGeom prst="rect">
            <a:avLst/>
          </a:prstGeom>
          <a:noFill/>
          <a:ln w="57150" cap="flat" cmpd="sng" algn="ctr">
            <a:solidFill>
              <a:srgbClr val="FFE600"/>
            </a:solidFill>
            <a:prstDash val="solid"/>
            <a:miter lim="800000"/>
          </a:ln>
          <a:effectLst>
            <a:outerShdw blurRad="50800" dist="38100" dir="2700000" algn="tl" rotWithShape="0">
              <a:prstClr val="black">
                <a:alpha val="40000"/>
              </a:prst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FFFFFF"/>
              </a:solidFill>
              <a:effectLst/>
              <a:uLnTx/>
              <a:uFillTx/>
              <a:latin typeface="EYInterstate Light" panose="02000506000000020004" pitchFamily="2" charset="0"/>
              <a:cs typeface="Arial" charset="0"/>
            </a:endParaRPr>
          </a:p>
        </p:txBody>
      </p:sp>
      <p:sp>
        <p:nvSpPr>
          <p:cNvPr id="38" name="Rectangle 37">
            <a:extLst>
              <a:ext uri="{FF2B5EF4-FFF2-40B4-BE49-F238E27FC236}">
                <a16:creationId xmlns:a16="http://schemas.microsoft.com/office/drawing/2014/main" id="{4EB7AD03-199B-BE95-BC6B-1EFAB8F6A8B0}"/>
              </a:ext>
            </a:extLst>
          </p:cNvPr>
          <p:cNvSpPr/>
          <p:nvPr/>
        </p:nvSpPr>
        <p:spPr>
          <a:xfrm>
            <a:off x="3614562" y="3080043"/>
            <a:ext cx="990600" cy="990600"/>
          </a:xfrm>
          <a:prstGeom prst="rect">
            <a:avLst/>
          </a:prstGeom>
          <a:noFill/>
          <a:ln w="57150" cap="flat" cmpd="sng" algn="ctr">
            <a:solidFill>
              <a:srgbClr val="FFE600"/>
            </a:solidFill>
            <a:prstDash val="solid"/>
            <a:miter lim="800000"/>
          </a:ln>
          <a:effectLst>
            <a:outerShdw blurRad="50800" dist="38100" dir="2700000" algn="tl" rotWithShape="0">
              <a:prstClr val="black">
                <a:alpha val="40000"/>
              </a:prst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FFFFFF"/>
              </a:solidFill>
              <a:effectLst/>
              <a:uLnTx/>
              <a:uFillTx/>
              <a:latin typeface="EYInterstate Light" panose="02000506000000020004" pitchFamily="2" charset="0"/>
              <a:cs typeface="Arial" charset="0"/>
            </a:endParaRPr>
          </a:p>
        </p:txBody>
      </p:sp>
      <p:grpSp>
        <p:nvGrpSpPr>
          <p:cNvPr id="40" name="Group 39">
            <a:extLst>
              <a:ext uri="{FF2B5EF4-FFF2-40B4-BE49-F238E27FC236}">
                <a16:creationId xmlns:a16="http://schemas.microsoft.com/office/drawing/2014/main" id="{A7501264-5A36-A99D-EBEA-AB8AA28CA1A7}"/>
              </a:ext>
            </a:extLst>
          </p:cNvPr>
          <p:cNvGrpSpPr/>
          <p:nvPr/>
        </p:nvGrpSpPr>
        <p:grpSpPr>
          <a:xfrm>
            <a:off x="13218" y="1209306"/>
            <a:ext cx="3324044" cy="4694724"/>
            <a:chOff x="25225" y="1204519"/>
            <a:chExt cx="3324044" cy="4694724"/>
          </a:xfrm>
          <a:effectLst>
            <a:outerShdw blurRad="50800" dist="38100" dir="2700000" algn="tl" rotWithShape="0">
              <a:prstClr val="black">
                <a:alpha val="40000"/>
              </a:prstClr>
            </a:outerShdw>
          </a:effectLst>
        </p:grpSpPr>
        <p:sp>
          <p:nvSpPr>
            <p:cNvPr id="41" name="Freeform 39">
              <a:extLst>
                <a:ext uri="{FF2B5EF4-FFF2-40B4-BE49-F238E27FC236}">
                  <a16:creationId xmlns:a16="http://schemas.microsoft.com/office/drawing/2014/main" id="{BA597476-B214-A8AE-6355-E05C6E276A1A}"/>
                </a:ext>
              </a:extLst>
            </p:cNvPr>
            <p:cNvSpPr>
              <a:spLocks/>
            </p:cNvSpPr>
            <p:nvPr/>
          </p:nvSpPr>
          <p:spPr bwMode="auto">
            <a:xfrm>
              <a:off x="1001907" y="1204519"/>
              <a:ext cx="1175025" cy="1330978"/>
            </a:xfrm>
            <a:custGeom>
              <a:avLst/>
              <a:gdLst>
                <a:gd name="T0" fmla="*/ 370 w 370"/>
                <a:gd name="T1" fmla="*/ 99 h 419"/>
                <a:gd name="T2" fmla="*/ 0 w 370"/>
                <a:gd name="T3" fmla="*/ 0 h 419"/>
                <a:gd name="T4" fmla="*/ 0 w 370"/>
                <a:gd name="T5" fmla="*/ 370 h 419"/>
                <a:gd name="T6" fmla="*/ 185 w 370"/>
                <a:gd name="T7" fmla="*/ 419 h 419"/>
                <a:gd name="T8" fmla="*/ 370 w 370"/>
                <a:gd name="T9" fmla="*/ 99 h 419"/>
              </a:gdLst>
              <a:ahLst/>
              <a:cxnLst>
                <a:cxn ang="0">
                  <a:pos x="T0" y="T1"/>
                </a:cxn>
                <a:cxn ang="0">
                  <a:pos x="T2" y="T3"/>
                </a:cxn>
                <a:cxn ang="0">
                  <a:pos x="T4" y="T5"/>
                </a:cxn>
                <a:cxn ang="0">
                  <a:pos x="T6" y="T7"/>
                </a:cxn>
                <a:cxn ang="0">
                  <a:pos x="T8" y="T9"/>
                </a:cxn>
              </a:cxnLst>
              <a:rect l="0" t="0" r="r" b="b"/>
              <a:pathLst>
                <a:path w="370" h="419">
                  <a:moveTo>
                    <a:pt x="370" y="99"/>
                  </a:moveTo>
                  <a:cubicBezTo>
                    <a:pt x="257" y="35"/>
                    <a:pt x="130" y="0"/>
                    <a:pt x="0" y="0"/>
                  </a:cubicBezTo>
                  <a:cubicBezTo>
                    <a:pt x="0" y="370"/>
                    <a:pt x="0" y="370"/>
                    <a:pt x="0" y="370"/>
                  </a:cubicBezTo>
                  <a:cubicBezTo>
                    <a:pt x="65" y="370"/>
                    <a:pt x="129" y="387"/>
                    <a:pt x="185" y="419"/>
                  </a:cubicBezTo>
                  <a:lnTo>
                    <a:pt x="370" y="99"/>
                  </a:lnTo>
                  <a:close/>
                </a:path>
              </a:pathLst>
            </a:custGeom>
            <a:solidFill>
              <a:sysClr val="window" lastClr="FFFFFF">
                <a:lumMod val="50000"/>
              </a:sysClr>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sp>
          <p:nvSpPr>
            <p:cNvPr id="42" name="Freeform 40">
              <a:extLst>
                <a:ext uri="{FF2B5EF4-FFF2-40B4-BE49-F238E27FC236}">
                  <a16:creationId xmlns:a16="http://schemas.microsoft.com/office/drawing/2014/main" id="{C9D3D8FE-43E7-8293-B27F-C6B2B9979CC5}"/>
                </a:ext>
              </a:extLst>
            </p:cNvPr>
            <p:cNvSpPr>
              <a:spLocks/>
            </p:cNvSpPr>
            <p:nvPr/>
          </p:nvSpPr>
          <p:spPr bwMode="auto">
            <a:xfrm>
              <a:off x="1589420" y="1520457"/>
              <a:ext cx="1445254" cy="1447943"/>
            </a:xfrm>
            <a:custGeom>
              <a:avLst/>
              <a:gdLst>
                <a:gd name="T0" fmla="*/ 455 w 455"/>
                <a:gd name="T1" fmla="*/ 271 h 456"/>
                <a:gd name="T2" fmla="*/ 185 w 455"/>
                <a:gd name="T3" fmla="*/ 0 h 456"/>
                <a:gd name="T4" fmla="*/ 0 w 455"/>
                <a:gd name="T5" fmla="*/ 320 h 456"/>
                <a:gd name="T6" fmla="*/ 135 w 455"/>
                <a:gd name="T7" fmla="*/ 456 h 456"/>
                <a:gd name="T8" fmla="*/ 455 w 455"/>
                <a:gd name="T9" fmla="*/ 271 h 456"/>
              </a:gdLst>
              <a:ahLst/>
              <a:cxnLst>
                <a:cxn ang="0">
                  <a:pos x="T0" y="T1"/>
                </a:cxn>
                <a:cxn ang="0">
                  <a:pos x="T2" y="T3"/>
                </a:cxn>
                <a:cxn ang="0">
                  <a:pos x="T4" y="T5"/>
                </a:cxn>
                <a:cxn ang="0">
                  <a:pos x="T6" y="T7"/>
                </a:cxn>
                <a:cxn ang="0">
                  <a:pos x="T8" y="T9"/>
                </a:cxn>
              </a:cxnLst>
              <a:rect l="0" t="0" r="r" b="b"/>
              <a:pathLst>
                <a:path w="455" h="456">
                  <a:moveTo>
                    <a:pt x="455" y="271"/>
                  </a:moveTo>
                  <a:cubicBezTo>
                    <a:pt x="390" y="159"/>
                    <a:pt x="297" y="65"/>
                    <a:pt x="185" y="0"/>
                  </a:cubicBezTo>
                  <a:cubicBezTo>
                    <a:pt x="0" y="320"/>
                    <a:pt x="0" y="320"/>
                    <a:pt x="0" y="320"/>
                  </a:cubicBezTo>
                  <a:cubicBezTo>
                    <a:pt x="56" y="353"/>
                    <a:pt x="103" y="399"/>
                    <a:pt x="135" y="456"/>
                  </a:cubicBezTo>
                  <a:lnTo>
                    <a:pt x="455" y="271"/>
                  </a:lnTo>
                  <a:close/>
                </a:path>
              </a:pathLst>
            </a:custGeom>
            <a:solidFill>
              <a:sysClr val="window" lastClr="FFFFFF">
                <a:lumMod val="95000"/>
              </a:sysClr>
            </a:solidFill>
            <a:ln w="190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sp>
          <p:nvSpPr>
            <p:cNvPr id="43" name="Freeform 41">
              <a:extLst>
                <a:ext uri="{FF2B5EF4-FFF2-40B4-BE49-F238E27FC236}">
                  <a16:creationId xmlns:a16="http://schemas.microsoft.com/office/drawing/2014/main" id="{1B60C5D1-4AB5-312A-2A92-DDEC6678FF50}"/>
                </a:ext>
              </a:extLst>
            </p:cNvPr>
            <p:cNvSpPr>
              <a:spLocks/>
            </p:cNvSpPr>
            <p:nvPr/>
          </p:nvSpPr>
          <p:spPr bwMode="auto">
            <a:xfrm>
              <a:off x="2018291" y="2378199"/>
              <a:ext cx="1330978" cy="1172337"/>
            </a:xfrm>
            <a:custGeom>
              <a:avLst/>
              <a:gdLst>
                <a:gd name="T0" fmla="*/ 419 w 419"/>
                <a:gd name="T1" fmla="*/ 369 h 369"/>
                <a:gd name="T2" fmla="*/ 320 w 419"/>
                <a:gd name="T3" fmla="*/ 0 h 369"/>
                <a:gd name="T4" fmla="*/ 0 w 419"/>
                <a:gd name="T5" fmla="*/ 185 h 369"/>
                <a:gd name="T6" fmla="*/ 50 w 419"/>
                <a:gd name="T7" fmla="*/ 369 h 369"/>
                <a:gd name="T8" fmla="*/ 419 w 419"/>
                <a:gd name="T9" fmla="*/ 369 h 369"/>
              </a:gdLst>
              <a:ahLst/>
              <a:cxnLst>
                <a:cxn ang="0">
                  <a:pos x="T0" y="T1"/>
                </a:cxn>
                <a:cxn ang="0">
                  <a:pos x="T2" y="T3"/>
                </a:cxn>
                <a:cxn ang="0">
                  <a:pos x="T4" y="T5"/>
                </a:cxn>
                <a:cxn ang="0">
                  <a:pos x="T6" y="T7"/>
                </a:cxn>
                <a:cxn ang="0">
                  <a:pos x="T8" y="T9"/>
                </a:cxn>
              </a:cxnLst>
              <a:rect l="0" t="0" r="r" b="b"/>
              <a:pathLst>
                <a:path w="419" h="369">
                  <a:moveTo>
                    <a:pt x="419" y="369"/>
                  </a:moveTo>
                  <a:cubicBezTo>
                    <a:pt x="419" y="240"/>
                    <a:pt x="385" y="112"/>
                    <a:pt x="320" y="0"/>
                  </a:cubicBezTo>
                  <a:cubicBezTo>
                    <a:pt x="0" y="185"/>
                    <a:pt x="0" y="185"/>
                    <a:pt x="0" y="185"/>
                  </a:cubicBezTo>
                  <a:cubicBezTo>
                    <a:pt x="33" y="241"/>
                    <a:pt x="50" y="304"/>
                    <a:pt x="50" y="369"/>
                  </a:cubicBezTo>
                  <a:lnTo>
                    <a:pt x="419" y="369"/>
                  </a:lnTo>
                  <a:close/>
                </a:path>
              </a:pathLst>
            </a:custGeom>
            <a:solidFill>
              <a:sysClr val="window" lastClr="FFFFFF">
                <a:lumMod val="65000"/>
              </a:sysClr>
            </a:solidFill>
            <a:ln w="190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sp>
          <p:nvSpPr>
            <p:cNvPr id="44" name="Freeform 42">
              <a:extLst>
                <a:ext uri="{FF2B5EF4-FFF2-40B4-BE49-F238E27FC236}">
                  <a16:creationId xmlns:a16="http://schemas.microsoft.com/office/drawing/2014/main" id="{43C60F99-C4E9-D4C0-9F17-6E3C2088C279}"/>
                </a:ext>
              </a:extLst>
            </p:cNvPr>
            <p:cNvSpPr>
              <a:spLocks/>
            </p:cNvSpPr>
            <p:nvPr/>
          </p:nvSpPr>
          <p:spPr bwMode="auto">
            <a:xfrm>
              <a:off x="2018291" y="3551881"/>
              <a:ext cx="1330978" cy="1175025"/>
            </a:xfrm>
            <a:custGeom>
              <a:avLst/>
              <a:gdLst>
                <a:gd name="T0" fmla="*/ 320 w 419"/>
                <a:gd name="T1" fmla="*/ 370 h 370"/>
                <a:gd name="T2" fmla="*/ 419 w 419"/>
                <a:gd name="T3" fmla="*/ 0 h 370"/>
                <a:gd name="T4" fmla="*/ 50 w 419"/>
                <a:gd name="T5" fmla="*/ 0 h 370"/>
                <a:gd name="T6" fmla="*/ 0 w 419"/>
                <a:gd name="T7" fmla="*/ 185 h 370"/>
                <a:gd name="T8" fmla="*/ 320 w 419"/>
                <a:gd name="T9" fmla="*/ 370 h 370"/>
              </a:gdLst>
              <a:ahLst/>
              <a:cxnLst>
                <a:cxn ang="0">
                  <a:pos x="T0" y="T1"/>
                </a:cxn>
                <a:cxn ang="0">
                  <a:pos x="T2" y="T3"/>
                </a:cxn>
                <a:cxn ang="0">
                  <a:pos x="T4" y="T5"/>
                </a:cxn>
                <a:cxn ang="0">
                  <a:pos x="T6" y="T7"/>
                </a:cxn>
                <a:cxn ang="0">
                  <a:pos x="T8" y="T9"/>
                </a:cxn>
              </a:cxnLst>
              <a:rect l="0" t="0" r="r" b="b"/>
              <a:pathLst>
                <a:path w="419" h="370">
                  <a:moveTo>
                    <a:pt x="320" y="370"/>
                  </a:moveTo>
                  <a:cubicBezTo>
                    <a:pt x="385" y="257"/>
                    <a:pt x="419" y="130"/>
                    <a:pt x="419" y="0"/>
                  </a:cubicBezTo>
                  <a:cubicBezTo>
                    <a:pt x="50" y="0"/>
                    <a:pt x="50" y="0"/>
                    <a:pt x="50" y="0"/>
                  </a:cubicBezTo>
                  <a:cubicBezTo>
                    <a:pt x="50" y="65"/>
                    <a:pt x="33" y="129"/>
                    <a:pt x="0" y="185"/>
                  </a:cubicBezTo>
                  <a:lnTo>
                    <a:pt x="320" y="370"/>
                  </a:lnTo>
                  <a:close/>
                </a:path>
              </a:pathLst>
            </a:custGeom>
            <a:solidFill>
              <a:sysClr val="window" lastClr="FFFFFF">
                <a:lumMod val="95000"/>
              </a:sysClr>
            </a:solidFill>
            <a:ln w="190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sp>
          <p:nvSpPr>
            <p:cNvPr id="45" name="Freeform 43">
              <a:extLst>
                <a:ext uri="{FF2B5EF4-FFF2-40B4-BE49-F238E27FC236}">
                  <a16:creationId xmlns:a16="http://schemas.microsoft.com/office/drawing/2014/main" id="{3FCE9CDA-641B-85FC-AF1A-D03A97A123A1}"/>
                </a:ext>
              </a:extLst>
            </p:cNvPr>
            <p:cNvSpPr>
              <a:spLocks/>
            </p:cNvSpPr>
            <p:nvPr/>
          </p:nvSpPr>
          <p:spPr bwMode="auto">
            <a:xfrm>
              <a:off x="1589420" y="4139394"/>
              <a:ext cx="1445254" cy="1445254"/>
            </a:xfrm>
            <a:custGeom>
              <a:avLst/>
              <a:gdLst>
                <a:gd name="T0" fmla="*/ 185 w 455"/>
                <a:gd name="T1" fmla="*/ 455 h 455"/>
                <a:gd name="T2" fmla="*/ 455 w 455"/>
                <a:gd name="T3" fmla="*/ 185 h 455"/>
                <a:gd name="T4" fmla="*/ 135 w 455"/>
                <a:gd name="T5" fmla="*/ 0 h 455"/>
                <a:gd name="T6" fmla="*/ 0 w 455"/>
                <a:gd name="T7" fmla="*/ 135 h 455"/>
                <a:gd name="T8" fmla="*/ 185 w 455"/>
                <a:gd name="T9" fmla="*/ 455 h 455"/>
              </a:gdLst>
              <a:ahLst/>
              <a:cxnLst>
                <a:cxn ang="0">
                  <a:pos x="T0" y="T1"/>
                </a:cxn>
                <a:cxn ang="0">
                  <a:pos x="T2" y="T3"/>
                </a:cxn>
                <a:cxn ang="0">
                  <a:pos x="T4" y="T5"/>
                </a:cxn>
                <a:cxn ang="0">
                  <a:pos x="T6" y="T7"/>
                </a:cxn>
                <a:cxn ang="0">
                  <a:pos x="T8" y="T9"/>
                </a:cxn>
              </a:cxnLst>
              <a:rect l="0" t="0" r="r" b="b"/>
              <a:pathLst>
                <a:path w="455" h="455">
                  <a:moveTo>
                    <a:pt x="185" y="455"/>
                  </a:moveTo>
                  <a:cubicBezTo>
                    <a:pt x="297" y="390"/>
                    <a:pt x="390" y="297"/>
                    <a:pt x="455" y="185"/>
                  </a:cubicBezTo>
                  <a:cubicBezTo>
                    <a:pt x="135" y="0"/>
                    <a:pt x="135" y="0"/>
                    <a:pt x="135" y="0"/>
                  </a:cubicBezTo>
                  <a:cubicBezTo>
                    <a:pt x="103" y="56"/>
                    <a:pt x="56" y="103"/>
                    <a:pt x="0" y="135"/>
                  </a:cubicBezTo>
                  <a:lnTo>
                    <a:pt x="185" y="455"/>
                  </a:lnTo>
                  <a:close/>
                </a:path>
              </a:pathLst>
            </a:custGeom>
            <a:solidFill>
              <a:sysClr val="window" lastClr="FFFFFF">
                <a:lumMod val="75000"/>
              </a:sysClr>
            </a:solidFill>
            <a:ln w="190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sp>
          <p:nvSpPr>
            <p:cNvPr id="46" name="Freeform 44">
              <a:extLst>
                <a:ext uri="{FF2B5EF4-FFF2-40B4-BE49-F238E27FC236}">
                  <a16:creationId xmlns:a16="http://schemas.microsoft.com/office/drawing/2014/main" id="{838BC41D-7BDB-843D-D60D-75A2BD6A9002}"/>
                </a:ext>
              </a:extLst>
            </p:cNvPr>
            <p:cNvSpPr>
              <a:spLocks/>
            </p:cNvSpPr>
            <p:nvPr/>
          </p:nvSpPr>
          <p:spPr bwMode="auto">
            <a:xfrm>
              <a:off x="1001907" y="4568265"/>
              <a:ext cx="1175025" cy="1330978"/>
            </a:xfrm>
            <a:custGeom>
              <a:avLst/>
              <a:gdLst>
                <a:gd name="T0" fmla="*/ 0 w 370"/>
                <a:gd name="T1" fmla="*/ 419 h 419"/>
                <a:gd name="T2" fmla="*/ 370 w 370"/>
                <a:gd name="T3" fmla="*/ 320 h 419"/>
                <a:gd name="T4" fmla="*/ 185 w 370"/>
                <a:gd name="T5" fmla="*/ 0 h 419"/>
                <a:gd name="T6" fmla="*/ 0 w 370"/>
                <a:gd name="T7" fmla="*/ 50 h 419"/>
                <a:gd name="T8" fmla="*/ 0 w 370"/>
                <a:gd name="T9" fmla="*/ 419 h 419"/>
              </a:gdLst>
              <a:ahLst/>
              <a:cxnLst>
                <a:cxn ang="0">
                  <a:pos x="T0" y="T1"/>
                </a:cxn>
                <a:cxn ang="0">
                  <a:pos x="T2" y="T3"/>
                </a:cxn>
                <a:cxn ang="0">
                  <a:pos x="T4" y="T5"/>
                </a:cxn>
                <a:cxn ang="0">
                  <a:pos x="T6" y="T7"/>
                </a:cxn>
                <a:cxn ang="0">
                  <a:pos x="T8" y="T9"/>
                </a:cxn>
              </a:cxnLst>
              <a:rect l="0" t="0" r="r" b="b"/>
              <a:pathLst>
                <a:path w="370" h="419">
                  <a:moveTo>
                    <a:pt x="0" y="419"/>
                  </a:moveTo>
                  <a:cubicBezTo>
                    <a:pt x="130" y="419"/>
                    <a:pt x="257" y="385"/>
                    <a:pt x="370" y="320"/>
                  </a:cubicBezTo>
                  <a:cubicBezTo>
                    <a:pt x="185" y="0"/>
                    <a:pt x="185" y="0"/>
                    <a:pt x="185" y="0"/>
                  </a:cubicBezTo>
                  <a:cubicBezTo>
                    <a:pt x="129" y="33"/>
                    <a:pt x="65" y="50"/>
                    <a:pt x="0" y="50"/>
                  </a:cubicBezTo>
                  <a:lnTo>
                    <a:pt x="0" y="419"/>
                  </a:lnTo>
                  <a:close/>
                </a:path>
              </a:pathLst>
            </a:custGeom>
            <a:solidFill>
              <a:srgbClr val="F0F0F0"/>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sp>
          <p:nvSpPr>
            <p:cNvPr id="47" name="Freeform 45">
              <a:extLst>
                <a:ext uri="{FF2B5EF4-FFF2-40B4-BE49-F238E27FC236}">
                  <a16:creationId xmlns:a16="http://schemas.microsoft.com/office/drawing/2014/main" id="{19346E79-B435-6DAA-8E6F-B6DD457B17E7}"/>
                </a:ext>
              </a:extLst>
            </p:cNvPr>
            <p:cNvSpPr>
              <a:spLocks/>
            </p:cNvSpPr>
            <p:nvPr/>
          </p:nvSpPr>
          <p:spPr bwMode="auto">
            <a:xfrm>
              <a:off x="25225" y="4568265"/>
              <a:ext cx="976682" cy="1330978"/>
            </a:xfrm>
            <a:custGeom>
              <a:avLst/>
              <a:gdLst/>
              <a:ahLst/>
              <a:cxnLst/>
              <a:rect l="l" t="t" r="r" b="b"/>
              <a:pathLst>
                <a:path w="976682" h="1330978">
                  <a:moveTo>
                    <a:pt x="388925" y="0"/>
                  </a:moveTo>
                  <a:cubicBezTo>
                    <a:pt x="570018" y="104827"/>
                    <a:pt x="770173" y="158828"/>
                    <a:pt x="976682" y="158828"/>
                  </a:cubicBezTo>
                  <a:cubicBezTo>
                    <a:pt x="976682" y="158828"/>
                    <a:pt x="976682" y="158828"/>
                    <a:pt x="976682" y="1330978"/>
                  </a:cubicBezTo>
                  <a:cubicBezTo>
                    <a:pt x="637480" y="1330978"/>
                    <a:pt x="304707" y="1258131"/>
                    <a:pt x="0" y="1116588"/>
                  </a:cubicBezTo>
                  <a:lnTo>
                    <a:pt x="0" y="676284"/>
                  </a:lnTo>
                  <a:close/>
                </a:path>
              </a:pathLst>
            </a:custGeom>
            <a:solidFill>
              <a:srgbClr val="F0F0F0"/>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sp>
          <p:nvSpPr>
            <p:cNvPr id="48" name="Freeform 46">
              <a:extLst>
                <a:ext uri="{FF2B5EF4-FFF2-40B4-BE49-F238E27FC236}">
                  <a16:creationId xmlns:a16="http://schemas.microsoft.com/office/drawing/2014/main" id="{F9921024-8870-23C1-E954-1F646E3EE2B3}"/>
                </a:ext>
              </a:extLst>
            </p:cNvPr>
            <p:cNvSpPr>
              <a:spLocks/>
            </p:cNvSpPr>
            <p:nvPr/>
          </p:nvSpPr>
          <p:spPr bwMode="auto">
            <a:xfrm>
              <a:off x="25226" y="4198139"/>
              <a:ext cx="389169" cy="1046882"/>
            </a:xfrm>
            <a:custGeom>
              <a:avLst/>
              <a:gdLst/>
              <a:ahLst/>
              <a:cxnLst/>
              <a:rect l="l" t="t" r="r" b="b"/>
              <a:pathLst>
                <a:path w="389169" h="1046882">
                  <a:moveTo>
                    <a:pt x="0" y="0"/>
                  </a:moveTo>
                  <a:cubicBezTo>
                    <a:pt x="99115" y="152754"/>
                    <a:pt x="231695" y="280082"/>
                    <a:pt x="389169" y="370067"/>
                  </a:cubicBezTo>
                  <a:cubicBezTo>
                    <a:pt x="389169" y="370067"/>
                    <a:pt x="389169" y="370067"/>
                    <a:pt x="0" y="1046882"/>
                  </a:cubicBezTo>
                  <a:close/>
                </a:path>
              </a:pathLst>
            </a:custGeom>
            <a:solidFill>
              <a:srgbClr val="F0F0F0"/>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sp>
          <p:nvSpPr>
            <p:cNvPr id="49" name="Freeform 49">
              <a:extLst>
                <a:ext uri="{FF2B5EF4-FFF2-40B4-BE49-F238E27FC236}">
                  <a16:creationId xmlns:a16="http://schemas.microsoft.com/office/drawing/2014/main" id="{14E8D14B-EEA8-D727-54BF-553E06D99CCD}"/>
                </a:ext>
              </a:extLst>
            </p:cNvPr>
            <p:cNvSpPr>
              <a:spLocks/>
            </p:cNvSpPr>
            <p:nvPr/>
          </p:nvSpPr>
          <p:spPr bwMode="auto">
            <a:xfrm>
              <a:off x="25226" y="1858626"/>
              <a:ext cx="389169" cy="1049067"/>
            </a:xfrm>
            <a:custGeom>
              <a:avLst/>
              <a:gdLst/>
              <a:ahLst/>
              <a:cxnLst/>
              <a:rect l="l" t="t" r="r" b="b"/>
              <a:pathLst>
                <a:path w="389169" h="1049067">
                  <a:moveTo>
                    <a:pt x="0" y="0"/>
                  </a:moveTo>
                  <a:lnTo>
                    <a:pt x="389169" y="676588"/>
                  </a:lnTo>
                  <a:cubicBezTo>
                    <a:pt x="231638" y="769388"/>
                    <a:pt x="99020" y="894563"/>
                    <a:pt x="0" y="1049067"/>
                  </a:cubicBezTo>
                  <a:close/>
                </a:path>
              </a:pathLst>
            </a:custGeom>
            <a:solidFill>
              <a:srgbClr val="F0F0F0"/>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sp>
          <p:nvSpPr>
            <p:cNvPr id="50" name="Freeform 50">
              <a:extLst>
                <a:ext uri="{FF2B5EF4-FFF2-40B4-BE49-F238E27FC236}">
                  <a16:creationId xmlns:a16="http://schemas.microsoft.com/office/drawing/2014/main" id="{19BB980F-F54C-25DF-16FF-164CDBBD8083}"/>
                </a:ext>
              </a:extLst>
            </p:cNvPr>
            <p:cNvSpPr>
              <a:spLocks/>
            </p:cNvSpPr>
            <p:nvPr/>
          </p:nvSpPr>
          <p:spPr bwMode="auto">
            <a:xfrm>
              <a:off x="25225" y="1204519"/>
              <a:ext cx="976682" cy="1330978"/>
            </a:xfrm>
            <a:custGeom>
              <a:avLst/>
              <a:gdLst/>
              <a:ahLst/>
              <a:cxnLst/>
              <a:rect l="l" t="t" r="r" b="b"/>
              <a:pathLst>
                <a:path w="976682" h="1330978">
                  <a:moveTo>
                    <a:pt x="976682" y="0"/>
                  </a:moveTo>
                  <a:lnTo>
                    <a:pt x="976682" y="1175327"/>
                  </a:lnTo>
                  <a:cubicBezTo>
                    <a:pt x="770173" y="1175327"/>
                    <a:pt x="570018" y="1229328"/>
                    <a:pt x="388925" y="1330978"/>
                  </a:cubicBezTo>
                  <a:cubicBezTo>
                    <a:pt x="388925" y="1330978"/>
                    <a:pt x="388925" y="1330978"/>
                    <a:pt x="0" y="654695"/>
                  </a:cubicBezTo>
                  <a:lnTo>
                    <a:pt x="0" y="215487"/>
                  </a:lnTo>
                  <a:cubicBezTo>
                    <a:pt x="304723" y="74986"/>
                    <a:pt x="637489" y="0"/>
                    <a:pt x="976682" y="0"/>
                  </a:cubicBezTo>
                  <a:close/>
                </a:path>
              </a:pathLst>
            </a:custGeom>
            <a:solidFill>
              <a:srgbClr val="F0F0F0"/>
            </a:solidFill>
            <a:ln w="19050">
              <a:solidFill>
                <a:srgbClr val="FFFFFF"/>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sp>
          <p:nvSpPr>
            <p:cNvPr id="51" name="Rectangle 50">
              <a:extLst>
                <a:ext uri="{FF2B5EF4-FFF2-40B4-BE49-F238E27FC236}">
                  <a16:creationId xmlns:a16="http://schemas.microsoft.com/office/drawing/2014/main" id="{5F0581F6-A117-8951-D4FD-10953B939AC0}"/>
                </a:ext>
              </a:extLst>
            </p:cNvPr>
            <p:cNvSpPr/>
            <p:nvPr/>
          </p:nvSpPr>
          <p:spPr>
            <a:xfrm>
              <a:off x="2456153" y="2896447"/>
              <a:ext cx="509755" cy="492443"/>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EYInterstate Light" panose="02000506000000020004" pitchFamily="2" charset="0"/>
                  <a:cs typeface="Arial" charset="0"/>
                </a:rPr>
                <a:t>06</a:t>
              </a:r>
              <a:endParaRPr kumimoji="0" lang="en-US" sz="32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sp>
          <p:nvSpPr>
            <p:cNvPr id="52" name="Rectangle 51">
              <a:extLst>
                <a:ext uri="{FF2B5EF4-FFF2-40B4-BE49-F238E27FC236}">
                  <a16:creationId xmlns:a16="http://schemas.microsoft.com/office/drawing/2014/main" id="{53511DA0-B98C-2875-7F78-9D66C1D2E497}"/>
                </a:ext>
              </a:extLst>
            </p:cNvPr>
            <p:cNvSpPr/>
            <p:nvPr/>
          </p:nvSpPr>
          <p:spPr>
            <a:xfrm>
              <a:off x="2052670" y="4561227"/>
              <a:ext cx="509755" cy="492443"/>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rPr>
                <a:t>07</a:t>
              </a:r>
            </a:p>
          </p:txBody>
        </p:sp>
        <p:sp>
          <p:nvSpPr>
            <p:cNvPr id="53" name="Rectangle 52">
              <a:extLst>
                <a:ext uri="{FF2B5EF4-FFF2-40B4-BE49-F238E27FC236}">
                  <a16:creationId xmlns:a16="http://schemas.microsoft.com/office/drawing/2014/main" id="{66AA2674-A8F4-C915-0317-5CA8A235D75A}"/>
                </a:ext>
              </a:extLst>
            </p:cNvPr>
            <p:cNvSpPr/>
            <p:nvPr/>
          </p:nvSpPr>
          <p:spPr>
            <a:xfrm>
              <a:off x="1220982" y="1626545"/>
              <a:ext cx="509755" cy="492443"/>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EYInterstate Light" panose="02000506000000020004" pitchFamily="2" charset="0"/>
                  <a:cs typeface="Arial" charset="0"/>
                </a:rPr>
                <a:t>05</a:t>
              </a:r>
              <a:endParaRPr kumimoji="0" lang="en-US" sz="3200" b="0" i="0" u="none" strike="noStrike" kern="0" cap="none" spc="0" normalizeH="0" baseline="0" noProof="0" dirty="0">
                <a:ln>
                  <a:noFill/>
                </a:ln>
                <a:solidFill>
                  <a:srgbClr val="000000"/>
                </a:solidFill>
                <a:effectLst/>
                <a:uLnTx/>
                <a:uFillTx/>
                <a:latin typeface="EYInterstate Light" panose="02000506000000020004" pitchFamily="2" charset="0"/>
                <a:cs typeface="Arial" charset="0"/>
              </a:endParaRPr>
            </a:p>
          </p:txBody>
        </p:sp>
      </p:grpSp>
      <p:pic>
        <p:nvPicPr>
          <p:cNvPr id="2050" name="Picture 2" descr="Down time - Free time and date icons">
            <a:extLst>
              <a:ext uri="{FF2B5EF4-FFF2-40B4-BE49-F238E27FC236}">
                <a16:creationId xmlns:a16="http://schemas.microsoft.com/office/drawing/2014/main" id="{AE2598F9-457A-5048-84DE-729CF9DC93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4941" y="1621099"/>
            <a:ext cx="828000" cy="828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Recovery - Free business icons">
            <a:extLst>
              <a:ext uri="{FF2B5EF4-FFF2-40B4-BE49-F238E27FC236}">
                <a16:creationId xmlns:a16="http://schemas.microsoft.com/office/drawing/2014/main" id="{6914628E-0537-BCFA-D844-9E07A6E436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94941" y="3142668"/>
            <a:ext cx="828000" cy="8280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eport Icon Vector Art, Icons, and Graphics for Free Download">
            <a:extLst>
              <a:ext uri="{FF2B5EF4-FFF2-40B4-BE49-F238E27FC236}">
                <a16:creationId xmlns:a16="http://schemas.microsoft.com/office/drawing/2014/main" id="{972DC3CE-3700-D150-5009-A945BF4FF54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2654" t="5847" r="12510" b="21089"/>
          <a:stretch/>
        </p:blipFill>
        <p:spPr bwMode="auto">
          <a:xfrm>
            <a:off x="3694941" y="4675348"/>
            <a:ext cx="828000" cy="82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EF09EF4-86D6-9E03-B2A5-F97B5B5F14FD}"/>
              </a:ext>
            </a:extLst>
          </p:cNvPr>
          <p:cNvSpPr txBox="1"/>
          <p:nvPr/>
        </p:nvSpPr>
        <p:spPr>
          <a:xfrm>
            <a:off x="609599" y="147456"/>
            <a:ext cx="10972802"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3600" dirty="0">
                <a:solidFill>
                  <a:schemeClr val="bg1"/>
                </a:solidFill>
              </a:rPr>
              <a:t>Process Steps</a:t>
            </a:r>
          </a:p>
        </p:txBody>
      </p:sp>
    </p:spTree>
    <p:extLst>
      <p:ext uri="{BB962C8B-B14F-4D97-AF65-F5344CB8AC3E}">
        <p14:creationId xmlns:p14="http://schemas.microsoft.com/office/powerpoint/2010/main" val="27795960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0ACC24-8488-43C0-9A0A-195C0E6ED0D1}"/>
              </a:ext>
            </a:extLst>
          </p:cNvPr>
          <p:cNvSpPr txBox="1"/>
          <p:nvPr/>
        </p:nvSpPr>
        <p:spPr>
          <a:xfrm>
            <a:off x="6669587" y="3182939"/>
            <a:ext cx="5256627" cy="470898"/>
          </a:xfrm>
          <a:prstGeom prst="rect">
            <a:avLst/>
          </a:prstGeom>
          <a:noFill/>
        </p:spPr>
        <p:txBody>
          <a:bodyPr wrap="square" lIns="0" tIns="0" rIns="0" bIns="0" rtlCol="0">
            <a:spAutoFit/>
          </a:body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IN" sz="3600" b="1" i="0" u="none" strike="noStrike" kern="1200" cap="none" spc="0" normalizeH="0" baseline="0" noProof="0" dirty="0">
                <a:ln>
                  <a:noFill/>
                </a:ln>
                <a:solidFill>
                  <a:srgbClr val="FFFFFF"/>
                </a:solidFill>
                <a:effectLst/>
                <a:uLnTx/>
                <a:uFillTx/>
                <a:latin typeface="EYInterstate Light"/>
                <a:ea typeface="+mn-ea"/>
                <a:cs typeface="Arial" pitchFamily="34" charset="0"/>
              </a:rPr>
              <a:t>BIA Approach</a:t>
            </a:r>
          </a:p>
        </p:txBody>
      </p:sp>
      <p:sp>
        <p:nvSpPr>
          <p:cNvPr id="3" name="TextBox 2">
            <a:extLst>
              <a:ext uri="{FF2B5EF4-FFF2-40B4-BE49-F238E27FC236}">
                <a16:creationId xmlns:a16="http://schemas.microsoft.com/office/drawing/2014/main" id="{561E47C9-B240-494C-9E62-B493CF52B358}"/>
              </a:ext>
            </a:extLst>
          </p:cNvPr>
          <p:cNvSpPr txBox="1"/>
          <p:nvPr/>
        </p:nvSpPr>
        <p:spPr>
          <a:xfrm>
            <a:off x="2894099" y="1710879"/>
            <a:ext cx="2076760" cy="1768794"/>
          </a:xfrm>
          <a:prstGeom prst="rect">
            <a:avLst/>
          </a:prstGeom>
          <a:noFill/>
        </p:spPr>
        <p:txBody>
          <a:bodyPr wrap="square" lIns="0" tIns="0" rIns="0" bIns="0" rtlCol="0">
            <a:spAutoFit/>
          </a:bodyPr>
          <a:lstStyle/>
          <a:p>
            <a:pPr marL="0" marR="0" lvl="0" indent="0" algn="l" defTabSz="913943" rtl="0" eaLnBrk="1" fontAlgn="auto" latinLnBrk="0" hangingPunct="1">
              <a:lnSpc>
                <a:spcPct val="100000"/>
              </a:lnSpc>
              <a:spcBef>
                <a:spcPts val="0"/>
              </a:spcBef>
              <a:spcAft>
                <a:spcPts val="1199"/>
              </a:spcAft>
              <a:buClrTx/>
              <a:buSzTx/>
              <a:buFontTx/>
              <a:buNone/>
              <a:tabLst/>
              <a:defRPr/>
            </a:pPr>
            <a:r>
              <a:rPr kumimoji="0" lang="en-US" sz="11494" b="1" i="0" u="none" strike="noStrike" kern="1200" cap="none" spc="0" normalizeH="0" baseline="0" noProof="0" dirty="0">
                <a:ln>
                  <a:noFill/>
                </a:ln>
                <a:solidFill>
                  <a:srgbClr val="2E2E38"/>
                </a:solidFill>
                <a:effectLst/>
                <a:uLnTx/>
                <a:uFillTx/>
                <a:latin typeface="EYInterstate Light"/>
                <a:ea typeface="+mn-ea"/>
                <a:cs typeface="+mn-cs"/>
              </a:rPr>
              <a:t>04</a:t>
            </a:r>
            <a:endParaRPr kumimoji="0" lang="en-CA" sz="11494"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37176213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F09EF4-86D6-9E03-B2A5-F97B5B5F14FD}"/>
              </a:ext>
            </a:extLst>
          </p:cNvPr>
          <p:cNvSpPr txBox="1"/>
          <p:nvPr/>
        </p:nvSpPr>
        <p:spPr>
          <a:xfrm>
            <a:off x="609599" y="147456"/>
            <a:ext cx="10972802" cy="50783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3600" b="0" i="0" u="none" strike="noStrike" kern="1200" cap="none" spc="0" normalizeH="0" baseline="0" noProof="0" dirty="0">
                <a:ln>
                  <a:noFill/>
                </a:ln>
                <a:solidFill>
                  <a:prstClr val="white"/>
                </a:solidFill>
                <a:effectLst/>
                <a:uLnTx/>
                <a:uFillTx/>
                <a:latin typeface="EYInterstate Light"/>
                <a:ea typeface="+mn-ea"/>
                <a:cs typeface="+mn-cs"/>
              </a:rPr>
              <a:t>BIA approach</a:t>
            </a:r>
          </a:p>
        </p:txBody>
      </p:sp>
      <p:cxnSp>
        <p:nvCxnSpPr>
          <p:cNvPr id="2139" name="Straight Connector 2138">
            <a:extLst>
              <a:ext uri="{FF2B5EF4-FFF2-40B4-BE49-F238E27FC236}">
                <a16:creationId xmlns:a16="http://schemas.microsoft.com/office/drawing/2014/main" id="{D53F0759-B041-C81F-AC42-8A4A8810EE55}"/>
              </a:ext>
            </a:extLst>
          </p:cNvPr>
          <p:cNvCxnSpPr/>
          <p:nvPr/>
        </p:nvCxnSpPr>
        <p:spPr>
          <a:xfrm flipV="1">
            <a:off x="5292262" y="1291805"/>
            <a:ext cx="0" cy="2121145"/>
          </a:xfrm>
          <a:prstGeom prst="line">
            <a:avLst/>
          </a:prstGeom>
          <a:noFill/>
          <a:ln w="6350" cap="flat" cmpd="sng" algn="ctr">
            <a:solidFill>
              <a:schemeClr val="bg1"/>
            </a:solidFill>
            <a:prstDash val="solid"/>
            <a:tailEnd type="none"/>
          </a:ln>
          <a:effectLst/>
        </p:spPr>
      </p:cxnSp>
      <p:cxnSp>
        <p:nvCxnSpPr>
          <p:cNvPr id="2140" name="Straight Connector 2139">
            <a:extLst>
              <a:ext uri="{FF2B5EF4-FFF2-40B4-BE49-F238E27FC236}">
                <a16:creationId xmlns:a16="http://schemas.microsoft.com/office/drawing/2014/main" id="{E8C282D1-12EC-7CC0-733A-8009DFACC3FB}"/>
              </a:ext>
            </a:extLst>
          </p:cNvPr>
          <p:cNvCxnSpPr/>
          <p:nvPr/>
        </p:nvCxnSpPr>
        <p:spPr>
          <a:xfrm>
            <a:off x="542924" y="3490728"/>
            <a:ext cx="11220451" cy="0"/>
          </a:xfrm>
          <a:prstGeom prst="line">
            <a:avLst/>
          </a:prstGeom>
          <a:noFill/>
          <a:ln w="28575" cap="flat" cmpd="sng" algn="ctr">
            <a:solidFill>
              <a:schemeClr val="bg1"/>
            </a:solidFill>
            <a:prstDash val="solid"/>
            <a:tailEnd type="none"/>
          </a:ln>
          <a:effectLst/>
        </p:spPr>
      </p:cxnSp>
      <p:cxnSp>
        <p:nvCxnSpPr>
          <p:cNvPr id="2141" name="Straight Connector 2140">
            <a:extLst>
              <a:ext uri="{FF2B5EF4-FFF2-40B4-BE49-F238E27FC236}">
                <a16:creationId xmlns:a16="http://schemas.microsoft.com/office/drawing/2014/main" id="{0562FCBC-A5E2-6052-D9E9-D27CF4774DAB}"/>
              </a:ext>
            </a:extLst>
          </p:cNvPr>
          <p:cNvCxnSpPr/>
          <p:nvPr/>
        </p:nvCxnSpPr>
        <p:spPr>
          <a:xfrm flipH="1">
            <a:off x="10425178" y="3568506"/>
            <a:ext cx="0" cy="2121145"/>
          </a:xfrm>
          <a:prstGeom prst="line">
            <a:avLst/>
          </a:prstGeom>
          <a:noFill/>
          <a:ln w="6350" cap="flat" cmpd="sng" algn="ctr">
            <a:solidFill>
              <a:schemeClr val="bg1"/>
            </a:solidFill>
            <a:prstDash val="solid"/>
            <a:tailEnd type="none"/>
          </a:ln>
          <a:effectLst/>
        </p:spPr>
      </p:cxnSp>
      <p:sp>
        <p:nvSpPr>
          <p:cNvPr id="2142" name="Oval 2141">
            <a:extLst>
              <a:ext uri="{FF2B5EF4-FFF2-40B4-BE49-F238E27FC236}">
                <a16:creationId xmlns:a16="http://schemas.microsoft.com/office/drawing/2014/main" id="{5AC02B6D-7C82-8388-D149-1F7E11AB9C57}"/>
              </a:ext>
            </a:extLst>
          </p:cNvPr>
          <p:cNvSpPr/>
          <p:nvPr/>
        </p:nvSpPr>
        <p:spPr>
          <a:xfrm flipH="1">
            <a:off x="10073470" y="4093145"/>
            <a:ext cx="703417" cy="584883"/>
          </a:xfrm>
          <a:prstGeom prst="ellipse">
            <a:avLst/>
          </a:prstGeom>
          <a:solidFill>
            <a:srgbClr val="9CCFF3"/>
          </a:solidFill>
          <a:ln w="2857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43" name="Right Triangle 2142">
            <a:extLst>
              <a:ext uri="{FF2B5EF4-FFF2-40B4-BE49-F238E27FC236}">
                <a16:creationId xmlns:a16="http://schemas.microsoft.com/office/drawing/2014/main" id="{23FCDE7B-98FA-7A2E-ECB9-765EF6A4CAFC}"/>
              </a:ext>
            </a:extLst>
          </p:cNvPr>
          <p:cNvSpPr/>
          <p:nvPr/>
        </p:nvSpPr>
        <p:spPr>
          <a:xfrm flipH="1">
            <a:off x="10238099" y="5534097"/>
            <a:ext cx="187080" cy="155554"/>
          </a:xfrm>
          <a:prstGeom prst="rtTriangle">
            <a:avLst/>
          </a:prstGeom>
          <a:solidFill>
            <a:srgbClr val="1499DE">
              <a:lumMod val="20000"/>
              <a:lumOff val="8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44" name="Rectangle 2143">
            <a:extLst>
              <a:ext uri="{FF2B5EF4-FFF2-40B4-BE49-F238E27FC236}">
                <a16:creationId xmlns:a16="http://schemas.microsoft.com/office/drawing/2014/main" id="{5ACDF4A6-CFDC-CFB5-87E3-49CFCBB6165F}"/>
              </a:ext>
            </a:extLst>
          </p:cNvPr>
          <p:cNvSpPr/>
          <p:nvPr/>
        </p:nvSpPr>
        <p:spPr>
          <a:xfrm flipH="1">
            <a:off x="8242912" y="4835993"/>
            <a:ext cx="2120237" cy="307777"/>
          </a:xfrm>
          <a:prstGeom prst="rect">
            <a:avLst/>
          </a:prstGeom>
          <a:noFill/>
          <a:ln w="6350" cap="flat" cmpd="sng" algn="ctr">
            <a:noFill/>
            <a:prstDash val="sysDash"/>
          </a:ln>
          <a:effectLst/>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10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Analyzed result of BIA to identify the crown jewels</a:t>
            </a:r>
          </a:p>
        </p:txBody>
      </p:sp>
      <p:sp>
        <p:nvSpPr>
          <p:cNvPr id="2145" name="Rectangle 2144">
            <a:extLst>
              <a:ext uri="{FF2B5EF4-FFF2-40B4-BE49-F238E27FC236}">
                <a16:creationId xmlns:a16="http://schemas.microsoft.com/office/drawing/2014/main" id="{BC08158B-FB51-9B45-6674-C61C691D312A}"/>
              </a:ext>
            </a:extLst>
          </p:cNvPr>
          <p:cNvSpPr/>
          <p:nvPr/>
        </p:nvSpPr>
        <p:spPr>
          <a:xfrm flipH="1">
            <a:off x="10494464" y="5195363"/>
            <a:ext cx="997758" cy="153888"/>
          </a:xfrm>
          <a:prstGeom prst="rect">
            <a:avLst/>
          </a:prstGeom>
          <a:noFill/>
          <a:ln w="9525" cap="flat" cmpd="sng" algn="ctr">
            <a:noFill/>
            <a:prstDash val="solid"/>
          </a:ln>
          <a:effectLst/>
        </p:spPr>
        <p:txBody>
          <a:bodyPr wrap="square" lIns="0" tIns="0" rIns="0" bIns="0" rtlCol="0" anchor="ctr"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Crown Jewels</a:t>
            </a:r>
          </a:p>
        </p:txBody>
      </p:sp>
      <p:cxnSp>
        <p:nvCxnSpPr>
          <p:cNvPr id="2146" name="Straight Connector 2145">
            <a:extLst>
              <a:ext uri="{FF2B5EF4-FFF2-40B4-BE49-F238E27FC236}">
                <a16:creationId xmlns:a16="http://schemas.microsoft.com/office/drawing/2014/main" id="{BA9DF68E-0D09-6AD6-67BA-1E762142D653}"/>
              </a:ext>
            </a:extLst>
          </p:cNvPr>
          <p:cNvCxnSpPr/>
          <p:nvPr/>
        </p:nvCxnSpPr>
        <p:spPr>
          <a:xfrm flipV="1">
            <a:off x="8714205" y="1291805"/>
            <a:ext cx="0" cy="2121145"/>
          </a:xfrm>
          <a:prstGeom prst="line">
            <a:avLst/>
          </a:prstGeom>
          <a:noFill/>
          <a:ln w="6350" cap="flat" cmpd="sng" algn="ctr">
            <a:solidFill>
              <a:schemeClr val="bg1"/>
            </a:solidFill>
            <a:prstDash val="solid"/>
            <a:tailEnd type="none"/>
          </a:ln>
          <a:effectLst/>
        </p:spPr>
      </p:cxnSp>
      <p:sp>
        <p:nvSpPr>
          <p:cNvPr id="2147" name="Oval 2146">
            <a:extLst>
              <a:ext uri="{FF2B5EF4-FFF2-40B4-BE49-F238E27FC236}">
                <a16:creationId xmlns:a16="http://schemas.microsoft.com/office/drawing/2014/main" id="{88ECC0F0-7B22-D8ED-395E-DA3463608F95}"/>
              </a:ext>
            </a:extLst>
          </p:cNvPr>
          <p:cNvSpPr/>
          <p:nvPr/>
        </p:nvSpPr>
        <p:spPr>
          <a:xfrm>
            <a:off x="8362496" y="2303427"/>
            <a:ext cx="703417" cy="584883"/>
          </a:xfrm>
          <a:prstGeom prst="ellipse">
            <a:avLst/>
          </a:prstGeom>
          <a:solidFill>
            <a:srgbClr val="195172"/>
          </a:solidFill>
          <a:ln w="2857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48" name="Right Triangle 2147">
            <a:extLst>
              <a:ext uri="{FF2B5EF4-FFF2-40B4-BE49-F238E27FC236}">
                <a16:creationId xmlns:a16="http://schemas.microsoft.com/office/drawing/2014/main" id="{1CD08C73-C6B8-D503-4A6D-AEB2CB0F28B7}"/>
              </a:ext>
            </a:extLst>
          </p:cNvPr>
          <p:cNvSpPr/>
          <p:nvPr/>
        </p:nvSpPr>
        <p:spPr>
          <a:xfrm flipV="1">
            <a:off x="8714205" y="1291804"/>
            <a:ext cx="187080" cy="155554"/>
          </a:xfrm>
          <a:prstGeom prst="rtTriangle">
            <a:avLst/>
          </a:prstGeom>
          <a:solidFill>
            <a:srgbClr val="195172"/>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49" name="Rectangle 2148">
            <a:extLst>
              <a:ext uri="{FF2B5EF4-FFF2-40B4-BE49-F238E27FC236}">
                <a16:creationId xmlns:a16="http://schemas.microsoft.com/office/drawing/2014/main" id="{FFD3A9EC-FB88-F4D8-2C5A-DFC8BA249B0F}"/>
              </a:ext>
            </a:extLst>
          </p:cNvPr>
          <p:cNvSpPr/>
          <p:nvPr/>
        </p:nvSpPr>
        <p:spPr>
          <a:xfrm>
            <a:off x="8833528" y="1399153"/>
            <a:ext cx="2120237" cy="615553"/>
          </a:xfrm>
          <a:prstGeom prst="rect">
            <a:avLst/>
          </a:prstGeom>
          <a:noFill/>
          <a:ln w="6350" cap="flat" cmpd="sng" algn="ctr">
            <a:noFill/>
            <a:prstDash val="sysDash"/>
          </a:ln>
          <a:effectLst/>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10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Assessed business impact analysis (confidentiality, integrity, availability and privacy ratings) for defined parameters</a:t>
            </a:r>
          </a:p>
        </p:txBody>
      </p:sp>
      <p:sp>
        <p:nvSpPr>
          <p:cNvPr id="2150" name="Rectangle 2149">
            <a:extLst>
              <a:ext uri="{FF2B5EF4-FFF2-40B4-BE49-F238E27FC236}">
                <a16:creationId xmlns:a16="http://schemas.microsoft.com/office/drawing/2014/main" id="{D2E21805-F6B8-AB16-0F92-1D73676D3427}"/>
              </a:ext>
            </a:extLst>
          </p:cNvPr>
          <p:cNvSpPr/>
          <p:nvPr/>
        </p:nvSpPr>
        <p:spPr>
          <a:xfrm>
            <a:off x="7647064" y="1632203"/>
            <a:ext cx="997758" cy="153888"/>
          </a:xfrm>
          <a:prstGeom prst="rect">
            <a:avLst/>
          </a:prstGeom>
          <a:noFill/>
          <a:ln w="9525" cap="flat" cmpd="sng" algn="ctr">
            <a:noFill/>
            <a:prstDash val="solid"/>
          </a:ln>
          <a:effectLst/>
        </p:spPr>
        <p:txBody>
          <a:bodyPr wrap="square" lIns="0" tIns="0" rIns="0" bIns="0" rtlCol="0" anchor="ctr" anchorCtr="0">
            <a:spAutoFit/>
          </a:bodyPr>
          <a:lstStyle/>
          <a:p>
            <a:pPr marL="0" marR="0" lvl="0" indent="0" algn="r"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Assessed BIA</a:t>
            </a:r>
          </a:p>
        </p:txBody>
      </p:sp>
      <p:cxnSp>
        <p:nvCxnSpPr>
          <p:cNvPr id="2151" name="Straight Connector 2150">
            <a:extLst>
              <a:ext uri="{FF2B5EF4-FFF2-40B4-BE49-F238E27FC236}">
                <a16:creationId xmlns:a16="http://schemas.microsoft.com/office/drawing/2014/main" id="{6B56AC5E-8E32-25E0-6168-7DA3E96AA082}"/>
              </a:ext>
            </a:extLst>
          </p:cNvPr>
          <p:cNvCxnSpPr/>
          <p:nvPr/>
        </p:nvCxnSpPr>
        <p:spPr>
          <a:xfrm flipV="1">
            <a:off x="1870318" y="1291805"/>
            <a:ext cx="0" cy="2121145"/>
          </a:xfrm>
          <a:prstGeom prst="line">
            <a:avLst/>
          </a:prstGeom>
          <a:noFill/>
          <a:ln w="6350" cap="flat" cmpd="sng" algn="ctr">
            <a:solidFill>
              <a:schemeClr val="bg1"/>
            </a:solidFill>
            <a:prstDash val="solid"/>
            <a:tailEnd type="none"/>
          </a:ln>
          <a:effectLst/>
        </p:spPr>
      </p:cxnSp>
      <p:sp>
        <p:nvSpPr>
          <p:cNvPr id="2152" name="Oval 2151">
            <a:extLst>
              <a:ext uri="{FF2B5EF4-FFF2-40B4-BE49-F238E27FC236}">
                <a16:creationId xmlns:a16="http://schemas.microsoft.com/office/drawing/2014/main" id="{0902291F-8B2A-FA8A-CB4A-00E8F1307DF7}"/>
              </a:ext>
            </a:extLst>
          </p:cNvPr>
          <p:cNvSpPr/>
          <p:nvPr/>
        </p:nvSpPr>
        <p:spPr>
          <a:xfrm>
            <a:off x="1518610" y="2303427"/>
            <a:ext cx="703417" cy="584883"/>
          </a:xfrm>
          <a:prstGeom prst="ellipse">
            <a:avLst/>
          </a:prstGeom>
          <a:solidFill>
            <a:srgbClr val="E78306"/>
          </a:solidFill>
          <a:ln w="2857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53" name="Right Triangle 2152">
            <a:extLst>
              <a:ext uri="{FF2B5EF4-FFF2-40B4-BE49-F238E27FC236}">
                <a16:creationId xmlns:a16="http://schemas.microsoft.com/office/drawing/2014/main" id="{915CF7BF-7E6A-53B4-A507-E1C5553E7BD7}"/>
              </a:ext>
            </a:extLst>
          </p:cNvPr>
          <p:cNvSpPr/>
          <p:nvPr/>
        </p:nvSpPr>
        <p:spPr>
          <a:xfrm flipV="1">
            <a:off x="1870318" y="1291804"/>
            <a:ext cx="187080" cy="155554"/>
          </a:xfrm>
          <a:prstGeom prst="rtTriangle">
            <a:avLst/>
          </a:prstGeom>
          <a:solidFill>
            <a:srgbClr val="E78306"/>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54" name="Rectangle 2153">
            <a:extLst>
              <a:ext uri="{FF2B5EF4-FFF2-40B4-BE49-F238E27FC236}">
                <a16:creationId xmlns:a16="http://schemas.microsoft.com/office/drawing/2014/main" id="{9DCACFF4-9A65-26F0-0208-88D5C6E7C256}"/>
              </a:ext>
            </a:extLst>
          </p:cNvPr>
          <p:cNvSpPr/>
          <p:nvPr/>
        </p:nvSpPr>
        <p:spPr>
          <a:xfrm>
            <a:off x="1941556" y="1447358"/>
            <a:ext cx="2120237" cy="461665"/>
          </a:xfrm>
          <a:prstGeom prst="rect">
            <a:avLst/>
          </a:prstGeom>
          <a:noFill/>
          <a:ln w="6350" cap="flat" cmpd="sng" algn="ctr">
            <a:noFill/>
            <a:prstDash val="sysDash"/>
          </a:ln>
          <a:effectLst/>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10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Identified the business sub-functions and respective stakeholders of each in-scope department</a:t>
            </a:r>
          </a:p>
        </p:txBody>
      </p:sp>
      <p:sp>
        <p:nvSpPr>
          <p:cNvPr id="2155" name="Rectangle 2154">
            <a:extLst>
              <a:ext uri="{FF2B5EF4-FFF2-40B4-BE49-F238E27FC236}">
                <a16:creationId xmlns:a16="http://schemas.microsoft.com/office/drawing/2014/main" id="{B78371CA-1884-3838-D344-4E6355BB493A}"/>
              </a:ext>
            </a:extLst>
          </p:cNvPr>
          <p:cNvSpPr/>
          <p:nvPr/>
        </p:nvSpPr>
        <p:spPr>
          <a:xfrm>
            <a:off x="803274" y="1632203"/>
            <a:ext cx="997758" cy="153888"/>
          </a:xfrm>
          <a:prstGeom prst="rect">
            <a:avLst/>
          </a:prstGeom>
          <a:noFill/>
          <a:ln w="9525" cap="flat" cmpd="sng" algn="ctr">
            <a:noFill/>
            <a:prstDash val="solid"/>
          </a:ln>
          <a:effectLst/>
        </p:spPr>
        <p:txBody>
          <a:bodyPr wrap="square" lIns="0" tIns="0" rIns="0" bIns="0" rtlCol="0" anchor="ctr" anchorCtr="0">
            <a:spAutoFit/>
          </a:bodyPr>
          <a:lstStyle/>
          <a:p>
            <a:pPr marL="0" marR="0" lvl="0" indent="0" algn="r"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Identify</a:t>
            </a:r>
          </a:p>
        </p:txBody>
      </p:sp>
      <p:sp>
        <p:nvSpPr>
          <p:cNvPr id="2156" name="Right Triangle 2155">
            <a:extLst>
              <a:ext uri="{FF2B5EF4-FFF2-40B4-BE49-F238E27FC236}">
                <a16:creationId xmlns:a16="http://schemas.microsoft.com/office/drawing/2014/main" id="{964B3C60-08EC-219F-A052-B6266ED635C8}"/>
              </a:ext>
            </a:extLst>
          </p:cNvPr>
          <p:cNvSpPr/>
          <p:nvPr/>
        </p:nvSpPr>
        <p:spPr>
          <a:xfrm flipV="1">
            <a:off x="5293998" y="1291804"/>
            <a:ext cx="187080" cy="155554"/>
          </a:xfrm>
          <a:prstGeom prst="rtTriangle">
            <a:avLst/>
          </a:prstGeom>
          <a:solidFill>
            <a:srgbClr val="FEB325"/>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57" name="Right Triangle 2156">
            <a:extLst>
              <a:ext uri="{FF2B5EF4-FFF2-40B4-BE49-F238E27FC236}">
                <a16:creationId xmlns:a16="http://schemas.microsoft.com/office/drawing/2014/main" id="{D73C390D-3E30-1F75-6545-122078049FC2}"/>
              </a:ext>
            </a:extLst>
          </p:cNvPr>
          <p:cNvSpPr/>
          <p:nvPr/>
        </p:nvSpPr>
        <p:spPr>
          <a:xfrm flipV="1">
            <a:off x="5292262" y="1291804"/>
            <a:ext cx="187080" cy="155554"/>
          </a:xfrm>
          <a:prstGeom prst="rtTriangle">
            <a:avLst/>
          </a:prstGeom>
          <a:solidFill>
            <a:srgbClr val="E64D23"/>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58" name="Rectangle 2157">
            <a:extLst>
              <a:ext uri="{FF2B5EF4-FFF2-40B4-BE49-F238E27FC236}">
                <a16:creationId xmlns:a16="http://schemas.microsoft.com/office/drawing/2014/main" id="{B771F6AC-BB77-A688-FB62-5456109868FE}"/>
              </a:ext>
            </a:extLst>
          </p:cNvPr>
          <p:cNvSpPr/>
          <p:nvPr/>
        </p:nvSpPr>
        <p:spPr>
          <a:xfrm>
            <a:off x="5363500" y="1447358"/>
            <a:ext cx="2120237" cy="461665"/>
          </a:xfrm>
          <a:prstGeom prst="rect">
            <a:avLst/>
          </a:prstGeom>
          <a:noFill/>
          <a:ln w="6350" cap="flat" cmpd="sng" algn="ctr">
            <a:noFill/>
            <a:prstDash val="sysDash"/>
          </a:ln>
          <a:effectLst/>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10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Identified / validated the datasets handled by each business sub-function</a:t>
            </a:r>
          </a:p>
        </p:txBody>
      </p:sp>
      <p:sp>
        <p:nvSpPr>
          <p:cNvPr id="2159" name="Rectangle 2158">
            <a:extLst>
              <a:ext uri="{FF2B5EF4-FFF2-40B4-BE49-F238E27FC236}">
                <a16:creationId xmlns:a16="http://schemas.microsoft.com/office/drawing/2014/main" id="{DE8D7EE4-FEE9-4615-3632-F1F702C92FF8}"/>
              </a:ext>
            </a:extLst>
          </p:cNvPr>
          <p:cNvSpPr/>
          <p:nvPr/>
        </p:nvSpPr>
        <p:spPr>
          <a:xfrm>
            <a:off x="4225170" y="1555259"/>
            <a:ext cx="997758" cy="307777"/>
          </a:xfrm>
          <a:prstGeom prst="rect">
            <a:avLst/>
          </a:prstGeom>
          <a:noFill/>
          <a:ln w="9525" cap="flat" cmpd="sng" algn="ctr">
            <a:noFill/>
            <a:prstDash val="solid"/>
          </a:ln>
          <a:effectLst/>
        </p:spPr>
        <p:txBody>
          <a:bodyPr wrap="square" lIns="0" tIns="0" rIns="0" bIns="0" rtlCol="0" anchor="ctr" anchorCtr="0">
            <a:spAutoFit/>
          </a:bodyPr>
          <a:lstStyle/>
          <a:p>
            <a:pPr marL="0" marR="0" lvl="0" indent="0" algn="r"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Dataset Validation</a:t>
            </a:r>
          </a:p>
        </p:txBody>
      </p:sp>
      <p:cxnSp>
        <p:nvCxnSpPr>
          <p:cNvPr id="2160" name="Straight Connector 2159">
            <a:extLst>
              <a:ext uri="{FF2B5EF4-FFF2-40B4-BE49-F238E27FC236}">
                <a16:creationId xmlns:a16="http://schemas.microsoft.com/office/drawing/2014/main" id="{0FA0BB9F-5B23-CC78-83B8-62C02CCF372E}"/>
              </a:ext>
            </a:extLst>
          </p:cNvPr>
          <p:cNvCxnSpPr/>
          <p:nvPr/>
        </p:nvCxnSpPr>
        <p:spPr>
          <a:xfrm flipH="1">
            <a:off x="7003233" y="3568505"/>
            <a:ext cx="0" cy="2121145"/>
          </a:xfrm>
          <a:prstGeom prst="line">
            <a:avLst/>
          </a:prstGeom>
          <a:noFill/>
          <a:ln w="6350" cap="flat" cmpd="sng" algn="ctr">
            <a:solidFill>
              <a:schemeClr val="bg1"/>
            </a:solidFill>
            <a:prstDash val="solid"/>
            <a:tailEnd type="none"/>
          </a:ln>
          <a:effectLst/>
        </p:spPr>
      </p:cxnSp>
      <p:sp>
        <p:nvSpPr>
          <p:cNvPr id="2161" name="Oval 2160">
            <a:extLst>
              <a:ext uri="{FF2B5EF4-FFF2-40B4-BE49-F238E27FC236}">
                <a16:creationId xmlns:a16="http://schemas.microsoft.com/office/drawing/2014/main" id="{C879F9C3-AAA1-47CD-E9DF-7051BF765F82}"/>
              </a:ext>
            </a:extLst>
          </p:cNvPr>
          <p:cNvSpPr/>
          <p:nvPr/>
        </p:nvSpPr>
        <p:spPr>
          <a:xfrm flipH="1">
            <a:off x="6651525" y="4093145"/>
            <a:ext cx="703417" cy="584883"/>
          </a:xfrm>
          <a:prstGeom prst="ellipse">
            <a:avLst/>
          </a:prstGeom>
          <a:solidFill>
            <a:srgbClr val="FEB325"/>
          </a:solidFill>
          <a:ln w="2857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62" name="Right Triangle 2161">
            <a:extLst>
              <a:ext uri="{FF2B5EF4-FFF2-40B4-BE49-F238E27FC236}">
                <a16:creationId xmlns:a16="http://schemas.microsoft.com/office/drawing/2014/main" id="{01C09BF8-7444-8B7D-5124-0A96263B0DF4}"/>
              </a:ext>
            </a:extLst>
          </p:cNvPr>
          <p:cNvSpPr/>
          <p:nvPr/>
        </p:nvSpPr>
        <p:spPr>
          <a:xfrm flipH="1">
            <a:off x="6816154" y="5534097"/>
            <a:ext cx="187080" cy="155554"/>
          </a:xfrm>
          <a:prstGeom prst="rtTriangle">
            <a:avLst/>
          </a:prstGeom>
          <a:solidFill>
            <a:srgbClr val="FEB325"/>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63" name="Rectangle 2162">
            <a:extLst>
              <a:ext uri="{FF2B5EF4-FFF2-40B4-BE49-F238E27FC236}">
                <a16:creationId xmlns:a16="http://schemas.microsoft.com/office/drawing/2014/main" id="{025A90E5-D292-4B07-2810-E6D8C476D5E2}"/>
              </a:ext>
            </a:extLst>
          </p:cNvPr>
          <p:cNvSpPr/>
          <p:nvPr/>
        </p:nvSpPr>
        <p:spPr>
          <a:xfrm flipH="1">
            <a:off x="4820967" y="4835993"/>
            <a:ext cx="2120237" cy="307777"/>
          </a:xfrm>
          <a:prstGeom prst="rect">
            <a:avLst/>
          </a:prstGeom>
          <a:noFill/>
          <a:ln w="6350" cap="flat" cmpd="sng" algn="ctr">
            <a:noFill/>
            <a:prstDash val="sysDash"/>
          </a:ln>
          <a:effectLst/>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10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Identified / validated the systems / applications </a:t>
            </a:r>
            <a:endParaRPr kumimoji="0" lang="pt-BR" sz="10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64" name="Rectangle 2163">
            <a:extLst>
              <a:ext uri="{FF2B5EF4-FFF2-40B4-BE49-F238E27FC236}">
                <a16:creationId xmlns:a16="http://schemas.microsoft.com/office/drawing/2014/main" id="{6BCECE40-2DF7-026F-8875-E29941D1984D}"/>
              </a:ext>
            </a:extLst>
          </p:cNvPr>
          <p:cNvSpPr/>
          <p:nvPr/>
        </p:nvSpPr>
        <p:spPr>
          <a:xfrm flipH="1">
            <a:off x="7076375" y="5041475"/>
            <a:ext cx="1072995" cy="461665"/>
          </a:xfrm>
          <a:prstGeom prst="rect">
            <a:avLst/>
          </a:prstGeom>
          <a:noFill/>
          <a:ln w="9525" cap="flat" cmpd="sng" algn="ctr">
            <a:noFill/>
            <a:prstDash val="solid"/>
          </a:ln>
          <a:effectLst/>
        </p:spPr>
        <p:txBody>
          <a:bodyPr wrap="square" lIns="0" tIns="0" rIns="0" bIns="0" rtlCol="0" anchor="ctr"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Identify Applications/ Systems</a:t>
            </a:r>
          </a:p>
        </p:txBody>
      </p:sp>
      <p:cxnSp>
        <p:nvCxnSpPr>
          <p:cNvPr id="2165" name="Straight Connector 2164">
            <a:extLst>
              <a:ext uri="{FF2B5EF4-FFF2-40B4-BE49-F238E27FC236}">
                <a16:creationId xmlns:a16="http://schemas.microsoft.com/office/drawing/2014/main" id="{1CDC63A7-0283-8848-52D8-9F0E5E485FF5}"/>
              </a:ext>
            </a:extLst>
          </p:cNvPr>
          <p:cNvCxnSpPr/>
          <p:nvPr/>
        </p:nvCxnSpPr>
        <p:spPr>
          <a:xfrm flipH="1">
            <a:off x="3581290" y="3568505"/>
            <a:ext cx="0" cy="2121145"/>
          </a:xfrm>
          <a:prstGeom prst="line">
            <a:avLst/>
          </a:prstGeom>
          <a:noFill/>
          <a:ln w="6350" cap="flat" cmpd="sng" algn="ctr">
            <a:solidFill>
              <a:schemeClr val="bg1"/>
            </a:solidFill>
            <a:prstDash val="solid"/>
            <a:tailEnd type="none"/>
          </a:ln>
          <a:effectLst/>
        </p:spPr>
      </p:cxnSp>
      <p:sp>
        <p:nvSpPr>
          <p:cNvPr id="2166" name="Oval 2165">
            <a:extLst>
              <a:ext uri="{FF2B5EF4-FFF2-40B4-BE49-F238E27FC236}">
                <a16:creationId xmlns:a16="http://schemas.microsoft.com/office/drawing/2014/main" id="{3C6B1923-03C4-4A79-3DA2-499AE80E8C8C}"/>
              </a:ext>
            </a:extLst>
          </p:cNvPr>
          <p:cNvSpPr/>
          <p:nvPr/>
        </p:nvSpPr>
        <p:spPr>
          <a:xfrm flipH="1">
            <a:off x="3229581" y="4093145"/>
            <a:ext cx="703417" cy="584883"/>
          </a:xfrm>
          <a:prstGeom prst="ellipse">
            <a:avLst/>
          </a:prstGeom>
          <a:solidFill>
            <a:srgbClr val="1499DE"/>
          </a:solidFill>
          <a:ln w="2857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67" name="Right Triangle 2166">
            <a:extLst>
              <a:ext uri="{FF2B5EF4-FFF2-40B4-BE49-F238E27FC236}">
                <a16:creationId xmlns:a16="http://schemas.microsoft.com/office/drawing/2014/main" id="{B04E0EC5-6C33-A624-5DB0-388627E9DBF0}"/>
              </a:ext>
            </a:extLst>
          </p:cNvPr>
          <p:cNvSpPr/>
          <p:nvPr/>
        </p:nvSpPr>
        <p:spPr>
          <a:xfrm flipH="1">
            <a:off x="3394210" y="5534097"/>
            <a:ext cx="187080" cy="155554"/>
          </a:xfrm>
          <a:prstGeom prst="rtTriangle">
            <a:avLst/>
          </a:prstGeom>
          <a:solidFill>
            <a:srgbClr val="1499DE"/>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68" name="Rectangle 2167">
            <a:extLst>
              <a:ext uri="{FF2B5EF4-FFF2-40B4-BE49-F238E27FC236}">
                <a16:creationId xmlns:a16="http://schemas.microsoft.com/office/drawing/2014/main" id="{4BD82939-E2BE-C7C6-24FE-250EA9F61597}"/>
              </a:ext>
            </a:extLst>
          </p:cNvPr>
          <p:cNvSpPr/>
          <p:nvPr/>
        </p:nvSpPr>
        <p:spPr>
          <a:xfrm flipH="1">
            <a:off x="1376666" y="4724992"/>
            <a:ext cx="2120237" cy="769441"/>
          </a:xfrm>
          <a:prstGeom prst="rect">
            <a:avLst/>
          </a:prstGeom>
          <a:noFill/>
          <a:ln w="6350" cap="flat" cmpd="sng" algn="ctr">
            <a:noFill/>
            <a:prstDash val="sysDash"/>
          </a:ln>
          <a:effectLst/>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10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Conducted discussions with the identified stakeholders to understand the activities and processes for each business sub-function</a:t>
            </a:r>
          </a:p>
        </p:txBody>
      </p:sp>
      <p:sp>
        <p:nvSpPr>
          <p:cNvPr id="2169" name="Rectangle 2168">
            <a:extLst>
              <a:ext uri="{FF2B5EF4-FFF2-40B4-BE49-F238E27FC236}">
                <a16:creationId xmlns:a16="http://schemas.microsoft.com/office/drawing/2014/main" id="{53F75747-5FBD-5A0D-7983-6DD8127693E9}"/>
              </a:ext>
            </a:extLst>
          </p:cNvPr>
          <p:cNvSpPr/>
          <p:nvPr/>
        </p:nvSpPr>
        <p:spPr>
          <a:xfrm flipH="1">
            <a:off x="3658288" y="5195363"/>
            <a:ext cx="997758" cy="153888"/>
          </a:xfrm>
          <a:prstGeom prst="rect">
            <a:avLst/>
          </a:prstGeom>
          <a:noFill/>
          <a:ln w="9525" cap="flat" cmpd="sng" algn="ctr">
            <a:noFill/>
            <a:prstDash val="solid"/>
          </a:ln>
          <a:effectLst/>
        </p:spPr>
        <p:txBody>
          <a:bodyPr wrap="square" lIns="0" tIns="0" rIns="0" bIns="0" rtlCol="0" anchor="ctr"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Discussion</a:t>
            </a:r>
          </a:p>
        </p:txBody>
      </p:sp>
      <p:sp>
        <p:nvSpPr>
          <p:cNvPr id="2170" name="Oval 2169">
            <a:extLst>
              <a:ext uri="{FF2B5EF4-FFF2-40B4-BE49-F238E27FC236}">
                <a16:creationId xmlns:a16="http://schemas.microsoft.com/office/drawing/2014/main" id="{74102B35-75A3-145F-F5DD-34101E5D9215}"/>
              </a:ext>
            </a:extLst>
          </p:cNvPr>
          <p:cNvSpPr/>
          <p:nvPr/>
        </p:nvSpPr>
        <p:spPr>
          <a:xfrm flipH="1" flipV="1">
            <a:off x="10331638" y="3412951"/>
            <a:ext cx="187080" cy="155554"/>
          </a:xfrm>
          <a:prstGeom prst="ellipse">
            <a:avLst/>
          </a:prstGeom>
          <a:solidFill>
            <a:sysClr val="window" lastClr="FFFFFF"/>
          </a:solidFill>
          <a:ln w="12700" cap="flat" cmpd="sng" algn="ctr">
            <a:solidFill>
              <a:srgbClr val="2C2C2D"/>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71" name="Oval 2170">
            <a:extLst>
              <a:ext uri="{FF2B5EF4-FFF2-40B4-BE49-F238E27FC236}">
                <a16:creationId xmlns:a16="http://schemas.microsoft.com/office/drawing/2014/main" id="{A95500C8-D715-1C9C-0AC6-BFE7125511C1}"/>
              </a:ext>
            </a:extLst>
          </p:cNvPr>
          <p:cNvSpPr/>
          <p:nvPr/>
        </p:nvSpPr>
        <p:spPr>
          <a:xfrm>
            <a:off x="6909694" y="3412951"/>
            <a:ext cx="187080" cy="155554"/>
          </a:xfrm>
          <a:prstGeom prst="ellipse">
            <a:avLst/>
          </a:prstGeom>
          <a:solidFill>
            <a:sysClr val="window" lastClr="FFFFFF"/>
          </a:solidFill>
          <a:ln w="12700" cap="flat" cmpd="sng" algn="ctr">
            <a:solidFill>
              <a:srgbClr val="2C2C2D"/>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72" name="Oval 2171">
            <a:extLst>
              <a:ext uri="{FF2B5EF4-FFF2-40B4-BE49-F238E27FC236}">
                <a16:creationId xmlns:a16="http://schemas.microsoft.com/office/drawing/2014/main" id="{BD49A479-720D-C019-3A26-428B4219BAE2}"/>
              </a:ext>
            </a:extLst>
          </p:cNvPr>
          <p:cNvSpPr/>
          <p:nvPr/>
        </p:nvSpPr>
        <p:spPr>
          <a:xfrm>
            <a:off x="1776778" y="3412951"/>
            <a:ext cx="187080" cy="155554"/>
          </a:xfrm>
          <a:prstGeom prst="ellipse">
            <a:avLst/>
          </a:prstGeom>
          <a:solidFill>
            <a:sysClr val="window" lastClr="FFFFFF"/>
          </a:solidFill>
          <a:ln w="12700" cap="flat" cmpd="sng" algn="ctr">
            <a:solidFill>
              <a:srgbClr val="2C2C2D"/>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73" name="Oval 2172">
            <a:extLst>
              <a:ext uri="{FF2B5EF4-FFF2-40B4-BE49-F238E27FC236}">
                <a16:creationId xmlns:a16="http://schemas.microsoft.com/office/drawing/2014/main" id="{AAD6EA7B-7D77-9868-D201-88F0B2C15459}"/>
              </a:ext>
            </a:extLst>
          </p:cNvPr>
          <p:cNvSpPr/>
          <p:nvPr/>
        </p:nvSpPr>
        <p:spPr>
          <a:xfrm>
            <a:off x="5198722" y="3412951"/>
            <a:ext cx="187080" cy="155554"/>
          </a:xfrm>
          <a:prstGeom prst="ellipse">
            <a:avLst/>
          </a:prstGeom>
          <a:solidFill>
            <a:sysClr val="window" lastClr="FFFFFF"/>
          </a:solidFill>
          <a:ln w="12700" cap="flat" cmpd="sng" algn="ctr">
            <a:solidFill>
              <a:srgbClr val="2C2C2D"/>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74" name="Oval 2173">
            <a:extLst>
              <a:ext uri="{FF2B5EF4-FFF2-40B4-BE49-F238E27FC236}">
                <a16:creationId xmlns:a16="http://schemas.microsoft.com/office/drawing/2014/main" id="{C52EA5A0-E7C9-2D29-69F6-737516CA027B}"/>
              </a:ext>
            </a:extLst>
          </p:cNvPr>
          <p:cNvSpPr/>
          <p:nvPr/>
        </p:nvSpPr>
        <p:spPr>
          <a:xfrm flipH="1" flipV="1">
            <a:off x="8620665" y="3412951"/>
            <a:ext cx="187080" cy="155554"/>
          </a:xfrm>
          <a:prstGeom prst="ellipse">
            <a:avLst/>
          </a:prstGeom>
          <a:solidFill>
            <a:sysClr val="window" lastClr="FFFFFF"/>
          </a:solidFill>
          <a:ln w="12700" cap="flat" cmpd="sng" algn="ctr">
            <a:solidFill>
              <a:srgbClr val="2C2C2D"/>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75" name="Oval 2174">
            <a:extLst>
              <a:ext uri="{FF2B5EF4-FFF2-40B4-BE49-F238E27FC236}">
                <a16:creationId xmlns:a16="http://schemas.microsoft.com/office/drawing/2014/main" id="{27A1D94E-4AA1-1DFC-815A-BE2548550959}"/>
              </a:ext>
            </a:extLst>
          </p:cNvPr>
          <p:cNvSpPr/>
          <p:nvPr/>
        </p:nvSpPr>
        <p:spPr>
          <a:xfrm flipH="1" flipV="1">
            <a:off x="3487750" y="3412951"/>
            <a:ext cx="187080" cy="155554"/>
          </a:xfrm>
          <a:prstGeom prst="ellipse">
            <a:avLst/>
          </a:prstGeom>
          <a:solidFill>
            <a:sysClr val="window" lastClr="FFFFFF"/>
          </a:solidFill>
          <a:ln w="12700" cap="flat" cmpd="sng" algn="ctr">
            <a:solidFill>
              <a:srgbClr val="2C2C2D"/>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76" name="Oval 2175">
            <a:extLst>
              <a:ext uri="{FF2B5EF4-FFF2-40B4-BE49-F238E27FC236}">
                <a16:creationId xmlns:a16="http://schemas.microsoft.com/office/drawing/2014/main" id="{334C290C-E36B-27EB-6F17-D7C5C027675B}"/>
              </a:ext>
            </a:extLst>
          </p:cNvPr>
          <p:cNvSpPr/>
          <p:nvPr/>
        </p:nvSpPr>
        <p:spPr>
          <a:xfrm>
            <a:off x="4942242" y="2303427"/>
            <a:ext cx="703417" cy="584883"/>
          </a:xfrm>
          <a:prstGeom prst="ellipse">
            <a:avLst/>
          </a:prstGeom>
          <a:solidFill>
            <a:srgbClr val="E64D23"/>
          </a:solidFill>
          <a:ln w="2857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177" name="Freeform 17">
            <a:extLst>
              <a:ext uri="{FF2B5EF4-FFF2-40B4-BE49-F238E27FC236}">
                <a16:creationId xmlns:a16="http://schemas.microsoft.com/office/drawing/2014/main" id="{7379B256-5629-4F60-B449-CC869BEE8588}"/>
              </a:ext>
            </a:extLst>
          </p:cNvPr>
          <p:cNvSpPr>
            <a:spLocks noEditPoints="1"/>
          </p:cNvSpPr>
          <p:nvPr/>
        </p:nvSpPr>
        <p:spPr bwMode="auto">
          <a:xfrm>
            <a:off x="8493965" y="2433003"/>
            <a:ext cx="440480" cy="325732"/>
          </a:xfrm>
          <a:custGeom>
            <a:avLst/>
            <a:gdLst>
              <a:gd name="T0" fmla="*/ 32 w 343"/>
              <a:gd name="T1" fmla="*/ 215 h 305"/>
              <a:gd name="T2" fmla="*/ 95 w 343"/>
              <a:gd name="T3" fmla="*/ 265 h 305"/>
              <a:gd name="T4" fmla="*/ 0 w 343"/>
              <a:gd name="T5" fmla="*/ 179 h 305"/>
              <a:gd name="T6" fmla="*/ 44 w 343"/>
              <a:gd name="T7" fmla="*/ 184 h 305"/>
              <a:gd name="T8" fmla="*/ 31 w 343"/>
              <a:gd name="T9" fmla="*/ 196 h 305"/>
              <a:gd name="T10" fmla="*/ 83 w 343"/>
              <a:gd name="T11" fmla="*/ 184 h 305"/>
              <a:gd name="T12" fmla="*/ 70 w 343"/>
              <a:gd name="T13" fmla="*/ 179 h 305"/>
              <a:gd name="T14" fmla="*/ 113 w 343"/>
              <a:gd name="T15" fmla="*/ 105 h 305"/>
              <a:gd name="T16" fmla="*/ 0 w 343"/>
              <a:gd name="T17" fmla="*/ 179 h 305"/>
              <a:gd name="T18" fmla="*/ 97 w 343"/>
              <a:gd name="T19" fmla="*/ 119 h 305"/>
              <a:gd name="T20" fmla="*/ 16 w 343"/>
              <a:gd name="T21" fmla="*/ 165 h 305"/>
              <a:gd name="T22" fmla="*/ 158 w 343"/>
              <a:gd name="T23" fmla="*/ 79 h 305"/>
              <a:gd name="T24" fmla="*/ 145 w 343"/>
              <a:gd name="T25" fmla="*/ 91 h 305"/>
              <a:gd name="T26" fmla="*/ 197 w 343"/>
              <a:gd name="T27" fmla="*/ 79 h 305"/>
              <a:gd name="T28" fmla="*/ 184 w 343"/>
              <a:gd name="T29" fmla="*/ 74 h 305"/>
              <a:gd name="T30" fmla="*/ 227 w 343"/>
              <a:gd name="T31" fmla="*/ 0 h 305"/>
              <a:gd name="T32" fmla="*/ 114 w 343"/>
              <a:gd name="T33" fmla="*/ 74 h 305"/>
              <a:gd name="T34" fmla="*/ 158 w 343"/>
              <a:gd name="T35" fmla="*/ 79 h 305"/>
              <a:gd name="T36" fmla="*/ 130 w 343"/>
              <a:gd name="T37" fmla="*/ 14 h 305"/>
              <a:gd name="T38" fmla="*/ 211 w 343"/>
              <a:gd name="T39" fmla="*/ 60 h 305"/>
              <a:gd name="T40" fmla="*/ 289 w 343"/>
              <a:gd name="T41" fmla="*/ 86 h 305"/>
              <a:gd name="T42" fmla="*/ 246 w 343"/>
              <a:gd name="T43" fmla="*/ 20 h 305"/>
              <a:gd name="T44" fmla="*/ 289 w 343"/>
              <a:gd name="T45" fmla="*/ 86 h 305"/>
              <a:gd name="T46" fmla="*/ 95 w 343"/>
              <a:gd name="T47" fmla="*/ 20 h 305"/>
              <a:gd name="T48" fmla="*/ 53 w 343"/>
              <a:gd name="T49" fmla="*/ 86 h 305"/>
              <a:gd name="T50" fmla="*/ 115 w 343"/>
              <a:gd name="T51" fmla="*/ 288 h 305"/>
              <a:gd name="T52" fmla="*/ 158 w 343"/>
              <a:gd name="T53" fmla="*/ 293 h 305"/>
              <a:gd name="T54" fmla="*/ 145 w 343"/>
              <a:gd name="T55" fmla="*/ 305 h 305"/>
              <a:gd name="T56" fmla="*/ 197 w 343"/>
              <a:gd name="T57" fmla="*/ 293 h 305"/>
              <a:gd name="T58" fmla="*/ 184 w 343"/>
              <a:gd name="T59" fmla="*/ 288 h 305"/>
              <a:gd name="T60" fmla="*/ 228 w 343"/>
              <a:gd name="T61" fmla="*/ 215 h 305"/>
              <a:gd name="T62" fmla="*/ 115 w 343"/>
              <a:gd name="T63" fmla="*/ 288 h 305"/>
              <a:gd name="T64" fmla="*/ 212 w 343"/>
              <a:gd name="T65" fmla="*/ 229 h 305"/>
              <a:gd name="T66" fmla="*/ 131 w 343"/>
              <a:gd name="T67" fmla="*/ 275 h 305"/>
              <a:gd name="T68" fmla="*/ 246 w 343"/>
              <a:gd name="T69" fmla="*/ 266 h 305"/>
              <a:gd name="T70" fmla="*/ 310 w 343"/>
              <a:gd name="T71" fmla="*/ 215 h 305"/>
              <a:gd name="T72" fmla="*/ 246 w 343"/>
              <a:gd name="T73" fmla="*/ 266 h 305"/>
              <a:gd name="T74" fmla="*/ 343 w 343"/>
              <a:gd name="T75" fmla="*/ 105 h 305"/>
              <a:gd name="T76" fmla="*/ 230 w 343"/>
              <a:gd name="T77" fmla="*/ 179 h 305"/>
              <a:gd name="T78" fmla="*/ 273 w 343"/>
              <a:gd name="T79" fmla="*/ 184 h 305"/>
              <a:gd name="T80" fmla="*/ 260 w 343"/>
              <a:gd name="T81" fmla="*/ 196 h 305"/>
              <a:gd name="T82" fmla="*/ 312 w 343"/>
              <a:gd name="T83" fmla="*/ 184 h 305"/>
              <a:gd name="T84" fmla="*/ 299 w 343"/>
              <a:gd name="T85" fmla="*/ 179 h 305"/>
              <a:gd name="T86" fmla="*/ 245 w 343"/>
              <a:gd name="T87" fmla="*/ 165 h 305"/>
              <a:gd name="T88" fmla="*/ 327 w 343"/>
              <a:gd name="T89" fmla="*/ 119 h 305"/>
              <a:gd name="T90" fmla="*/ 245 w 343"/>
              <a:gd name="T91" fmla="*/ 16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3" h="305">
                <a:moveTo>
                  <a:pt x="51" y="215"/>
                </a:moveTo>
                <a:cubicBezTo>
                  <a:pt x="32" y="215"/>
                  <a:pt x="32" y="215"/>
                  <a:pt x="32" y="215"/>
                </a:cubicBezTo>
                <a:cubicBezTo>
                  <a:pt x="45" y="245"/>
                  <a:pt x="67" y="269"/>
                  <a:pt x="95" y="285"/>
                </a:cubicBezTo>
                <a:cubicBezTo>
                  <a:pt x="95" y="265"/>
                  <a:pt x="95" y="265"/>
                  <a:pt x="95" y="265"/>
                </a:cubicBezTo>
                <a:cubicBezTo>
                  <a:pt x="77" y="253"/>
                  <a:pt x="61" y="236"/>
                  <a:pt x="51" y="215"/>
                </a:cubicBezTo>
                <a:close/>
                <a:moveTo>
                  <a:pt x="0" y="179"/>
                </a:moveTo>
                <a:cubicBezTo>
                  <a:pt x="44" y="179"/>
                  <a:pt x="44" y="179"/>
                  <a:pt x="44" y="179"/>
                </a:cubicBezTo>
                <a:cubicBezTo>
                  <a:pt x="44" y="184"/>
                  <a:pt x="44" y="184"/>
                  <a:pt x="44" y="184"/>
                </a:cubicBezTo>
                <a:cubicBezTo>
                  <a:pt x="31" y="184"/>
                  <a:pt x="31" y="184"/>
                  <a:pt x="31" y="184"/>
                </a:cubicBezTo>
                <a:cubicBezTo>
                  <a:pt x="31" y="196"/>
                  <a:pt x="31" y="196"/>
                  <a:pt x="31" y="196"/>
                </a:cubicBezTo>
                <a:cubicBezTo>
                  <a:pt x="83" y="196"/>
                  <a:pt x="83" y="196"/>
                  <a:pt x="83" y="196"/>
                </a:cubicBezTo>
                <a:cubicBezTo>
                  <a:pt x="83" y="184"/>
                  <a:pt x="83" y="184"/>
                  <a:pt x="83" y="184"/>
                </a:cubicBezTo>
                <a:cubicBezTo>
                  <a:pt x="70" y="184"/>
                  <a:pt x="70" y="184"/>
                  <a:pt x="70" y="184"/>
                </a:cubicBezTo>
                <a:cubicBezTo>
                  <a:pt x="70" y="179"/>
                  <a:pt x="70" y="179"/>
                  <a:pt x="70" y="179"/>
                </a:cubicBezTo>
                <a:cubicBezTo>
                  <a:pt x="113" y="179"/>
                  <a:pt x="113" y="179"/>
                  <a:pt x="113" y="179"/>
                </a:cubicBezTo>
                <a:cubicBezTo>
                  <a:pt x="113" y="105"/>
                  <a:pt x="113" y="105"/>
                  <a:pt x="113" y="105"/>
                </a:cubicBezTo>
                <a:cubicBezTo>
                  <a:pt x="0" y="105"/>
                  <a:pt x="0" y="105"/>
                  <a:pt x="0" y="105"/>
                </a:cubicBezTo>
                <a:lnTo>
                  <a:pt x="0" y="179"/>
                </a:lnTo>
                <a:close/>
                <a:moveTo>
                  <a:pt x="16" y="119"/>
                </a:moveTo>
                <a:cubicBezTo>
                  <a:pt x="97" y="119"/>
                  <a:pt x="97" y="119"/>
                  <a:pt x="97" y="119"/>
                </a:cubicBezTo>
                <a:cubicBezTo>
                  <a:pt x="97" y="165"/>
                  <a:pt x="97" y="165"/>
                  <a:pt x="97" y="165"/>
                </a:cubicBezTo>
                <a:cubicBezTo>
                  <a:pt x="16" y="165"/>
                  <a:pt x="16" y="165"/>
                  <a:pt x="16" y="165"/>
                </a:cubicBezTo>
                <a:lnTo>
                  <a:pt x="16" y="119"/>
                </a:lnTo>
                <a:close/>
                <a:moveTo>
                  <a:pt x="158" y="79"/>
                </a:moveTo>
                <a:cubicBezTo>
                  <a:pt x="145" y="79"/>
                  <a:pt x="145" y="79"/>
                  <a:pt x="145" y="79"/>
                </a:cubicBezTo>
                <a:cubicBezTo>
                  <a:pt x="145" y="91"/>
                  <a:pt x="145" y="91"/>
                  <a:pt x="145" y="91"/>
                </a:cubicBezTo>
                <a:cubicBezTo>
                  <a:pt x="197" y="91"/>
                  <a:pt x="197" y="91"/>
                  <a:pt x="197" y="91"/>
                </a:cubicBezTo>
                <a:cubicBezTo>
                  <a:pt x="197" y="79"/>
                  <a:pt x="197" y="79"/>
                  <a:pt x="197" y="79"/>
                </a:cubicBezTo>
                <a:cubicBezTo>
                  <a:pt x="184" y="79"/>
                  <a:pt x="184" y="79"/>
                  <a:pt x="184" y="79"/>
                </a:cubicBezTo>
                <a:cubicBezTo>
                  <a:pt x="184" y="74"/>
                  <a:pt x="184" y="74"/>
                  <a:pt x="184" y="74"/>
                </a:cubicBezTo>
                <a:cubicBezTo>
                  <a:pt x="227" y="74"/>
                  <a:pt x="227" y="74"/>
                  <a:pt x="227" y="74"/>
                </a:cubicBezTo>
                <a:cubicBezTo>
                  <a:pt x="227" y="0"/>
                  <a:pt x="227" y="0"/>
                  <a:pt x="227" y="0"/>
                </a:cubicBezTo>
                <a:cubicBezTo>
                  <a:pt x="114" y="0"/>
                  <a:pt x="114" y="0"/>
                  <a:pt x="114" y="0"/>
                </a:cubicBezTo>
                <a:cubicBezTo>
                  <a:pt x="114" y="74"/>
                  <a:pt x="114" y="74"/>
                  <a:pt x="114" y="74"/>
                </a:cubicBezTo>
                <a:cubicBezTo>
                  <a:pt x="158" y="74"/>
                  <a:pt x="158" y="74"/>
                  <a:pt x="158" y="74"/>
                </a:cubicBezTo>
                <a:lnTo>
                  <a:pt x="158" y="79"/>
                </a:lnTo>
                <a:close/>
                <a:moveTo>
                  <a:pt x="130" y="60"/>
                </a:moveTo>
                <a:cubicBezTo>
                  <a:pt x="130" y="14"/>
                  <a:pt x="130" y="14"/>
                  <a:pt x="130" y="14"/>
                </a:cubicBezTo>
                <a:cubicBezTo>
                  <a:pt x="211" y="14"/>
                  <a:pt x="211" y="14"/>
                  <a:pt x="211" y="14"/>
                </a:cubicBezTo>
                <a:cubicBezTo>
                  <a:pt x="211" y="60"/>
                  <a:pt x="211" y="60"/>
                  <a:pt x="211" y="60"/>
                </a:cubicBezTo>
                <a:lnTo>
                  <a:pt x="130" y="60"/>
                </a:lnTo>
                <a:close/>
                <a:moveTo>
                  <a:pt x="289" y="86"/>
                </a:moveTo>
                <a:cubicBezTo>
                  <a:pt x="308" y="86"/>
                  <a:pt x="308" y="86"/>
                  <a:pt x="308" y="86"/>
                </a:cubicBezTo>
                <a:cubicBezTo>
                  <a:pt x="295" y="58"/>
                  <a:pt x="273" y="35"/>
                  <a:pt x="246" y="20"/>
                </a:cubicBezTo>
                <a:cubicBezTo>
                  <a:pt x="246" y="40"/>
                  <a:pt x="246" y="40"/>
                  <a:pt x="246" y="40"/>
                </a:cubicBezTo>
                <a:cubicBezTo>
                  <a:pt x="264" y="52"/>
                  <a:pt x="278" y="68"/>
                  <a:pt x="289" y="86"/>
                </a:cubicBezTo>
                <a:close/>
                <a:moveTo>
                  <a:pt x="95" y="40"/>
                </a:moveTo>
                <a:cubicBezTo>
                  <a:pt x="95" y="20"/>
                  <a:pt x="95" y="20"/>
                  <a:pt x="95" y="20"/>
                </a:cubicBezTo>
                <a:cubicBezTo>
                  <a:pt x="69" y="36"/>
                  <a:pt x="47" y="59"/>
                  <a:pt x="34" y="86"/>
                </a:cubicBezTo>
                <a:cubicBezTo>
                  <a:pt x="53" y="86"/>
                  <a:pt x="53" y="86"/>
                  <a:pt x="53" y="86"/>
                </a:cubicBezTo>
                <a:cubicBezTo>
                  <a:pt x="63" y="68"/>
                  <a:pt x="78" y="52"/>
                  <a:pt x="95" y="40"/>
                </a:cubicBezTo>
                <a:close/>
                <a:moveTo>
                  <a:pt x="115" y="288"/>
                </a:moveTo>
                <a:cubicBezTo>
                  <a:pt x="158" y="288"/>
                  <a:pt x="158" y="288"/>
                  <a:pt x="158" y="288"/>
                </a:cubicBezTo>
                <a:cubicBezTo>
                  <a:pt x="158" y="293"/>
                  <a:pt x="158" y="293"/>
                  <a:pt x="158" y="293"/>
                </a:cubicBezTo>
                <a:cubicBezTo>
                  <a:pt x="145" y="293"/>
                  <a:pt x="145" y="293"/>
                  <a:pt x="145" y="293"/>
                </a:cubicBezTo>
                <a:cubicBezTo>
                  <a:pt x="145" y="305"/>
                  <a:pt x="145" y="305"/>
                  <a:pt x="145" y="305"/>
                </a:cubicBezTo>
                <a:cubicBezTo>
                  <a:pt x="197" y="305"/>
                  <a:pt x="197" y="305"/>
                  <a:pt x="197" y="305"/>
                </a:cubicBezTo>
                <a:cubicBezTo>
                  <a:pt x="197" y="293"/>
                  <a:pt x="197" y="293"/>
                  <a:pt x="197" y="293"/>
                </a:cubicBezTo>
                <a:cubicBezTo>
                  <a:pt x="184" y="293"/>
                  <a:pt x="184" y="293"/>
                  <a:pt x="184" y="293"/>
                </a:cubicBezTo>
                <a:cubicBezTo>
                  <a:pt x="184" y="288"/>
                  <a:pt x="184" y="288"/>
                  <a:pt x="184" y="288"/>
                </a:cubicBezTo>
                <a:cubicBezTo>
                  <a:pt x="228" y="288"/>
                  <a:pt x="228" y="288"/>
                  <a:pt x="228" y="288"/>
                </a:cubicBezTo>
                <a:cubicBezTo>
                  <a:pt x="228" y="215"/>
                  <a:pt x="228" y="215"/>
                  <a:pt x="228" y="215"/>
                </a:cubicBezTo>
                <a:cubicBezTo>
                  <a:pt x="115" y="215"/>
                  <a:pt x="115" y="215"/>
                  <a:pt x="115" y="215"/>
                </a:cubicBezTo>
                <a:lnTo>
                  <a:pt x="115" y="288"/>
                </a:lnTo>
                <a:close/>
                <a:moveTo>
                  <a:pt x="131" y="229"/>
                </a:moveTo>
                <a:cubicBezTo>
                  <a:pt x="212" y="229"/>
                  <a:pt x="212" y="229"/>
                  <a:pt x="212" y="229"/>
                </a:cubicBezTo>
                <a:cubicBezTo>
                  <a:pt x="212" y="275"/>
                  <a:pt x="212" y="275"/>
                  <a:pt x="212" y="275"/>
                </a:cubicBezTo>
                <a:cubicBezTo>
                  <a:pt x="131" y="275"/>
                  <a:pt x="131" y="275"/>
                  <a:pt x="131" y="275"/>
                </a:cubicBezTo>
                <a:lnTo>
                  <a:pt x="131" y="229"/>
                </a:lnTo>
                <a:close/>
                <a:moveTo>
                  <a:pt x="246" y="266"/>
                </a:moveTo>
                <a:cubicBezTo>
                  <a:pt x="246" y="286"/>
                  <a:pt x="246" y="286"/>
                  <a:pt x="246" y="286"/>
                </a:cubicBezTo>
                <a:cubicBezTo>
                  <a:pt x="274" y="270"/>
                  <a:pt x="297" y="245"/>
                  <a:pt x="310" y="215"/>
                </a:cubicBezTo>
                <a:cubicBezTo>
                  <a:pt x="291" y="215"/>
                  <a:pt x="291" y="215"/>
                  <a:pt x="291" y="215"/>
                </a:cubicBezTo>
                <a:cubicBezTo>
                  <a:pt x="281" y="236"/>
                  <a:pt x="265" y="253"/>
                  <a:pt x="246" y="266"/>
                </a:cubicBezTo>
                <a:close/>
                <a:moveTo>
                  <a:pt x="343" y="179"/>
                </a:moveTo>
                <a:cubicBezTo>
                  <a:pt x="343" y="105"/>
                  <a:pt x="343" y="105"/>
                  <a:pt x="343" y="105"/>
                </a:cubicBezTo>
                <a:cubicBezTo>
                  <a:pt x="230" y="105"/>
                  <a:pt x="230" y="105"/>
                  <a:pt x="230" y="105"/>
                </a:cubicBezTo>
                <a:cubicBezTo>
                  <a:pt x="230" y="179"/>
                  <a:pt x="230" y="179"/>
                  <a:pt x="230" y="179"/>
                </a:cubicBezTo>
                <a:cubicBezTo>
                  <a:pt x="273" y="179"/>
                  <a:pt x="273" y="179"/>
                  <a:pt x="273" y="179"/>
                </a:cubicBezTo>
                <a:cubicBezTo>
                  <a:pt x="273" y="184"/>
                  <a:pt x="273" y="184"/>
                  <a:pt x="273" y="184"/>
                </a:cubicBezTo>
                <a:cubicBezTo>
                  <a:pt x="260" y="184"/>
                  <a:pt x="260" y="184"/>
                  <a:pt x="260" y="184"/>
                </a:cubicBezTo>
                <a:cubicBezTo>
                  <a:pt x="260" y="196"/>
                  <a:pt x="260" y="196"/>
                  <a:pt x="260" y="196"/>
                </a:cubicBezTo>
                <a:cubicBezTo>
                  <a:pt x="312" y="196"/>
                  <a:pt x="312" y="196"/>
                  <a:pt x="312" y="196"/>
                </a:cubicBezTo>
                <a:cubicBezTo>
                  <a:pt x="312" y="184"/>
                  <a:pt x="312" y="184"/>
                  <a:pt x="312" y="184"/>
                </a:cubicBezTo>
                <a:cubicBezTo>
                  <a:pt x="299" y="184"/>
                  <a:pt x="299" y="184"/>
                  <a:pt x="299" y="184"/>
                </a:cubicBezTo>
                <a:cubicBezTo>
                  <a:pt x="299" y="179"/>
                  <a:pt x="299" y="179"/>
                  <a:pt x="299" y="179"/>
                </a:cubicBezTo>
                <a:lnTo>
                  <a:pt x="343" y="179"/>
                </a:lnTo>
                <a:close/>
                <a:moveTo>
                  <a:pt x="245" y="165"/>
                </a:moveTo>
                <a:cubicBezTo>
                  <a:pt x="245" y="119"/>
                  <a:pt x="245" y="119"/>
                  <a:pt x="245" y="119"/>
                </a:cubicBezTo>
                <a:cubicBezTo>
                  <a:pt x="327" y="119"/>
                  <a:pt x="327" y="119"/>
                  <a:pt x="327" y="119"/>
                </a:cubicBezTo>
                <a:cubicBezTo>
                  <a:pt x="327" y="165"/>
                  <a:pt x="327" y="165"/>
                  <a:pt x="327" y="165"/>
                </a:cubicBezTo>
                <a:lnTo>
                  <a:pt x="245" y="165"/>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grpSp>
        <p:nvGrpSpPr>
          <p:cNvPr id="2178" name="Group 2177">
            <a:extLst>
              <a:ext uri="{FF2B5EF4-FFF2-40B4-BE49-F238E27FC236}">
                <a16:creationId xmlns:a16="http://schemas.microsoft.com/office/drawing/2014/main" id="{7FCDFF26-9A24-84B2-A7A6-68B1283BA35A}"/>
              </a:ext>
            </a:extLst>
          </p:cNvPr>
          <p:cNvGrpSpPr/>
          <p:nvPr/>
        </p:nvGrpSpPr>
        <p:grpSpPr>
          <a:xfrm>
            <a:off x="1721510" y="2433003"/>
            <a:ext cx="343716" cy="302127"/>
            <a:chOff x="4997450" y="3036888"/>
            <a:chExt cx="1238250" cy="1235075"/>
          </a:xfrm>
          <a:solidFill>
            <a:srgbClr val="2C2C2D"/>
          </a:solidFill>
        </p:grpSpPr>
        <p:sp>
          <p:nvSpPr>
            <p:cNvPr id="2250" name="Freeform 21">
              <a:extLst>
                <a:ext uri="{FF2B5EF4-FFF2-40B4-BE49-F238E27FC236}">
                  <a16:creationId xmlns:a16="http://schemas.microsoft.com/office/drawing/2014/main" id="{91746025-016D-EC66-E7A3-4F462F10DAD3}"/>
                </a:ext>
              </a:extLst>
            </p:cNvPr>
            <p:cNvSpPr>
              <a:spLocks noEditPoints="1"/>
            </p:cNvSpPr>
            <p:nvPr/>
          </p:nvSpPr>
          <p:spPr bwMode="auto">
            <a:xfrm>
              <a:off x="5092700" y="3128963"/>
              <a:ext cx="635000" cy="638175"/>
            </a:xfrm>
            <a:custGeom>
              <a:avLst/>
              <a:gdLst>
                <a:gd name="T0" fmla="*/ 180 w 400"/>
                <a:gd name="T1" fmla="*/ 400 h 402"/>
                <a:gd name="T2" fmla="*/ 122 w 400"/>
                <a:gd name="T3" fmla="*/ 386 h 402"/>
                <a:gd name="T4" fmla="*/ 72 w 400"/>
                <a:gd name="T5" fmla="*/ 356 h 402"/>
                <a:gd name="T6" fmla="*/ 34 w 400"/>
                <a:gd name="T7" fmla="*/ 312 h 402"/>
                <a:gd name="T8" fmla="*/ 8 w 400"/>
                <a:gd name="T9" fmla="*/ 260 h 402"/>
                <a:gd name="T10" fmla="*/ 0 w 400"/>
                <a:gd name="T11" fmla="*/ 200 h 402"/>
                <a:gd name="T12" fmla="*/ 4 w 400"/>
                <a:gd name="T13" fmla="*/ 160 h 402"/>
                <a:gd name="T14" fmla="*/ 24 w 400"/>
                <a:gd name="T15" fmla="*/ 106 h 402"/>
                <a:gd name="T16" fmla="*/ 58 w 400"/>
                <a:gd name="T17" fmla="*/ 58 h 402"/>
                <a:gd name="T18" fmla="*/ 104 w 400"/>
                <a:gd name="T19" fmla="*/ 24 h 402"/>
                <a:gd name="T20" fmla="*/ 160 w 400"/>
                <a:gd name="T21" fmla="*/ 4 h 402"/>
                <a:gd name="T22" fmla="*/ 200 w 400"/>
                <a:gd name="T23" fmla="*/ 0 h 402"/>
                <a:gd name="T24" fmla="*/ 260 w 400"/>
                <a:gd name="T25" fmla="*/ 10 h 402"/>
                <a:gd name="T26" fmla="*/ 312 w 400"/>
                <a:gd name="T27" fmla="*/ 34 h 402"/>
                <a:gd name="T28" fmla="*/ 354 w 400"/>
                <a:gd name="T29" fmla="*/ 74 h 402"/>
                <a:gd name="T30" fmla="*/ 384 w 400"/>
                <a:gd name="T31" fmla="*/ 122 h 402"/>
                <a:gd name="T32" fmla="*/ 400 w 400"/>
                <a:gd name="T33" fmla="*/ 180 h 402"/>
                <a:gd name="T34" fmla="*/ 400 w 400"/>
                <a:gd name="T35" fmla="*/ 222 h 402"/>
                <a:gd name="T36" fmla="*/ 384 w 400"/>
                <a:gd name="T37" fmla="*/ 278 h 402"/>
                <a:gd name="T38" fmla="*/ 354 w 400"/>
                <a:gd name="T39" fmla="*/ 328 h 402"/>
                <a:gd name="T40" fmla="*/ 312 w 400"/>
                <a:gd name="T41" fmla="*/ 366 h 402"/>
                <a:gd name="T42" fmla="*/ 260 w 400"/>
                <a:gd name="T43" fmla="*/ 392 h 402"/>
                <a:gd name="T44" fmla="*/ 200 w 400"/>
                <a:gd name="T45" fmla="*/ 402 h 402"/>
                <a:gd name="T46" fmla="*/ 200 w 400"/>
                <a:gd name="T47" fmla="*/ 18 h 402"/>
                <a:gd name="T48" fmla="*/ 146 w 400"/>
                <a:gd name="T49" fmla="*/ 26 h 402"/>
                <a:gd name="T50" fmla="*/ 98 w 400"/>
                <a:gd name="T51" fmla="*/ 50 h 402"/>
                <a:gd name="T52" fmla="*/ 60 w 400"/>
                <a:gd name="T53" fmla="*/ 84 h 402"/>
                <a:gd name="T54" fmla="*/ 32 w 400"/>
                <a:gd name="T55" fmla="*/ 130 h 402"/>
                <a:gd name="T56" fmla="*/ 18 w 400"/>
                <a:gd name="T57" fmla="*/ 182 h 402"/>
                <a:gd name="T58" fmla="*/ 18 w 400"/>
                <a:gd name="T59" fmla="*/ 220 h 402"/>
                <a:gd name="T60" fmla="*/ 32 w 400"/>
                <a:gd name="T61" fmla="*/ 272 h 402"/>
                <a:gd name="T62" fmla="*/ 60 w 400"/>
                <a:gd name="T63" fmla="*/ 316 h 402"/>
                <a:gd name="T64" fmla="*/ 98 w 400"/>
                <a:gd name="T65" fmla="*/ 352 h 402"/>
                <a:gd name="T66" fmla="*/ 146 w 400"/>
                <a:gd name="T67" fmla="*/ 376 h 402"/>
                <a:gd name="T68" fmla="*/ 200 w 400"/>
                <a:gd name="T69" fmla="*/ 384 h 402"/>
                <a:gd name="T70" fmla="*/ 236 w 400"/>
                <a:gd name="T71" fmla="*/ 380 h 402"/>
                <a:gd name="T72" fmla="*/ 286 w 400"/>
                <a:gd name="T73" fmla="*/ 362 h 402"/>
                <a:gd name="T74" fmla="*/ 330 w 400"/>
                <a:gd name="T75" fmla="*/ 330 h 402"/>
                <a:gd name="T76" fmla="*/ 360 w 400"/>
                <a:gd name="T77" fmla="*/ 288 h 402"/>
                <a:gd name="T78" fmla="*/ 378 w 400"/>
                <a:gd name="T79" fmla="*/ 238 h 402"/>
                <a:gd name="T80" fmla="*/ 382 w 400"/>
                <a:gd name="T81" fmla="*/ 200 h 402"/>
                <a:gd name="T82" fmla="*/ 374 w 400"/>
                <a:gd name="T83" fmla="*/ 146 h 402"/>
                <a:gd name="T84" fmla="*/ 352 w 400"/>
                <a:gd name="T85" fmla="*/ 98 h 402"/>
                <a:gd name="T86" fmla="*/ 316 w 400"/>
                <a:gd name="T87" fmla="*/ 60 h 402"/>
                <a:gd name="T88" fmla="*/ 270 w 400"/>
                <a:gd name="T89" fmla="*/ 32 h 402"/>
                <a:gd name="T90" fmla="*/ 218 w 400"/>
                <a:gd name="T91" fmla="*/ 2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0" h="402">
                  <a:moveTo>
                    <a:pt x="200" y="402"/>
                  </a:moveTo>
                  <a:lnTo>
                    <a:pt x="200" y="402"/>
                  </a:lnTo>
                  <a:lnTo>
                    <a:pt x="180" y="400"/>
                  </a:lnTo>
                  <a:lnTo>
                    <a:pt x="160" y="398"/>
                  </a:lnTo>
                  <a:lnTo>
                    <a:pt x="140" y="392"/>
                  </a:lnTo>
                  <a:lnTo>
                    <a:pt x="122" y="386"/>
                  </a:lnTo>
                  <a:lnTo>
                    <a:pt x="104" y="378"/>
                  </a:lnTo>
                  <a:lnTo>
                    <a:pt x="88" y="366"/>
                  </a:lnTo>
                  <a:lnTo>
                    <a:pt x="72" y="356"/>
                  </a:lnTo>
                  <a:lnTo>
                    <a:pt x="58" y="342"/>
                  </a:lnTo>
                  <a:lnTo>
                    <a:pt x="46" y="328"/>
                  </a:lnTo>
                  <a:lnTo>
                    <a:pt x="34" y="312"/>
                  </a:lnTo>
                  <a:lnTo>
                    <a:pt x="24" y="296"/>
                  </a:lnTo>
                  <a:lnTo>
                    <a:pt x="16" y="278"/>
                  </a:lnTo>
                  <a:lnTo>
                    <a:pt x="8" y="260"/>
                  </a:lnTo>
                  <a:lnTo>
                    <a:pt x="4" y="242"/>
                  </a:lnTo>
                  <a:lnTo>
                    <a:pt x="0" y="222"/>
                  </a:lnTo>
                  <a:lnTo>
                    <a:pt x="0" y="200"/>
                  </a:lnTo>
                  <a:lnTo>
                    <a:pt x="0" y="200"/>
                  </a:lnTo>
                  <a:lnTo>
                    <a:pt x="0" y="180"/>
                  </a:lnTo>
                  <a:lnTo>
                    <a:pt x="4" y="160"/>
                  </a:lnTo>
                  <a:lnTo>
                    <a:pt x="8" y="142"/>
                  </a:lnTo>
                  <a:lnTo>
                    <a:pt x="16" y="122"/>
                  </a:lnTo>
                  <a:lnTo>
                    <a:pt x="24" y="106"/>
                  </a:lnTo>
                  <a:lnTo>
                    <a:pt x="34" y="88"/>
                  </a:lnTo>
                  <a:lnTo>
                    <a:pt x="46" y="74"/>
                  </a:lnTo>
                  <a:lnTo>
                    <a:pt x="58" y="58"/>
                  </a:lnTo>
                  <a:lnTo>
                    <a:pt x="72" y="46"/>
                  </a:lnTo>
                  <a:lnTo>
                    <a:pt x="88" y="34"/>
                  </a:lnTo>
                  <a:lnTo>
                    <a:pt x="104" y="24"/>
                  </a:lnTo>
                  <a:lnTo>
                    <a:pt x="122" y="16"/>
                  </a:lnTo>
                  <a:lnTo>
                    <a:pt x="140" y="10"/>
                  </a:lnTo>
                  <a:lnTo>
                    <a:pt x="160" y="4"/>
                  </a:lnTo>
                  <a:lnTo>
                    <a:pt x="180" y="2"/>
                  </a:lnTo>
                  <a:lnTo>
                    <a:pt x="200" y="0"/>
                  </a:lnTo>
                  <a:lnTo>
                    <a:pt x="200" y="0"/>
                  </a:lnTo>
                  <a:lnTo>
                    <a:pt x="220" y="2"/>
                  </a:lnTo>
                  <a:lnTo>
                    <a:pt x="240" y="4"/>
                  </a:lnTo>
                  <a:lnTo>
                    <a:pt x="260" y="10"/>
                  </a:lnTo>
                  <a:lnTo>
                    <a:pt x="278" y="16"/>
                  </a:lnTo>
                  <a:lnTo>
                    <a:pt x="296" y="24"/>
                  </a:lnTo>
                  <a:lnTo>
                    <a:pt x="312" y="34"/>
                  </a:lnTo>
                  <a:lnTo>
                    <a:pt x="328" y="46"/>
                  </a:lnTo>
                  <a:lnTo>
                    <a:pt x="342" y="58"/>
                  </a:lnTo>
                  <a:lnTo>
                    <a:pt x="354" y="74"/>
                  </a:lnTo>
                  <a:lnTo>
                    <a:pt x="366" y="88"/>
                  </a:lnTo>
                  <a:lnTo>
                    <a:pt x="376" y="106"/>
                  </a:lnTo>
                  <a:lnTo>
                    <a:pt x="384" y="122"/>
                  </a:lnTo>
                  <a:lnTo>
                    <a:pt x="392" y="142"/>
                  </a:lnTo>
                  <a:lnTo>
                    <a:pt x="396" y="160"/>
                  </a:lnTo>
                  <a:lnTo>
                    <a:pt x="400" y="180"/>
                  </a:lnTo>
                  <a:lnTo>
                    <a:pt x="400" y="200"/>
                  </a:lnTo>
                  <a:lnTo>
                    <a:pt x="400" y="200"/>
                  </a:lnTo>
                  <a:lnTo>
                    <a:pt x="400" y="222"/>
                  </a:lnTo>
                  <a:lnTo>
                    <a:pt x="396" y="242"/>
                  </a:lnTo>
                  <a:lnTo>
                    <a:pt x="392" y="260"/>
                  </a:lnTo>
                  <a:lnTo>
                    <a:pt x="384" y="278"/>
                  </a:lnTo>
                  <a:lnTo>
                    <a:pt x="376" y="296"/>
                  </a:lnTo>
                  <a:lnTo>
                    <a:pt x="366" y="312"/>
                  </a:lnTo>
                  <a:lnTo>
                    <a:pt x="354" y="328"/>
                  </a:lnTo>
                  <a:lnTo>
                    <a:pt x="342" y="342"/>
                  </a:lnTo>
                  <a:lnTo>
                    <a:pt x="328" y="356"/>
                  </a:lnTo>
                  <a:lnTo>
                    <a:pt x="312" y="366"/>
                  </a:lnTo>
                  <a:lnTo>
                    <a:pt x="296" y="378"/>
                  </a:lnTo>
                  <a:lnTo>
                    <a:pt x="278" y="386"/>
                  </a:lnTo>
                  <a:lnTo>
                    <a:pt x="260" y="392"/>
                  </a:lnTo>
                  <a:lnTo>
                    <a:pt x="240" y="398"/>
                  </a:lnTo>
                  <a:lnTo>
                    <a:pt x="220" y="400"/>
                  </a:lnTo>
                  <a:lnTo>
                    <a:pt x="200" y="402"/>
                  </a:lnTo>
                  <a:lnTo>
                    <a:pt x="200" y="402"/>
                  </a:lnTo>
                  <a:close/>
                  <a:moveTo>
                    <a:pt x="200" y="18"/>
                  </a:moveTo>
                  <a:lnTo>
                    <a:pt x="200" y="18"/>
                  </a:lnTo>
                  <a:lnTo>
                    <a:pt x="182" y="20"/>
                  </a:lnTo>
                  <a:lnTo>
                    <a:pt x="164" y="22"/>
                  </a:lnTo>
                  <a:lnTo>
                    <a:pt x="146" y="26"/>
                  </a:lnTo>
                  <a:lnTo>
                    <a:pt x="128" y="32"/>
                  </a:lnTo>
                  <a:lnTo>
                    <a:pt x="112" y="40"/>
                  </a:lnTo>
                  <a:lnTo>
                    <a:pt x="98" y="50"/>
                  </a:lnTo>
                  <a:lnTo>
                    <a:pt x="84" y="60"/>
                  </a:lnTo>
                  <a:lnTo>
                    <a:pt x="70" y="72"/>
                  </a:lnTo>
                  <a:lnTo>
                    <a:pt x="60" y="84"/>
                  </a:lnTo>
                  <a:lnTo>
                    <a:pt x="48" y="98"/>
                  </a:lnTo>
                  <a:lnTo>
                    <a:pt x="40" y="114"/>
                  </a:lnTo>
                  <a:lnTo>
                    <a:pt x="32" y="130"/>
                  </a:lnTo>
                  <a:lnTo>
                    <a:pt x="26" y="146"/>
                  </a:lnTo>
                  <a:lnTo>
                    <a:pt x="22" y="164"/>
                  </a:lnTo>
                  <a:lnTo>
                    <a:pt x="18" y="182"/>
                  </a:lnTo>
                  <a:lnTo>
                    <a:pt x="18" y="200"/>
                  </a:lnTo>
                  <a:lnTo>
                    <a:pt x="18" y="200"/>
                  </a:lnTo>
                  <a:lnTo>
                    <a:pt x="18" y="220"/>
                  </a:lnTo>
                  <a:lnTo>
                    <a:pt x="22" y="238"/>
                  </a:lnTo>
                  <a:lnTo>
                    <a:pt x="26" y="254"/>
                  </a:lnTo>
                  <a:lnTo>
                    <a:pt x="32" y="272"/>
                  </a:lnTo>
                  <a:lnTo>
                    <a:pt x="40" y="288"/>
                  </a:lnTo>
                  <a:lnTo>
                    <a:pt x="48" y="302"/>
                  </a:lnTo>
                  <a:lnTo>
                    <a:pt x="60" y="316"/>
                  </a:lnTo>
                  <a:lnTo>
                    <a:pt x="70" y="330"/>
                  </a:lnTo>
                  <a:lnTo>
                    <a:pt x="84" y="342"/>
                  </a:lnTo>
                  <a:lnTo>
                    <a:pt x="98" y="352"/>
                  </a:lnTo>
                  <a:lnTo>
                    <a:pt x="112" y="362"/>
                  </a:lnTo>
                  <a:lnTo>
                    <a:pt x="128" y="368"/>
                  </a:lnTo>
                  <a:lnTo>
                    <a:pt x="146" y="376"/>
                  </a:lnTo>
                  <a:lnTo>
                    <a:pt x="164" y="380"/>
                  </a:lnTo>
                  <a:lnTo>
                    <a:pt x="182" y="382"/>
                  </a:lnTo>
                  <a:lnTo>
                    <a:pt x="200" y="384"/>
                  </a:lnTo>
                  <a:lnTo>
                    <a:pt x="200" y="384"/>
                  </a:lnTo>
                  <a:lnTo>
                    <a:pt x="218" y="382"/>
                  </a:lnTo>
                  <a:lnTo>
                    <a:pt x="236" y="380"/>
                  </a:lnTo>
                  <a:lnTo>
                    <a:pt x="254" y="376"/>
                  </a:lnTo>
                  <a:lnTo>
                    <a:pt x="270" y="368"/>
                  </a:lnTo>
                  <a:lnTo>
                    <a:pt x="286" y="362"/>
                  </a:lnTo>
                  <a:lnTo>
                    <a:pt x="302" y="352"/>
                  </a:lnTo>
                  <a:lnTo>
                    <a:pt x="316" y="342"/>
                  </a:lnTo>
                  <a:lnTo>
                    <a:pt x="330" y="330"/>
                  </a:lnTo>
                  <a:lnTo>
                    <a:pt x="340" y="316"/>
                  </a:lnTo>
                  <a:lnTo>
                    <a:pt x="352" y="302"/>
                  </a:lnTo>
                  <a:lnTo>
                    <a:pt x="360" y="288"/>
                  </a:lnTo>
                  <a:lnTo>
                    <a:pt x="368" y="272"/>
                  </a:lnTo>
                  <a:lnTo>
                    <a:pt x="374" y="254"/>
                  </a:lnTo>
                  <a:lnTo>
                    <a:pt x="378" y="238"/>
                  </a:lnTo>
                  <a:lnTo>
                    <a:pt x="382" y="220"/>
                  </a:lnTo>
                  <a:lnTo>
                    <a:pt x="382" y="200"/>
                  </a:lnTo>
                  <a:lnTo>
                    <a:pt x="382" y="200"/>
                  </a:lnTo>
                  <a:lnTo>
                    <a:pt x="382" y="182"/>
                  </a:lnTo>
                  <a:lnTo>
                    <a:pt x="378" y="164"/>
                  </a:lnTo>
                  <a:lnTo>
                    <a:pt x="374" y="146"/>
                  </a:lnTo>
                  <a:lnTo>
                    <a:pt x="368" y="130"/>
                  </a:lnTo>
                  <a:lnTo>
                    <a:pt x="360" y="114"/>
                  </a:lnTo>
                  <a:lnTo>
                    <a:pt x="352" y="98"/>
                  </a:lnTo>
                  <a:lnTo>
                    <a:pt x="340" y="84"/>
                  </a:lnTo>
                  <a:lnTo>
                    <a:pt x="330" y="72"/>
                  </a:lnTo>
                  <a:lnTo>
                    <a:pt x="316" y="60"/>
                  </a:lnTo>
                  <a:lnTo>
                    <a:pt x="302" y="50"/>
                  </a:lnTo>
                  <a:lnTo>
                    <a:pt x="286" y="40"/>
                  </a:lnTo>
                  <a:lnTo>
                    <a:pt x="270" y="32"/>
                  </a:lnTo>
                  <a:lnTo>
                    <a:pt x="254" y="26"/>
                  </a:lnTo>
                  <a:lnTo>
                    <a:pt x="236" y="22"/>
                  </a:lnTo>
                  <a:lnTo>
                    <a:pt x="218" y="20"/>
                  </a:lnTo>
                  <a:lnTo>
                    <a:pt x="200" y="18"/>
                  </a:lnTo>
                  <a:lnTo>
                    <a:pt x="200" y="18"/>
                  </a:lnTo>
                  <a:close/>
                </a:path>
              </a:pathLst>
            </a:custGeom>
            <a:grpFill/>
            <a:ln w="9525">
              <a:solidFill>
                <a:srgbClr val="2C2C2D"/>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51" name="Freeform 22">
              <a:extLst>
                <a:ext uri="{FF2B5EF4-FFF2-40B4-BE49-F238E27FC236}">
                  <a16:creationId xmlns:a16="http://schemas.microsoft.com/office/drawing/2014/main" id="{F7E0161C-00B4-F0A1-DB8C-3D8A9E389FE7}"/>
                </a:ext>
              </a:extLst>
            </p:cNvPr>
            <p:cNvSpPr>
              <a:spLocks/>
            </p:cNvSpPr>
            <p:nvPr/>
          </p:nvSpPr>
          <p:spPr bwMode="auto">
            <a:xfrm>
              <a:off x="5149850" y="3446463"/>
              <a:ext cx="47625" cy="101600"/>
            </a:xfrm>
            <a:custGeom>
              <a:avLst/>
              <a:gdLst>
                <a:gd name="T0" fmla="*/ 14 w 30"/>
                <a:gd name="T1" fmla="*/ 64 h 64"/>
                <a:gd name="T2" fmla="*/ 14 w 30"/>
                <a:gd name="T3" fmla="*/ 64 h 64"/>
                <a:gd name="T4" fmla="*/ 8 w 30"/>
                <a:gd name="T5" fmla="*/ 50 h 64"/>
                <a:gd name="T6" fmla="*/ 4 w 30"/>
                <a:gd name="T7" fmla="*/ 34 h 64"/>
                <a:gd name="T8" fmla="*/ 4 w 30"/>
                <a:gd name="T9" fmla="*/ 34 h 64"/>
                <a:gd name="T10" fmla="*/ 2 w 30"/>
                <a:gd name="T11" fmla="*/ 18 h 64"/>
                <a:gd name="T12" fmla="*/ 0 w 30"/>
                <a:gd name="T13" fmla="*/ 0 h 64"/>
                <a:gd name="T14" fmla="*/ 18 w 30"/>
                <a:gd name="T15" fmla="*/ 0 h 64"/>
                <a:gd name="T16" fmla="*/ 18 w 30"/>
                <a:gd name="T17" fmla="*/ 0 h 64"/>
                <a:gd name="T18" fmla="*/ 20 w 30"/>
                <a:gd name="T19" fmla="*/ 16 h 64"/>
                <a:gd name="T20" fmla="*/ 22 w 30"/>
                <a:gd name="T21" fmla="*/ 30 h 64"/>
                <a:gd name="T22" fmla="*/ 22 w 30"/>
                <a:gd name="T23" fmla="*/ 30 h 64"/>
                <a:gd name="T24" fmla="*/ 24 w 30"/>
                <a:gd name="T25" fmla="*/ 44 h 64"/>
                <a:gd name="T26" fmla="*/ 30 w 30"/>
                <a:gd name="T27" fmla="*/ 58 h 64"/>
                <a:gd name="T28" fmla="*/ 14 w 30"/>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64">
                  <a:moveTo>
                    <a:pt x="14" y="64"/>
                  </a:moveTo>
                  <a:lnTo>
                    <a:pt x="14" y="64"/>
                  </a:lnTo>
                  <a:lnTo>
                    <a:pt x="8" y="50"/>
                  </a:lnTo>
                  <a:lnTo>
                    <a:pt x="4" y="34"/>
                  </a:lnTo>
                  <a:lnTo>
                    <a:pt x="4" y="34"/>
                  </a:lnTo>
                  <a:lnTo>
                    <a:pt x="2" y="18"/>
                  </a:lnTo>
                  <a:lnTo>
                    <a:pt x="0" y="0"/>
                  </a:lnTo>
                  <a:lnTo>
                    <a:pt x="18" y="0"/>
                  </a:lnTo>
                  <a:lnTo>
                    <a:pt x="18" y="0"/>
                  </a:lnTo>
                  <a:lnTo>
                    <a:pt x="20" y="16"/>
                  </a:lnTo>
                  <a:lnTo>
                    <a:pt x="22" y="30"/>
                  </a:lnTo>
                  <a:lnTo>
                    <a:pt x="22" y="30"/>
                  </a:lnTo>
                  <a:lnTo>
                    <a:pt x="24" y="44"/>
                  </a:lnTo>
                  <a:lnTo>
                    <a:pt x="30" y="58"/>
                  </a:lnTo>
                  <a:lnTo>
                    <a:pt x="14" y="64"/>
                  </a:lnTo>
                  <a:close/>
                </a:path>
              </a:pathLst>
            </a:custGeom>
            <a:grpFill/>
            <a:ln w="9525">
              <a:solidFill>
                <a:srgbClr val="2C2C2D"/>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52" name="Freeform 23">
              <a:extLst>
                <a:ext uri="{FF2B5EF4-FFF2-40B4-BE49-F238E27FC236}">
                  <a16:creationId xmlns:a16="http://schemas.microsoft.com/office/drawing/2014/main" id="{A508A881-2162-0B52-BC6A-7C5CA01A9F53}"/>
                </a:ext>
              </a:extLst>
            </p:cNvPr>
            <p:cNvSpPr>
              <a:spLocks/>
            </p:cNvSpPr>
            <p:nvPr/>
          </p:nvSpPr>
          <p:spPr bwMode="auto">
            <a:xfrm>
              <a:off x="5194300" y="3576638"/>
              <a:ext cx="50800" cy="53975"/>
            </a:xfrm>
            <a:custGeom>
              <a:avLst/>
              <a:gdLst>
                <a:gd name="T0" fmla="*/ 20 w 32"/>
                <a:gd name="T1" fmla="*/ 34 h 34"/>
                <a:gd name="T2" fmla="*/ 20 w 32"/>
                <a:gd name="T3" fmla="*/ 34 h 34"/>
                <a:gd name="T4" fmla="*/ 10 w 32"/>
                <a:gd name="T5" fmla="*/ 22 h 34"/>
                <a:gd name="T6" fmla="*/ 0 w 32"/>
                <a:gd name="T7" fmla="*/ 10 h 34"/>
                <a:gd name="T8" fmla="*/ 16 w 32"/>
                <a:gd name="T9" fmla="*/ 0 h 34"/>
                <a:gd name="T10" fmla="*/ 16 w 32"/>
                <a:gd name="T11" fmla="*/ 0 h 34"/>
                <a:gd name="T12" fmla="*/ 24 w 32"/>
                <a:gd name="T13" fmla="*/ 12 h 34"/>
                <a:gd name="T14" fmla="*/ 32 w 32"/>
                <a:gd name="T15" fmla="*/ 22 h 34"/>
                <a:gd name="T16" fmla="*/ 20 w 3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4">
                  <a:moveTo>
                    <a:pt x="20" y="34"/>
                  </a:moveTo>
                  <a:lnTo>
                    <a:pt x="20" y="34"/>
                  </a:lnTo>
                  <a:lnTo>
                    <a:pt x="10" y="22"/>
                  </a:lnTo>
                  <a:lnTo>
                    <a:pt x="0" y="10"/>
                  </a:lnTo>
                  <a:lnTo>
                    <a:pt x="16" y="0"/>
                  </a:lnTo>
                  <a:lnTo>
                    <a:pt x="16" y="0"/>
                  </a:lnTo>
                  <a:lnTo>
                    <a:pt x="24" y="12"/>
                  </a:lnTo>
                  <a:lnTo>
                    <a:pt x="32" y="22"/>
                  </a:lnTo>
                  <a:lnTo>
                    <a:pt x="20" y="34"/>
                  </a:lnTo>
                  <a:close/>
                </a:path>
              </a:pathLst>
            </a:custGeom>
            <a:grpFill/>
            <a:ln w="9525">
              <a:solidFill>
                <a:srgbClr val="2C2C2D"/>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53" name="Freeform 24">
              <a:extLst>
                <a:ext uri="{FF2B5EF4-FFF2-40B4-BE49-F238E27FC236}">
                  <a16:creationId xmlns:a16="http://schemas.microsoft.com/office/drawing/2014/main" id="{72AFEA5B-A1BD-5CD0-D8A1-1269660937E5}"/>
                </a:ext>
              </a:extLst>
            </p:cNvPr>
            <p:cNvSpPr>
              <a:spLocks noEditPoints="1"/>
            </p:cNvSpPr>
            <p:nvPr/>
          </p:nvSpPr>
          <p:spPr bwMode="auto">
            <a:xfrm>
              <a:off x="4997450" y="3036888"/>
              <a:ext cx="825500" cy="822325"/>
            </a:xfrm>
            <a:custGeom>
              <a:avLst/>
              <a:gdLst>
                <a:gd name="T0" fmla="*/ 234 w 520"/>
                <a:gd name="T1" fmla="*/ 518 h 518"/>
                <a:gd name="T2" fmla="*/ 158 w 520"/>
                <a:gd name="T3" fmla="*/ 498 h 518"/>
                <a:gd name="T4" fmla="*/ 94 w 520"/>
                <a:gd name="T5" fmla="*/ 458 h 518"/>
                <a:gd name="T6" fmla="*/ 44 w 520"/>
                <a:gd name="T7" fmla="*/ 404 h 518"/>
                <a:gd name="T8" fmla="*/ 12 w 520"/>
                <a:gd name="T9" fmla="*/ 336 h 518"/>
                <a:gd name="T10" fmla="*/ 0 w 520"/>
                <a:gd name="T11" fmla="*/ 258 h 518"/>
                <a:gd name="T12" fmla="*/ 6 w 520"/>
                <a:gd name="T13" fmla="*/ 206 h 518"/>
                <a:gd name="T14" fmla="*/ 32 w 520"/>
                <a:gd name="T15" fmla="*/ 136 h 518"/>
                <a:gd name="T16" fmla="*/ 76 w 520"/>
                <a:gd name="T17" fmla="*/ 76 h 518"/>
                <a:gd name="T18" fmla="*/ 136 w 520"/>
                <a:gd name="T19" fmla="*/ 30 h 518"/>
                <a:gd name="T20" fmla="*/ 208 w 520"/>
                <a:gd name="T21" fmla="*/ 4 h 518"/>
                <a:gd name="T22" fmla="*/ 260 w 520"/>
                <a:gd name="T23" fmla="*/ 0 h 518"/>
                <a:gd name="T24" fmla="*/ 338 w 520"/>
                <a:gd name="T25" fmla="*/ 10 h 518"/>
                <a:gd name="T26" fmla="*/ 406 w 520"/>
                <a:gd name="T27" fmla="*/ 44 h 518"/>
                <a:gd name="T28" fmla="*/ 460 w 520"/>
                <a:gd name="T29" fmla="*/ 94 h 518"/>
                <a:gd name="T30" fmla="*/ 500 w 520"/>
                <a:gd name="T31" fmla="*/ 158 h 518"/>
                <a:gd name="T32" fmla="*/ 518 w 520"/>
                <a:gd name="T33" fmla="*/ 232 h 518"/>
                <a:gd name="T34" fmla="*/ 518 w 520"/>
                <a:gd name="T35" fmla="*/ 286 h 518"/>
                <a:gd name="T36" fmla="*/ 500 w 520"/>
                <a:gd name="T37" fmla="*/ 360 h 518"/>
                <a:gd name="T38" fmla="*/ 460 w 520"/>
                <a:gd name="T39" fmla="*/ 424 h 518"/>
                <a:gd name="T40" fmla="*/ 406 w 520"/>
                <a:gd name="T41" fmla="*/ 474 h 518"/>
                <a:gd name="T42" fmla="*/ 338 w 520"/>
                <a:gd name="T43" fmla="*/ 506 h 518"/>
                <a:gd name="T44" fmla="*/ 260 w 520"/>
                <a:gd name="T45" fmla="*/ 518 h 518"/>
                <a:gd name="T46" fmla="*/ 260 w 520"/>
                <a:gd name="T47" fmla="*/ 18 h 518"/>
                <a:gd name="T48" fmla="*/ 188 w 520"/>
                <a:gd name="T49" fmla="*/ 28 h 518"/>
                <a:gd name="T50" fmla="*/ 124 w 520"/>
                <a:gd name="T51" fmla="*/ 58 h 518"/>
                <a:gd name="T52" fmla="*/ 74 w 520"/>
                <a:gd name="T53" fmla="*/ 106 h 518"/>
                <a:gd name="T54" fmla="*/ 38 w 520"/>
                <a:gd name="T55" fmla="*/ 164 h 518"/>
                <a:gd name="T56" fmla="*/ 20 w 520"/>
                <a:gd name="T57" fmla="*/ 234 h 518"/>
                <a:gd name="T58" fmla="*/ 20 w 520"/>
                <a:gd name="T59" fmla="*/ 284 h 518"/>
                <a:gd name="T60" fmla="*/ 38 w 520"/>
                <a:gd name="T61" fmla="*/ 352 h 518"/>
                <a:gd name="T62" fmla="*/ 74 w 520"/>
                <a:gd name="T63" fmla="*/ 412 h 518"/>
                <a:gd name="T64" fmla="*/ 124 w 520"/>
                <a:gd name="T65" fmla="*/ 460 h 518"/>
                <a:gd name="T66" fmla="*/ 188 w 520"/>
                <a:gd name="T67" fmla="*/ 490 h 518"/>
                <a:gd name="T68" fmla="*/ 260 w 520"/>
                <a:gd name="T69" fmla="*/ 500 h 518"/>
                <a:gd name="T70" fmla="*/ 308 w 520"/>
                <a:gd name="T71" fmla="*/ 496 h 518"/>
                <a:gd name="T72" fmla="*/ 376 w 520"/>
                <a:gd name="T73" fmla="*/ 472 h 518"/>
                <a:gd name="T74" fmla="*/ 430 w 520"/>
                <a:gd name="T75" fmla="*/ 430 h 518"/>
                <a:gd name="T76" fmla="*/ 472 w 520"/>
                <a:gd name="T77" fmla="*/ 374 h 518"/>
                <a:gd name="T78" fmla="*/ 496 w 520"/>
                <a:gd name="T79" fmla="*/ 308 h 518"/>
                <a:gd name="T80" fmla="*/ 502 w 520"/>
                <a:gd name="T81" fmla="*/ 258 h 518"/>
                <a:gd name="T82" fmla="*/ 490 w 520"/>
                <a:gd name="T83" fmla="*/ 186 h 518"/>
                <a:gd name="T84" fmla="*/ 460 w 520"/>
                <a:gd name="T85" fmla="*/ 124 h 518"/>
                <a:gd name="T86" fmla="*/ 414 w 520"/>
                <a:gd name="T87" fmla="*/ 72 h 518"/>
                <a:gd name="T88" fmla="*/ 354 w 520"/>
                <a:gd name="T89" fmla="*/ 36 h 518"/>
                <a:gd name="T90" fmla="*/ 284 w 520"/>
                <a:gd name="T91" fmla="*/ 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0" h="518">
                  <a:moveTo>
                    <a:pt x="260" y="518"/>
                  </a:moveTo>
                  <a:lnTo>
                    <a:pt x="260" y="518"/>
                  </a:lnTo>
                  <a:lnTo>
                    <a:pt x="234" y="518"/>
                  </a:lnTo>
                  <a:lnTo>
                    <a:pt x="208" y="514"/>
                  </a:lnTo>
                  <a:lnTo>
                    <a:pt x="182" y="506"/>
                  </a:lnTo>
                  <a:lnTo>
                    <a:pt x="158" y="498"/>
                  </a:lnTo>
                  <a:lnTo>
                    <a:pt x="136" y="486"/>
                  </a:lnTo>
                  <a:lnTo>
                    <a:pt x="114" y="474"/>
                  </a:lnTo>
                  <a:lnTo>
                    <a:pt x="94" y="458"/>
                  </a:lnTo>
                  <a:lnTo>
                    <a:pt x="76" y="442"/>
                  </a:lnTo>
                  <a:lnTo>
                    <a:pt x="60" y="424"/>
                  </a:lnTo>
                  <a:lnTo>
                    <a:pt x="44" y="404"/>
                  </a:lnTo>
                  <a:lnTo>
                    <a:pt x="32" y="382"/>
                  </a:lnTo>
                  <a:lnTo>
                    <a:pt x="20" y="360"/>
                  </a:lnTo>
                  <a:lnTo>
                    <a:pt x="12" y="336"/>
                  </a:lnTo>
                  <a:lnTo>
                    <a:pt x="6" y="310"/>
                  </a:lnTo>
                  <a:lnTo>
                    <a:pt x="2" y="286"/>
                  </a:lnTo>
                  <a:lnTo>
                    <a:pt x="0" y="258"/>
                  </a:lnTo>
                  <a:lnTo>
                    <a:pt x="0" y="258"/>
                  </a:lnTo>
                  <a:lnTo>
                    <a:pt x="2" y="232"/>
                  </a:lnTo>
                  <a:lnTo>
                    <a:pt x="6" y="206"/>
                  </a:lnTo>
                  <a:lnTo>
                    <a:pt x="12" y="182"/>
                  </a:lnTo>
                  <a:lnTo>
                    <a:pt x="20" y="158"/>
                  </a:lnTo>
                  <a:lnTo>
                    <a:pt x="32" y="136"/>
                  </a:lnTo>
                  <a:lnTo>
                    <a:pt x="44" y="114"/>
                  </a:lnTo>
                  <a:lnTo>
                    <a:pt x="60" y="94"/>
                  </a:lnTo>
                  <a:lnTo>
                    <a:pt x="76" y="76"/>
                  </a:lnTo>
                  <a:lnTo>
                    <a:pt x="94" y="58"/>
                  </a:lnTo>
                  <a:lnTo>
                    <a:pt x="114" y="44"/>
                  </a:lnTo>
                  <a:lnTo>
                    <a:pt x="136" y="30"/>
                  </a:lnTo>
                  <a:lnTo>
                    <a:pt x="158" y="20"/>
                  </a:lnTo>
                  <a:lnTo>
                    <a:pt x="182" y="10"/>
                  </a:lnTo>
                  <a:lnTo>
                    <a:pt x="208" y="4"/>
                  </a:lnTo>
                  <a:lnTo>
                    <a:pt x="234" y="0"/>
                  </a:lnTo>
                  <a:lnTo>
                    <a:pt x="260" y="0"/>
                  </a:lnTo>
                  <a:lnTo>
                    <a:pt x="260" y="0"/>
                  </a:lnTo>
                  <a:lnTo>
                    <a:pt x="286" y="0"/>
                  </a:lnTo>
                  <a:lnTo>
                    <a:pt x="312" y="4"/>
                  </a:lnTo>
                  <a:lnTo>
                    <a:pt x="338" y="10"/>
                  </a:lnTo>
                  <a:lnTo>
                    <a:pt x="360" y="20"/>
                  </a:lnTo>
                  <a:lnTo>
                    <a:pt x="384" y="30"/>
                  </a:lnTo>
                  <a:lnTo>
                    <a:pt x="406" y="44"/>
                  </a:lnTo>
                  <a:lnTo>
                    <a:pt x="426" y="58"/>
                  </a:lnTo>
                  <a:lnTo>
                    <a:pt x="444" y="76"/>
                  </a:lnTo>
                  <a:lnTo>
                    <a:pt x="460" y="94"/>
                  </a:lnTo>
                  <a:lnTo>
                    <a:pt x="476" y="114"/>
                  </a:lnTo>
                  <a:lnTo>
                    <a:pt x="488" y="136"/>
                  </a:lnTo>
                  <a:lnTo>
                    <a:pt x="500" y="158"/>
                  </a:lnTo>
                  <a:lnTo>
                    <a:pt x="508" y="182"/>
                  </a:lnTo>
                  <a:lnTo>
                    <a:pt x="514" y="206"/>
                  </a:lnTo>
                  <a:lnTo>
                    <a:pt x="518" y="232"/>
                  </a:lnTo>
                  <a:lnTo>
                    <a:pt x="520" y="258"/>
                  </a:lnTo>
                  <a:lnTo>
                    <a:pt x="520" y="258"/>
                  </a:lnTo>
                  <a:lnTo>
                    <a:pt x="518" y="286"/>
                  </a:lnTo>
                  <a:lnTo>
                    <a:pt x="514" y="310"/>
                  </a:lnTo>
                  <a:lnTo>
                    <a:pt x="508" y="336"/>
                  </a:lnTo>
                  <a:lnTo>
                    <a:pt x="500" y="360"/>
                  </a:lnTo>
                  <a:lnTo>
                    <a:pt x="488" y="382"/>
                  </a:lnTo>
                  <a:lnTo>
                    <a:pt x="476" y="404"/>
                  </a:lnTo>
                  <a:lnTo>
                    <a:pt x="460" y="424"/>
                  </a:lnTo>
                  <a:lnTo>
                    <a:pt x="444" y="442"/>
                  </a:lnTo>
                  <a:lnTo>
                    <a:pt x="426" y="458"/>
                  </a:lnTo>
                  <a:lnTo>
                    <a:pt x="406" y="474"/>
                  </a:lnTo>
                  <a:lnTo>
                    <a:pt x="384" y="486"/>
                  </a:lnTo>
                  <a:lnTo>
                    <a:pt x="360" y="498"/>
                  </a:lnTo>
                  <a:lnTo>
                    <a:pt x="338" y="506"/>
                  </a:lnTo>
                  <a:lnTo>
                    <a:pt x="312" y="514"/>
                  </a:lnTo>
                  <a:lnTo>
                    <a:pt x="286" y="518"/>
                  </a:lnTo>
                  <a:lnTo>
                    <a:pt x="260" y="518"/>
                  </a:lnTo>
                  <a:lnTo>
                    <a:pt x="260" y="518"/>
                  </a:lnTo>
                  <a:close/>
                  <a:moveTo>
                    <a:pt x="260" y="18"/>
                  </a:moveTo>
                  <a:lnTo>
                    <a:pt x="260" y="18"/>
                  </a:lnTo>
                  <a:lnTo>
                    <a:pt x="236" y="18"/>
                  </a:lnTo>
                  <a:lnTo>
                    <a:pt x="212" y="22"/>
                  </a:lnTo>
                  <a:lnTo>
                    <a:pt x="188" y="28"/>
                  </a:lnTo>
                  <a:lnTo>
                    <a:pt x="166" y="36"/>
                  </a:lnTo>
                  <a:lnTo>
                    <a:pt x="144" y="46"/>
                  </a:lnTo>
                  <a:lnTo>
                    <a:pt x="124" y="58"/>
                  </a:lnTo>
                  <a:lnTo>
                    <a:pt x="106" y="72"/>
                  </a:lnTo>
                  <a:lnTo>
                    <a:pt x="90" y="88"/>
                  </a:lnTo>
                  <a:lnTo>
                    <a:pt x="74" y="106"/>
                  </a:lnTo>
                  <a:lnTo>
                    <a:pt x="60" y="124"/>
                  </a:lnTo>
                  <a:lnTo>
                    <a:pt x="48" y="144"/>
                  </a:lnTo>
                  <a:lnTo>
                    <a:pt x="38" y="164"/>
                  </a:lnTo>
                  <a:lnTo>
                    <a:pt x="30" y="186"/>
                  </a:lnTo>
                  <a:lnTo>
                    <a:pt x="24" y="210"/>
                  </a:lnTo>
                  <a:lnTo>
                    <a:pt x="20" y="234"/>
                  </a:lnTo>
                  <a:lnTo>
                    <a:pt x="18" y="258"/>
                  </a:lnTo>
                  <a:lnTo>
                    <a:pt x="18" y="258"/>
                  </a:lnTo>
                  <a:lnTo>
                    <a:pt x="20" y="284"/>
                  </a:lnTo>
                  <a:lnTo>
                    <a:pt x="24" y="308"/>
                  </a:lnTo>
                  <a:lnTo>
                    <a:pt x="30" y="330"/>
                  </a:lnTo>
                  <a:lnTo>
                    <a:pt x="38" y="352"/>
                  </a:lnTo>
                  <a:lnTo>
                    <a:pt x="48" y="374"/>
                  </a:lnTo>
                  <a:lnTo>
                    <a:pt x="60" y="394"/>
                  </a:lnTo>
                  <a:lnTo>
                    <a:pt x="74" y="412"/>
                  </a:lnTo>
                  <a:lnTo>
                    <a:pt x="90" y="430"/>
                  </a:lnTo>
                  <a:lnTo>
                    <a:pt x="106" y="446"/>
                  </a:lnTo>
                  <a:lnTo>
                    <a:pt x="124" y="460"/>
                  </a:lnTo>
                  <a:lnTo>
                    <a:pt x="144" y="472"/>
                  </a:lnTo>
                  <a:lnTo>
                    <a:pt x="166" y="482"/>
                  </a:lnTo>
                  <a:lnTo>
                    <a:pt x="188" y="490"/>
                  </a:lnTo>
                  <a:lnTo>
                    <a:pt x="212" y="496"/>
                  </a:lnTo>
                  <a:lnTo>
                    <a:pt x="236" y="500"/>
                  </a:lnTo>
                  <a:lnTo>
                    <a:pt x="260" y="500"/>
                  </a:lnTo>
                  <a:lnTo>
                    <a:pt x="260" y="500"/>
                  </a:lnTo>
                  <a:lnTo>
                    <a:pt x="284" y="500"/>
                  </a:lnTo>
                  <a:lnTo>
                    <a:pt x="308" y="496"/>
                  </a:lnTo>
                  <a:lnTo>
                    <a:pt x="332" y="490"/>
                  </a:lnTo>
                  <a:lnTo>
                    <a:pt x="354" y="482"/>
                  </a:lnTo>
                  <a:lnTo>
                    <a:pt x="376" y="472"/>
                  </a:lnTo>
                  <a:lnTo>
                    <a:pt x="394" y="460"/>
                  </a:lnTo>
                  <a:lnTo>
                    <a:pt x="414" y="446"/>
                  </a:lnTo>
                  <a:lnTo>
                    <a:pt x="430" y="430"/>
                  </a:lnTo>
                  <a:lnTo>
                    <a:pt x="446" y="412"/>
                  </a:lnTo>
                  <a:lnTo>
                    <a:pt x="460" y="394"/>
                  </a:lnTo>
                  <a:lnTo>
                    <a:pt x="472" y="374"/>
                  </a:lnTo>
                  <a:lnTo>
                    <a:pt x="482" y="352"/>
                  </a:lnTo>
                  <a:lnTo>
                    <a:pt x="490" y="330"/>
                  </a:lnTo>
                  <a:lnTo>
                    <a:pt x="496" y="308"/>
                  </a:lnTo>
                  <a:lnTo>
                    <a:pt x="500" y="284"/>
                  </a:lnTo>
                  <a:lnTo>
                    <a:pt x="502" y="258"/>
                  </a:lnTo>
                  <a:lnTo>
                    <a:pt x="502" y="258"/>
                  </a:lnTo>
                  <a:lnTo>
                    <a:pt x="500" y="234"/>
                  </a:lnTo>
                  <a:lnTo>
                    <a:pt x="496" y="210"/>
                  </a:lnTo>
                  <a:lnTo>
                    <a:pt x="490" y="186"/>
                  </a:lnTo>
                  <a:lnTo>
                    <a:pt x="482" y="164"/>
                  </a:lnTo>
                  <a:lnTo>
                    <a:pt x="472" y="144"/>
                  </a:lnTo>
                  <a:lnTo>
                    <a:pt x="460" y="124"/>
                  </a:lnTo>
                  <a:lnTo>
                    <a:pt x="446" y="106"/>
                  </a:lnTo>
                  <a:lnTo>
                    <a:pt x="430" y="88"/>
                  </a:lnTo>
                  <a:lnTo>
                    <a:pt x="414" y="72"/>
                  </a:lnTo>
                  <a:lnTo>
                    <a:pt x="394" y="58"/>
                  </a:lnTo>
                  <a:lnTo>
                    <a:pt x="376" y="46"/>
                  </a:lnTo>
                  <a:lnTo>
                    <a:pt x="354" y="36"/>
                  </a:lnTo>
                  <a:lnTo>
                    <a:pt x="332" y="28"/>
                  </a:lnTo>
                  <a:lnTo>
                    <a:pt x="308" y="22"/>
                  </a:lnTo>
                  <a:lnTo>
                    <a:pt x="284" y="18"/>
                  </a:lnTo>
                  <a:lnTo>
                    <a:pt x="260" y="18"/>
                  </a:lnTo>
                  <a:lnTo>
                    <a:pt x="260" y="18"/>
                  </a:lnTo>
                  <a:close/>
                </a:path>
              </a:pathLst>
            </a:custGeom>
            <a:grpFill/>
            <a:ln w="9525">
              <a:solidFill>
                <a:srgbClr val="2C2C2D"/>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54" name="Freeform 25">
              <a:extLst>
                <a:ext uri="{FF2B5EF4-FFF2-40B4-BE49-F238E27FC236}">
                  <a16:creationId xmlns:a16="http://schemas.microsoft.com/office/drawing/2014/main" id="{5E72431A-5B19-7AA1-77C3-45CE316960DD}"/>
                </a:ext>
              </a:extLst>
            </p:cNvPr>
            <p:cNvSpPr>
              <a:spLocks/>
            </p:cNvSpPr>
            <p:nvPr/>
          </p:nvSpPr>
          <p:spPr bwMode="auto">
            <a:xfrm>
              <a:off x="5695950" y="3732213"/>
              <a:ext cx="539750" cy="539750"/>
            </a:xfrm>
            <a:custGeom>
              <a:avLst/>
              <a:gdLst>
                <a:gd name="T0" fmla="*/ 238 w 340"/>
                <a:gd name="T1" fmla="*/ 340 h 340"/>
                <a:gd name="T2" fmla="*/ 0 w 340"/>
                <a:gd name="T3" fmla="*/ 102 h 340"/>
                <a:gd name="T4" fmla="*/ 100 w 340"/>
                <a:gd name="T5" fmla="*/ 0 h 340"/>
                <a:gd name="T6" fmla="*/ 340 w 340"/>
                <a:gd name="T7" fmla="*/ 240 h 340"/>
                <a:gd name="T8" fmla="*/ 326 w 340"/>
                <a:gd name="T9" fmla="*/ 252 h 340"/>
                <a:gd name="T10" fmla="*/ 100 w 340"/>
                <a:gd name="T11" fmla="*/ 26 h 340"/>
                <a:gd name="T12" fmla="*/ 26 w 340"/>
                <a:gd name="T13" fmla="*/ 102 h 340"/>
                <a:gd name="T14" fmla="*/ 252 w 340"/>
                <a:gd name="T15" fmla="*/ 328 h 340"/>
                <a:gd name="T16" fmla="*/ 238 w 340"/>
                <a:gd name="T17"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 h="340">
                  <a:moveTo>
                    <a:pt x="238" y="340"/>
                  </a:moveTo>
                  <a:lnTo>
                    <a:pt x="0" y="102"/>
                  </a:lnTo>
                  <a:lnTo>
                    <a:pt x="100" y="0"/>
                  </a:lnTo>
                  <a:lnTo>
                    <a:pt x="340" y="240"/>
                  </a:lnTo>
                  <a:lnTo>
                    <a:pt x="326" y="252"/>
                  </a:lnTo>
                  <a:lnTo>
                    <a:pt x="100" y="26"/>
                  </a:lnTo>
                  <a:lnTo>
                    <a:pt x="26" y="102"/>
                  </a:lnTo>
                  <a:lnTo>
                    <a:pt x="252" y="328"/>
                  </a:lnTo>
                  <a:lnTo>
                    <a:pt x="238" y="340"/>
                  </a:lnTo>
                  <a:close/>
                </a:path>
              </a:pathLst>
            </a:custGeom>
            <a:grpFill/>
            <a:ln w="9525">
              <a:solidFill>
                <a:srgbClr val="2C2C2D"/>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55" name="Line 26">
              <a:extLst>
                <a:ext uri="{FF2B5EF4-FFF2-40B4-BE49-F238E27FC236}">
                  <a16:creationId xmlns:a16="http://schemas.microsoft.com/office/drawing/2014/main" id="{F8923833-9C00-ADE1-DF10-B25DED244E5D}"/>
                </a:ext>
              </a:extLst>
            </p:cNvPr>
            <p:cNvSpPr>
              <a:spLocks noChangeShapeType="1"/>
            </p:cNvSpPr>
            <p:nvPr/>
          </p:nvSpPr>
          <p:spPr bwMode="auto">
            <a:xfrm>
              <a:off x="6073775" y="4252913"/>
              <a:ext cx="0" cy="0"/>
            </a:xfrm>
            <a:prstGeom prst="line">
              <a:avLst/>
            </a:pr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56" name="Line 27">
              <a:extLst>
                <a:ext uri="{FF2B5EF4-FFF2-40B4-BE49-F238E27FC236}">
                  <a16:creationId xmlns:a16="http://schemas.microsoft.com/office/drawing/2014/main" id="{C80CB657-950C-4EFB-52DB-512BCA144463}"/>
                </a:ext>
              </a:extLst>
            </p:cNvPr>
            <p:cNvSpPr>
              <a:spLocks noChangeShapeType="1"/>
            </p:cNvSpPr>
            <p:nvPr/>
          </p:nvSpPr>
          <p:spPr bwMode="auto">
            <a:xfrm>
              <a:off x="6073775" y="4252913"/>
              <a:ext cx="0" cy="0"/>
            </a:xfrm>
            <a:prstGeom prst="line">
              <a:avLst/>
            </a:prstGeom>
            <a:grpFill/>
            <a:ln w="9525">
              <a:solidFill>
                <a:srgbClr val="2C2C2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57" name="Line 28">
              <a:extLst>
                <a:ext uri="{FF2B5EF4-FFF2-40B4-BE49-F238E27FC236}">
                  <a16:creationId xmlns:a16="http://schemas.microsoft.com/office/drawing/2014/main" id="{D34B498C-252B-8719-212A-98AC9DC549B6}"/>
                </a:ext>
              </a:extLst>
            </p:cNvPr>
            <p:cNvSpPr>
              <a:spLocks noChangeShapeType="1"/>
            </p:cNvSpPr>
            <p:nvPr/>
          </p:nvSpPr>
          <p:spPr bwMode="auto">
            <a:xfrm>
              <a:off x="6213475" y="4113213"/>
              <a:ext cx="0" cy="0"/>
            </a:xfrm>
            <a:prstGeom prst="line">
              <a:avLst/>
            </a:pr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58" name="Line 29">
              <a:extLst>
                <a:ext uri="{FF2B5EF4-FFF2-40B4-BE49-F238E27FC236}">
                  <a16:creationId xmlns:a16="http://schemas.microsoft.com/office/drawing/2014/main" id="{0E229265-2D78-350F-774F-B8C5B6031643}"/>
                </a:ext>
              </a:extLst>
            </p:cNvPr>
            <p:cNvSpPr>
              <a:spLocks noChangeShapeType="1"/>
            </p:cNvSpPr>
            <p:nvPr/>
          </p:nvSpPr>
          <p:spPr bwMode="auto">
            <a:xfrm>
              <a:off x="6213475" y="4113213"/>
              <a:ext cx="0" cy="0"/>
            </a:xfrm>
            <a:prstGeom prst="line">
              <a:avLst/>
            </a:prstGeom>
            <a:grpFill/>
            <a:ln w="9525">
              <a:solidFill>
                <a:srgbClr val="2C2C2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59" name="Line 30">
              <a:extLst>
                <a:ext uri="{FF2B5EF4-FFF2-40B4-BE49-F238E27FC236}">
                  <a16:creationId xmlns:a16="http://schemas.microsoft.com/office/drawing/2014/main" id="{BF61AFF0-898B-E025-204F-56B6B26C392E}"/>
                </a:ext>
              </a:extLst>
            </p:cNvPr>
            <p:cNvSpPr>
              <a:spLocks noChangeShapeType="1"/>
            </p:cNvSpPr>
            <p:nvPr/>
          </p:nvSpPr>
          <p:spPr bwMode="auto">
            <a:xfrm>
              <a:off x="6213475" y="4113213"/>
              <a:ext cx="0" cy="0"/>
            </a:xfrm>
            <a:prstGeom prst="line">
              <a:avLst/>
            </a:pr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60" name="Line 31">
              <a:extLst>
                <a:ext uri="{FF2B5EF4-FFF2-40B4-BE49-F238E27FC236}">
                  <a16:creationId xmlns:a16="http://schemas.microsoft.com/office/drawing/2014/main" id="{5CE9D145-450E-3A47-17EC-6AF2EA99C77A}"/>
                </a:ext>
              </a:extLst>
            </p:cNvPr>
            <p:cNvSpPr>
              <a:spLocks noChangeShapeType="1"/>
            </p:cNvSpPr>
            <p:nvPr/>
          </p:nvSpPr>
          <p:spPr bwMode="auto">
            <a:xfrm>
              <a:off x="6213475" y="4113213"/>
              <a:ext cx="0" cy="0"/>
            </a:xfrm>
            <a:prstGeom prst="line">
              <a:avLst/>
            </a:prstGeom>
            <a:grpFill/>
            <a:ln w="9525">
              <a:solidFill>
                <a:srgbClr val="2C2C2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61" name="Freeform 32">
              <a:extLst>
                <a:ext uri="{FF2B5EF4-FFF2-40B4-BE49-F238E27FC236}">
                  <a16:creationId xmlns:a16="http://schemas.microsoft.com/office/drawing/2014/main" id="{AB6547EE-06FA-6AC5-A0D4-3F759081CDF7}"/>
                </a:ext>
              </a:extLst>
            </p:cNvPr>
            <p:cNvSpPr>
              <a:spLocks/>
            </p:cNvSpPr>
            <p:nvPr/>
          </p:nvSpPr>
          <p:spPr bwMode="auto">
            <a:xfrm>
              <a:off x="6054725" y="4090988"/>
              <a:ext cx="180975" cy="180975"/>
            </a:xfrm>
            <a:custGeom>
              <a:avLst/>
              <a:gdLst>
                <a:gd name="T0" fmla="*/ 12 w 114"/>
                <a:gd name="T1" fmla="*/ 114 h 114"/>
                <a:gd name="T2" fmla="*/ 0 w 114"/>
                <a:gd name="T3" fmla="*/ 102 h 114"/>
                <a:gd name="T4" fmla="*/ 100 w 114"/>
                <a:gd name="T5" fmla="*/ 0 h 114"/>
                <a:gd name="T6" fmla="*/ 114 w 114"/>
                <a:gd name="T7" fmla="*/ 14 h 114"/>
                <a:gd name="T8" fmla="*/ 12 w 114"/>
                <a:gd name="T9" fmla="*/ 114 h 114"/>
              </a:gdLst>
              <a:ahLst/>
              <a:cxnLst>
                <a:cxn ang="0">
                  <a:pos x="T0" y="T1"/>
                </a:cxn>
                <a:cxn ang="0">
                  <a:pos x="T2" y="T3"/>
                </a:cxn>
                <a:cxn ang="0">
                  <a:pos x="T4" y="T5"/>
                </a:cxn>
                <a:cxn ang="0">
                  <a:pos x="T6" y="T7"/>
                </a:cxn>
                <a:cxn ang="0">
                  <a:pos x="T8" y="T9"/>
                </a:cxn>
              </a:cxnLst>
              <a:rect l="0" t="0" r="r" b="b"/>
              <a:pathLst>
                <a:path w="114" h="114">
                  <a:moveTo>
                    <a:pt x="12" y="114"/>
                  </a:moveTo>
                  <a:lnTo>
                    <a:pt x="0" y="102"/>
                  </a:lnTo>
                  <a:lnTo>
                    <a:pt x="100" y="0"/>
                  </a:lnTo>
                  <a:lnTo>
                    <a:pt x="114" y="14"/>
                  </a:lnTo>
                  <a:lnTo>
                    <a:pt x="12" y="114"/>
                  </a:lnTo>
                  <a:close/>
                </a:path>
              </a:pathLst>
            </a:custGeom>
            <a:grpFill/>
            <a:ln w="9525">
              <a:solidFill>
                <a:srgbClr val="2C2C2D"/>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62" name="Freeform 33">
              <a:extLst>
                <a:ext uri="{FF2B5EF4-FFF2-40B4-BE49-F238E27FC236}">
                  <a16:creationId xmlns:a16="http://schemas.microsoft.com/office/drawing/2014/main" id="{820E3CB2-F896-D04B-6422-D923869B7920}"/>
                </a:ext>
              </a:extLst>
            </p:cNvPr>
            <p:cNvSpPr>
              <a:spLocks/>
            </p:cNvSpPr>
            <p:nvPr/>
          </p:nvSpPr>
          <p:spPr bwMode="auto">
            <a:xfrm>
              <a:off x="5648325" y="3684588"/>
              <a:ext cx="180975" cy="180975"/>
            </a:xfrm>
            <a:custGeom>
              <a:avLst/>
              <a:gdLst>
                <a:gd name="T0" fmla="*/ 72 w 114"/>
                <a:gd name="T1" fmla="*/ 114 h 114"/>
                <a:gd name="T2" fmla="*/ 0 w 114"/>
                <a:gd name="T3" fmla="*/ 42 h 114"/>
                <a:gd name="T4" fmla="*/ 12 w 114"/>
                <a:gd name="T5" fmla="*/ 30 h 114"/>
                <a:gd name="T6" fmla="*/ 72 w 114"/>
                <a:gd name="T7" fmla="*/ 88 h 114"/>
                <a:gd name="T8" fmla="*/ 88 w 114"/>
                <a:gd name="T9" fmla="*/ 74 h 114"/>
                <a:gd name="T10" fmla="*/ 28 w 114"/>
                <a:gd name="T11" fmla="*/ 14 h 114"/>
                <a:gd name="T12" fmla="*/ 42 w 114"/>
                <a:gd name="T13" fmla="*/ 0 h 114"/>
                <a:gd name="T14" fmla="*/ 114 w 114"/>
                <a:gd name="T15" fmla="*/ 74 h 114"/>
                <a:gd name="T16" fmla="*/ 72 w 114"/>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14">
                  <a:moveTo>
                    <a:pt x="72" y="114"/>
                  </a:moveTo>
                  <a:lnTo>
                    <a:pt x="0" y="42"/>
                  </a:lnTo>
                  <a:lnTo>
                    <a:pt x="12" y="30"/>
                  </a:lnTo>
                  <a:lnTo>
                    <a:pt x="72" y="88"/>
                  </a:lnTo>
                  <a:lnTo>
                    <a:pt x="88" y="74"/>
                  </a:lnTo>
                  <a:lnTo>
                    <a:pt x="28" y="14"/>
                  </a:lnTo>
                  <a:lnTo>
                    <a:pt x="42" y="0"/>
                  </a:lnTo>
                  <a:lnTo>
                    <a:pt x="114" y="74"/>
                  </a:lnTo>
                  <a:lnTo>
                    <a:pt x="72" y="114"/>
                  </a:lnTo>
                  <a:close/>
                </a:path>
              </a:pathLst>
            </a:custGeom>
            <a:grpFill/>
            <a:ln w="9525">
              <a:solidFill>
                <a:srgbClr val="2C2C2D"/>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grpSp>
      <p:grpSp>
        <p:nvGrpSpPr>
          <p:cNvPr id="2179" name="Group 2178">
            <a:extLst>
              <a:ext uri="{FF2B5EF4-FFF2-40B4-BE49-F238E27FC236}">
                <a16:creationId xmlns:a16="http://schemas.microsoft.com/office/drawing/2014/main" id="{D1CB951A-B79B-03A8-6627-CD2820769E74}"/>
              </a:ext>
            </a:extLst>
          </p:cNvPr>
          <p:cNvGrpSpPr/>
          <p:nvPr/>
        </p:nvGrpSpPr>
        <p:grpSpPr>
          <a:xfrm>
            <a:off x="5157342" y="2420576"/>
            <a:ext cx="343716" cy="302127"/>
            <a:chOff x="3054350" y="1417638"/>
            <a:chExt cx="1130300" cy="1225550"/>
          </a:xfrm>
          <a:solidFill>
            <a:srgbClr val="2C2C2D"/>
          </a:solidFill>
        </p:grpSpPr>
        <p:sp>
          <p:nvSpPr>
            <p:cNvPr id="2235" name="Freeform 39">
              <a:extLst>
                <a:ext uri="{FF2B5EF4-FFF2-40B4-BE49-F238E27FC236}">
                  <a16:creationId xmlns:a16="http://schemas.microsoft.com/office/drawing/2014/main" id="{9A266C5A-8F1A-98B3-110F-54C2158640E2}"/>
                </a:ext>
              </a:extLst>
            </p:cNvPr>
            <p:cNvSpPr>
              <a:spLocks/>
            </p:cNvSpPr>
            <p:nvPr/>
          </p:nvSpPr>
          <p:spPr bwMode="auto">
            <a:xfrm>
              <a:off x="3054350" y="1417638"/>
              <a:ext cx="911225" cy="1225550"/>
            </a:xfrm>
            <a:custGeom>
              <a:avLst/>
              <a:gdLst>
                <a:gd name="T0" fmla="*/ 574 w 574"/>
                <a:gd name="T1" fmla="*/ 772 h 772"/>
                <a:gd name="T2" fmla="*/ 0 w 574"/>
                <a:gd name="T3" fmla="*/ 772 h 772"/>
                <a:gd name="T4" fmla="*/ 0 w 574"/>
                <a:gd name="T5" fmla="*/ 48 h 772"/>
                <a:gd name="T6" fmla="*/ 230 w 574"/>
                <a:gd name="T7" fmla="*/ 48 h 772"/>
                <a:gd name="T8" fmla="*/ 230 w 574"/>
                <a:gd name="T9" fmla="*/ 48 h 772"/>
                <a:gd name="T10" fmla="*/ 232 w 574"/>
                <a:gd name="T11" fmla="*/ 38 h 772"/>
                <a:gd name="T12" fmla="*/ 236 w 574"/>
                <a:gd name="T13" fmla="*/ 28 h 772"/>
                <a:gd name="T14" fmla="*/ 242 w 574"/>
                <a:gd name="T15" fmla="*/ 20 h 772"/>
                <a:gd name="T16" fmla="*/ 250 w 574"/>
                <a:gd name="T17" fmla="*/ 12 h 772"/>
                <a:gd name="T18" fmla="*/ 258 w 574"/>
                <a:gd name="T19" fmla="*/ 8 h 772"/>
                <a:gd name="T20" fmla="*/ 266 w 574"/>
                <a:gd name="T21" fmla="*/ 2 h 772"/>
                <a:gd name="T22" fmla="*/ 276 w 574"/>
                <a:gd name="T23" fmla="*/ 0 h 772"/>
                <a:gd name="T24" fmla="*/ 286 w 574"/>
                <a:gd name="T25" fmla="*/ 0 h 772"/>
                <a:gd name="T26" fmla="*/ 286 w 574"/>
                <a:gd name="T27" fmla="*/ 0 h 772"/>
                <a:gd name="T28" fmla="*/ 298 w 574"/>
                <a:gd name="T29" fmla="*/ 0 h 772"/>
                <a:gd name="T30" fmla="*/ 306 w 574"/>
                <a:gd name="T31" fmla="*/ 2 h 772"/>
                <a:gd name="T32" fmla="*/ 316 w 574"/>
                <a:gd name="T33" fmla="*/ 8 h 772"/>
                <a:gd name="T34" fmla="*/ 324 w 574"/>
                <a:gd name="T35" fmla="*/ 12 h 772"/>
                <a:gd name="T36" fmla="*/ 330 w 574"/>
                <a:gd name="T37" fmla="*/ 20 h 772"/>
                <a:gd name="T38" fmla="*/ 336 w 574"/>
                <a:gd name="T39" fmla="*/ 28 h 772"/>
                <a:gd name="T40" fmla="*/ 340 w 574"/>
                <a:gd name="T41" fmla="*/ 38 h 772"/>
                <a:gd name="T42" fmla="*/ 344 w 574"/>
                <a:gd name="T43" fmla="*/ 48 h 772"/>
                <a:gd name="T44" fmla="*/ 574 w 574"/>
                <a:gd name="T45" fmla="*/ 48 h 772"/>
                <a:gd name="T46" fmla="*/ 574 w 574"/>
                <a:gd name="T47" fmla="*/ 246 h 772"/>
                <a:gd name="T48" fmla="*/ 556 w 574"/>
                <a:gd name="T49" fmla="*/ 246 h 772"/>
                <a:gd name="T50" fmla="*/ 556 w 574"/>
                <a:gd name="T51" fmla="*/ 66 h 772"/>
                <a:gd name="T52" fmla="*/ 326 w 574"/>
                <a:gd name="T53" fmla="*/ 66 h 772"/>
                <a:gd name="T54" fmla="*/ 326 w 574"/>
                <a:gd name="T55" fmla="*/ 56 h 772"/>
                <a:gd name="T56" fmla="*/ 326 w 574"/>
                <a:gd name="T57" fmla="*/ 56 h 772"/>
                <a:gd name="T58" fmla="*/ 326 w 574"/>
                <a:gd name="T59" fmla="*/ 48 h 772"/>
                <a:gd name="T60" fmla="*/ 322 w 574"/>
                <a:gd name="T61" fmla="*/ 40 h 772"/>
                <a:gd name="T62" fmla="*/ 320 w 574"/>
                <a:gd name="T63" fmla="*/ 34 h 772"/>
                <a:gd name="T64" fmla="*/ 314 w 574"/>
                <a:gd name="T65" fmla="*/ 28 h 772"/>
                <a:gd name="T66" fmla="*/ 308 w 574"/>
                <a:gd name="T67" fmla="*/ 24 h 772"/>
                <a:gd name="T68" fmla="*/ 302 w 574"/>
                <a:gd name="T69" fmla="*/ 20 h 772"/>
                <a:gd name="T70" fmla="*/ 294 w 574"/>
                <a:gd name="T71" fmla="*/ 18 h 772"/>
                <a:gd name="T72" fmla="*/ 286 w 574"/>
                <a:gd name="T73" fmla="*/ 18 h 772"/>
                <a:gd name="T74" fmla="*/ 286 w 574"/>
                <a:gd name="T75" fmla="*/ 18 h 772"/>
                <a:gd name="T76" fmla="*/ 278 w 574"/>
                <a:gd name="T77" fmla="*/ 18 h 772"/>
                <a:gd name="T78" fmla="*/ 272 w 574"/>
                <a:gd name="T79" fmla="*/ 20 h 772"/>
                <a:gd name="T80" fmla="*/ 264 w 574"/>
                <a:gd name="T81" fmla="*/ 24 h 772"/>
                <a:gd name="T82" fmla="*/ 258 w 574"/>
                <a:gd name="T83" fmla="*/ 28 h 772"/>
                <a:gd name="T84" fmla="*/ 254 w 574"/>
                <a:gd name="T85" fmla="*/ 34 h 772"/>
                <a:gd name="T86" fmla="*/ 250 w 574"/>
                <a:gd name="T87" fmla="*/ 40 h 772"/>
                <a:gd name="T88" fmla="*/ 248 w 574"/>
                <a:gd name="T89" fmla="*/ 48 h 772"/>
                <a:gd name="T90" fmla="*/ 248 w 574"/>
                <a:gd name="T91" fmla="*/ 56 h 772"/>
                <a:gd name="T92" fmla="*/ 248 w 574"/>
                <a:gd name="T93" fmla="*/ 66 h 772"/>
                <a:gd name="T94" fmla="*/ 18 w 574"/>
                <a:gd name="T95" fmla="*/ 66 h 772"/>
                <a:gd name="T96" fmla="*/ 18 w 574"/>
                <a:gd name="T97" fmla="*/ 754 h 772"/>
                <a:gd name="T98" fmla="*/ 556 w 574"/>
                <a:gd name="T99" fmla="*/ 754 h 772"/>
                <a:gd name="T100" fmla="*/ 556 w 574"/>
                <a:gd name="T101" fmla="*/ 644 h 772"/>
                <a:gd name="T102" fmla="*/ 574 w 574"/>
                <a:gd name="T103" fmla="*/ 644 h 772"/>
                <a:gd name="T104" fmla="*/ 574 w 574"/>
                <a:gd name="T105"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772">
                  <a:moveTo>
                    <a:pt x="574" y="772"/>
                  </a:moveTo>
                  <a:lnTo>
                    <a:pt x="0" y="772"/>
                  </a:lnTo>
                  <a:lnTo>
                    <a:pt x="0" y="48"/>
                  </a:lnTo>
                  <a:lnTo>
                    <a:pt x="230" y="48"/>
                  </a:lnTo>
                  <a:lnTo>
                    <a:pt x="230" y="48"/>
                  </a:lnTo>
                  <a:lnTo>
                    <a:pt x="232" y="38"/>
                  </a:lnTo>
                  <a:lnTo>
                    <a:pt x="236" y="28"/>
                  </a:lnTo>
                  <a:lnTo>
                    <a:pt x="242" y="20"/>
                  </a:lnTo>
                  <a:lnTo>
                    <a:pt x="250" y="12"/>
                  </a:lnTo>
                  <a:lnTo>
                    <a:pt x="258" y="8"/>
                  </a:lnTo>
                  <a:lnTo>
                    <a:pt x="266" y="2"/>
                  </a:lnTo>
                  <a:lnTo>
                    <a:pt x="276" y="0"/>
                  </a:lnTo>
                  <a:lnTo>
                    <a:pt x="286" y="0"/>
                  </a:lnTo>
                  <a:lnTo>
                    <a:pt x="286" y="0"/>
                  </a:lnTo>
                  <a:lnTo>
                    <a:pt x="298" y="0"/>
                  </a:lnTo>
                  <a:lnTo>
                    <a:pt x="306" y="2"/>
                  </a:lnTo>
                  <a:lnTo>
                    <a:pt x="316" y="8"/>
                  </a:lnTo>
                  <a:lnTo>
                    <a:pt x="324" y="12"/>
                  </a:lnTo>
                  <a:lnTo>
                    <a:pt x="330" y="20"/>
                  </a:lnTo>
                  <a:lnTo>
                    <a:pt x="336" y="28"/>
                  </a:lnTo>
                  <a:lnTo>
                    <a:pt x="340" y="38"/>
                  </a:lnTo>
                  <a:lnTo>
                    <a:pt x="344" y="48"/>
                  </a:lnTo>
                  <a:lnTo>
                    <a:pt x="574" y="48"/>
                  </a:lnTo>
                  <a:lnTo>
                    <a:pt x="574" y="246"/>
                  </a:lnTo>
                  <a:lnTo>
                    <a:pt x="556" y="246"/>
                  </a:lnTo>
                  <a:lnTo>
                    <a:pt x="556" y="66"/>
                  </a:lnTo>
                  <a:lnTo>
                    <a:pt x="326" y="66"/>
                  </a:lnTo>
                  <a:lnTo>
                    <a:pt x="326" y="56"/>
                  </a:lnTo>
                  <a:lnTo>
                    <a:pt x="326" y="56"/>
                  </a:lnTo>
                  <a:lnTo>
                    <a:pt x="326" y="48"/>
                  </a:lnTo>
                  <a:lnTo>
                    <a:pt x="322" y="40"/>
                  </a:lnTo>
                  <a:lnTo>
                    <a:pt x="320" y="34"/>
                  </a:lnTo>
                  <a:lnTo>
                    <a:pt x="314" y="28"/>
                  </a:lnTo>
                  <a:lnTo>
                    <a:pt x="308" y="24"/>
                  </a:lnTo>
                  <a:lnTo>
                    <a:pt x="302" y="20"/>
                  </a:lnTo>
                  <a:lnTo>
                    <a:pt x="294" y="18"/>
                  </a:lnTo>
                  <a:lnTo>
                    <a:pt x="286" y="18"/>
                  </a:lnTo>
                  <a:lnTo>
                    <a:pt x="286" y="18"/>
                  </a:lnTo>
                  <a:lnTo>
                    <a:pt x="278" y="18"/>
                  </a:lnTo>
                  <a:lnTo>
                    <a:pt x="272" y="20"/>
                  </a:lnTo>
                  <a:lnTo>
                    <a:pt x="264" y="24"/>
                  </a:lnTo>
                  <a:lnTo>
                    <a:pt x="258" y="28"/>
                  </a:lnTo>
                  <a:lnTo>
                    <a:pt x="254" y="34"/>
                  </a:lnTo>
                  <a:lnTo>
                    <a:pt x="250" y="40"/>
                  </a:lnTo>
                  <a:lnTo>
                    <a:pt x="248" y="48"/>
                  </a:lnTo>
                  <a:lnTo>
                    <a:pt x="248" y="56"/>
                  </a:lnTo>
                  <a:lnTo>
                    <a:pt x="248" y="66"/>
                  </a:lnTo>
                  <a:lnTo>
                    <a:pt x="18" y="66"/>
                  </a:lnTo>
                  <a:lnTo>
                    <a:pt x="18" y="754"/>
                  </a:lnTo>
                  <a:lnTo>
                    <a:pt x="556" y="754"/>
                  </a:lnTo>
                  <a:lnTo>
                    <a:pt x="556" y="644"/>
                  </a:lnTo>
                  <a:lnTo>
                    <a:pt x="574" y="644"/>
                  </a:lnTo>
                  <a:lnTo>
                    <a:pt x="574" y="772"/>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36" name="Freeform 40">
              <a:extLst>
                <a:ext uri="{FF2B5EF4-FFF2-40B4-BE49-F238E27FC236}">
                  <a16:creationId xmlns:a16="http://schemas.microsoft.com/office/drawing/2014/main" id="{90BD9108-AC97-55C6-F2A1-7ED72DAC2710}"/>
                </a:ext>
              </a:extLst>
            </p:cNvPr>
            <p:cNvSpPr>
              <a:spLocks/>
            </p:cNvSpPr>
            <p:nvPr/>
          </p:nvSpPr>
          <p:spPr bwMode="auto">
            <a:xfrm>
              <a:off x="3321050" y="1493838"/>
              <a:ext cx="374650" cy="203200"/>
            </a:xfrm>
            <a:custGeom>
              <a:avLst/>
              <a:gdLst>
                <a:gd name="T0" fmla="*/ 236 w 236"/>
                <a:gd name="T1" fmla="*/ 128 h 128"/>
                <a:gd name="T2" fmla="*/ 0 w 236"/>
                <a:gd name="T3" fmla="*/ 128 h 128"/>
                <a:gd name="T4" fmla="*/ 0 w 236"/>
                <a:gd name="T5" fmla="*/ 0 h 128"/>
                <a:gd name="T6" fmla="*/ 18 w 236"/>
                <a:gd name="T7" fmla="*/ 0 h 128"/>
                <a:gd name="T8" fmla="*/ 18 w 236"/>
                <a:gd name="T9" fmla="*/ 110 h 128"/>
                <a:gd name="T10" fmla="*/ 218 w 236"/>
                <a:gd name="T11" fmla="*/ 110 h 128"/>
                <a:gd name="T12" fmla="*/ 218 w 236"/>
                <a:gd name="T13" fmla="*/ 0 h 128"/>
                <a:gd name="T14" fmla="*/ 236 w 236"/>
                <a:gd name="T15" fmla="*/ 0 h 128"/>
                <a:gd name="T16" fmla="*/ 236 w 23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128">
                  <a:moveTo>
                    <a:pt x="236" y="128"/>
                  </a:moveTo>
                  <a:lnTo>
                    <a:pt x="0" y="128"/>
                  </a:lnTo>
                  <a:lnTo>
                    <a:pt x="0" y="0"/>
                  </a:lnTo>
                  <a:lnTo>
                    <a:pt x="18" y="0"/>
                  </a:lnTo>
                  <a:lnTo>
                    <a:pt x="18" y="110"/>
                  </a:lnTo>
                  <a:lnTo>
                    <a:pt x="218" y="110"/>
                  </a:lnTo>
                  <a:lnTo>
                    <a:pt x="218" y="0"/>
                  </a:lnTo>
                  <a:lnTo>
                    <a:pt x="236" y="0"/>
                  </a:lnTo>
                  <a:lnTo>
                    <a:pt x="236" y="128"/>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37" name="Rectangle 41">
              <a:extLst>
                <a:ext uri="{FF2B5EF4-FFF2-40B4-BE49-F238E27FC236}">
                  <a16:creationId xmlns:a16="http://schemas.microsoft.com/office/drawing/2014/main" id="{6016423A-7732-5591-46E4-55CF5E163516}"/>
                </a:ext>
              </a:extLst>
            </p:cNvPr>
            <p:cNvSpPr>
              <a:spLocks noChangeArrowheads="1"/>
            </p:cNvSpPr>
            <p:nvPr/>
          </p:nvSpPr>
          <p:spPr bwMode="auto">
            <a:xfrm>
              <a:off x="3409950" y="1579563"/>
              <a:ext cx="200025" cy="28575"/>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38" name="Freeform 42">
              <a:extLst>
                <a:ext uri="{FF2B5EF4-FFF2-40B4-BE49-F238E27FC236}">
                  <a16:creationId xmlns:a16="http://schemas.microsoft.com/office/drawing/2014/main" id="{150EF6AB-037E-E961-052C-FD50809B5B0F}"/>
                </a:ext>
              </a:extLst>
            </p:cNvPr>
            <p:cNvSpPr>
              <a:spLocks noEditPoints="1"/>
            </p:cNvSpPr>
            <p:nvPr/>
          </p:nvSpPr>
          <p:spPr bwMode="auto">
            <a:xfrm>
              <a:off x="3244850" y="1779588"/>
              <a:ext cx="127000" cy="127000"/>
            </a:xfrm>
            <a:custGeom>
              <a:avLst/>
              <a:gdLst>
                <a:gd name="T0" fmla="*/ 80 w 80"/>
                <a:gd name="T1" fmla="*/ 80 h 80"/>
                <a:gd name="T2" fmla="*/ 0 w 80"/>
                <a:gd name="T3" fmla="*/ 80 h 80"/>
                <a:gd name="T4" fmla="*/ 0 w 80"/>
                <a:gd name="T5" fmla="*/ 0 h 80"/>
                <a:gd name="T6" fmla="*/ 80 w 80"/>
                <a:gd name="T7" fmla="*/ 0 h 80"/>
                <a:gd name="T8" fmla="*/ 80 w 80"/>
                <a:gd name="T9" fmla="*/ 80 h 80"/>
                <a:gd name="T10" fmla="*/ 18 w 80"/>
                <a:gd name="T11" fmla="*/ 62 h 80"/>
                <a:gd name="T12" fmla="*/ 62 w 80"/>
                <a:gd name="T13" fmla="*/ 62 h 80"/>
                <a:gd name="T14" fmla="*/ 62 w 80"/>
                <a:gd name="T15" fmla="*/ 18 h 80"/>
                <a:gd name="T16" fmla="*/ 18 w 80"/>
                <a:gd name="T17" fmla="*/ 18 h 80"/>
                <a:gd name="T18" fmla="*/ 18 w 80"/>
                <a:gd name="T19"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80" y="80"/>
                  </a:moveTo>
                  <a:lnTo>
                    <a:pt x="0" y="80"/>
                  </a:lnTo>
                  <a:lnTo>
                    <a:pt x="0" y="0"/>
                  </a:lnTo>
                  <a:lnTo>
                    <a:pt x="80" y="0"/>
                  </a:lnTo>
                  <a:lnTo>
                    <a:pt x="80" y="80"/>
                  </a:lnTo>
                  <a:close/>
                  <a:moveTo>
                    <a:pt x="18" y="62"/>
                  </a:moveTo>
                  <a:lnTo>
                    <a:pt x="62" y="62"/>
                  </a:lnTo>
                  <a:lnTo>
                    <a:pt x="62" y="18"/>
                  </a:lnTo>
                  <a:lnTo>
                    <a:pt x="18" y="18"/>
                  </a:lnTo>
                  <a:lnTo>
                    <a:pt x="18" y="62"/>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39" name="Freeform 43">
              <a:extLst>
                <a:ext uri="{FF2B5EF4-FFF2-40B4-BE49-F238E27FC236}">
                  <a16:creationId xmlns:a16="http://schemas.microsoft.com/office/drawing/2014/main" id="{9F0BD10D-91B1-6928-DC3D-002E35A02C7C}"/>
                </a:ext>
              </a:extLst>
            </p:cNvPr>
            <p:cNvSpPr>
              <a:spLocks noEditPoints="1"/>
            </p:cNvSpPr>
            <p:nvPr/>
          </p:nvSpPr>
          <p:spPr bwMode="auto">
            <a:xfrm>
              <a:off x="3244850" y="1966913"/>
              <a:ext cx="127000" cy="127000"/>
            </a:xfrm>
            <a:custGeom>
              <a:avLst/>
              <a:gdLst>
                <a:gd name="T0" fmla="*/ 80 w 80"/>
                <a:gd name="T1" fmla="*/ 80 h 80"/>
                <a:gd name="T2" fmla="*/ 0 w 80"/>
                <a:gd name="T3" fmla="*/ 80 h 80"/>
                <a:gd name="T4" fmla="*/ 0 w 80"/>
                <a:gd name="T5" fmla="*/ 0 h 80"/>
                <a:gd name="T6" fmla="*/ 80 w 80"/>
                <a:gd name="T7" fmla="*/ 0 h 80"/>
                <a:gd name="T8" fmla="*/ 80 w 80"/>
                <a:gd name="T9" fmla="*/ 80 h 80"/>
                <a:gd name="T10" fmla="*/ 18 w 80"/>
                <a:gd name="T11" fmla="*/ 62 h 80"/>
                <a:gd name="T12" fmla="*/ 62 w 80"/>
                <a:gd name="T13" fmla="*/ 62 h 80"/>
                <a:gd name="T14" fmla="*/ 62 w 80"/>
                <a:gd name="T15" fmla="*/ 18 h 80"/>
                <a:gd name="T16" fmla="*/ 18 w 80"/>
                <a:gd name="T17" fmla="*/ 18 h 80"/>
                <a:gd name="T18" fmla="*/ 18 w 80"/>
                <a:gd name="T19"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80" y="80"/>
                  </a:moveTo>
                  <a:lnTo>
                    <a:pt x="0" y="80"/>
                  </a:lnTo>
                  <a:lnTo>
                    <a:pt x="0" y="0"/>
                  </a:lnTo>
                  <a:lnTo>
                    <a:pt x="80" y="0"/>
                  </a:lnTo>
                  <a:lnTo>
                    <a:pt x="80" y="80"/>
                  </a:lnTo>
                  <a:close/>
                  <a:moveTo>
                    <a:pt x="18" y="62"/>
                  </a:moveTo>
                  <a:lnTo>
                    <a:pt x="62" y="62"/>
                  </a:lnTo>
                  <a:lnTo>
                    <a:pt x="62" y="18"/>
                  </a:lnTo>
                  <a:lnTo>
                    <a:pt x="18" y="18"/>
                  </a:lnTo>
                  <a:lnTo>
                    <a:pt x="18" y="62"/>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40" name="Freeform 44">
              <a:extLst>
                <a:ext uri="{FF2B5EF4-FFF2-40B4-BE49-F238E27FC236}">
                  <a16:creationId xmlns:a16="http://schemas.microsoft.com/office/drawing/2014/main" id="{99A9DAE3-E9C5-2798-C5FA-5F33390A2E4F}"/>
                </a:ext>
              </a:extLst>
            </p:cNvPr>
            <p:cNvSpPr>
              <a:spLocks noEditPoints="1"/>
            </p:cNvSpPr>
            <p:nvPr/>
          </p:nvSpPr>
          <p:spPr bwMode="auto">
            <a:xfrm>
              <a:off x="3244850" y="2151063"/>
              <a:ext cx="127000" cy="130175"/>
            </a:xfrm>
            <a:custGeom>
              <a:avLst/>
              <a:gdLst>
                <a:gd name="T0" fmla="*/ 80 w 80"/>
                <a:gd name="T1" fmla="*/ 82 h 82"/>
                <a:gd name="T2" fmla="*/ 0 w 80"/>
                <a:gd name="T3" fmla="*/ 82 h 82"/>
                <a:gd name="T4" fmla="*/ 0 w 80"/>
                <a:gd name="T5" fmla="*/ 0 h 82"/>
                <a:gd name="T6" fmla="*/ 80 w 80"/>
                <a:gd name="T7" fmla="*/ 0 h 82"/>
                <a:gd name="T8" fmla="*/ 80 w 80"/>
                <a:gd name="T9" fmla="*/ 82 h 82"/>
                <a:gd name="T10" fmla="*/ 18 w 80"/>
                <a:gd name="T11" fmla="*/ 64 h 82"/>
                <a:gd name="T12" fmla="*/ 62 w 80"/>
                <a:gd name="T13" fmla="*/ 64 h 82"/>
                <a:gd name="T14" fmla="*/ 62 w 80"/>
                <a:gd name="T15" fmla="*/ 18 h 82"/>
                <a:gd name="T16" fmla="*/ 18 w 80"/>
                <a:gd name="T17" fmla="*/ 18 h 82"/>
                <a:gd name="T18" fmla="*/ 18 w 80"/>
                <a:gd name="T19" fmla="*/ 6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2">
                  <a:moveTo>
                    <a:pt x="80" y="82"/>
                  </a:moveTo>
                  <a:lnTo>
                    <a:pt x="0" y="82"/>
                  </a:lnTo>
                  <a:lnTo>
                    <a:pt x="0" y="0"/>
                  </a:lnTo>
                  <a:lnTo>
                    <a:pt x="80" y="0"/>
                  </a:lnTo>
                  <a:lnTo>
                    <a:pt x="80" y="82"/>
                  </a:lnTo>
                  <a:close/>
                  <a:moveTo>
                    <a:pt x="18" y="64"/>
                  </a:moveTo>
                  <a:lnTo>
                    <a:pt x="62" y="64"/>
                  </a:lnTo>
                  <a:lnTo>
                    <a:pt x="62" y="18"/>
                  </a:lnTo>
                  <a:lnTo>
                    <a:pt x="18" y="18"/>
                  </a:lnTo>
                  <a:lnTo>
                    <a:pt x="18" y="64"/>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41" name="Rectangle 45">
              <a:extLst>
                <a:ext uri="{FF2B5EF4-FFF2-40B4-BE49-F238E27FC236}">
                  <a16:creationId xmlns:a16="http://schemas.microsoft.com/office/drawing/2014/main" id="{36B26E9E-55AF-BD16-D667-2A2CF6F47071}"/>
                </a:ext>
              </a:extLst>
            </p:cNvPr>
            <p:cNvSpPr>
              <a:spLocks noChangeArrowheads="1"/>
            </p:cNvSpPr>
            <p:nvPr/>
          </p:nvSpPr>
          <p:spPr bwMode="auto">
            <a:xfrm>
              <a:off x="3457575" y="1827213"/>
              <a:ext cx="317500" cy="28575"/>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42" name="Rectangle 46">
              <a:extLst>
                <a:ext uri="{FF2B5EF4-FFF2-40B4-BE49-F238E27FC236}">
                  <a16:creationId xmlns:a16="http://schemas.microsoft.com/office/drawing/2014/main" id="{6DE0CB12-0BAA-7074-5E84-DEB74F6932A0}"/>
                </a:ext>
              </a:extLst>
            </p:cNvPr>
            <p:cNvSpPr>
              <a:spLocks noChangeArrowheads="1"/>
            </p:cNvSpPr>
            <p:nvPr/>
          </p:nvSpPr>
          <p:spPr bwMode="auto">
            <a:xfrm>
              <a:off x="3457575" y="2014538"/>
              <a:ext cx="171450" cy="28575"/>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43" name="Rectangle 47">
              <a:extLst>
                <a:ext uri="{FF2B5EF4-FFF2-40B4-BE49-F238E27FC236}">
                  <a16:creationId xmlns:a16="http://schemas.microsoft.com/office/drawing/2014/main" id="{ADCC62A4-54B8-2CBA-41C7-D3A517E367C1}"/>
                </a:ext>
              </a:extLst>
            </p:cNvPr>
            <p:cNvSpPr>
              <a:spLocks noChangeArrowheads="1"/>
            </p:cNvSpPr>
            <p:nvPr/>
          </p:nvSpPr>
          <p:spPr bwMode="auto">
            <a:xfrm>
              <a:off x="3457575" y="2201863"/>
              <a:ext cx="171450" cy="28575"/>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44" name="Freeform 48">
              <a:extLst>
                <a:ext uri="{FF2B5EF4-FFF2-40B4-BE49-F238E27FC236}">
                  <a16:creationId xmlns:a16="http://schemas.microsoft.com/office/drawing/2014/main" id="{EB99C8D1-A719-4FAE-9449-D9474719594B}"/>
                </a:ext>
              </a:extLst>
            </p:cNvPr>
            <p:cNvSpPr>
              <a:spLocks noEditPoints="1"/>
            </p:cNvSpPr>
            <p:nvPr/>
          </p:nvSpPr>
          <p:spPr bwMode="auto">
            <a:xfrm>
              <a:off x="3244850" y="2338388"/>
              <a:ext cx="127000" cy="130175"/>
            </a:xfrm>
            <a:custGeom>
              <a:avLst/>
              <a:gdLst>
                <a:gd name="T0" fmla="*/ 80 w 80"/>
                <a:gd name="T1" fmla="*/ 82 h 82"/>
                <a:gd name="T2" fmla="*/ 0 w 80"/>
                <a:gd name="T3" fmla="*/ 82 h 82"/>
                <a:gd name="T4" fmla="*/ 0 w 80"/>
                <a:gd name="T5" fmla="*/ 0 h 82"/>
                <a:gd name="T6" fmla="*/ 80 w 80"/>
                <a:gd name="T7" fmla="*/ 0 h 82"/>
                <a:gd name="T8" fmla="*/ 80 w 80"/>
                <a:gd name="T9" fmla="*/ 82 h 82"/>
                <a:gd name="T10" fmla="*/ 18 w 80"/>
                <a:gd name="T11" fmla="*/ 64 h 82"/>
                <a:gd name="T12" fmla="*/ 62 w 80"/>
                <a:gd name="T13" fmla="*/ 64 h 82"/>
                <a:gd name="T14" fmla="*/ 62 w 80"/>
                <a:gd name="T15" fmla="*/ 18 h 82"/>
                <a:gd name="T16" fmla="*/ 18 w 80"/>
                <a:gd name="T17" fmla="*/ 18 h 82"/>
                <a:gd name="T18" fmla="*/ 18 w 80"/>
                <a:gd name="T19" fmla="*/ 6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2">
                  <a:moveTo>
                    <a:pt x="80" y="82"/>
                  </a:moveTo>
                  <a:lnTo>
                    <a:pt x="0" y="82"/>
                  </a:lnTo>
                  <a:lnTo>
                    <a:pt x="0" y="0"/>
                  </a:lnTo>
                  <a:lnTo>
                    <a:pt x="80" y="0"/>
                  </a:lnTo>
                  <a:lnTo>
                    <a:pt x="80" y="82"/>
                  </a:lnTo>
                  <a:close/>
                  <a:moveTo>
                    <a:pt x="18" y="64"/>
                  </a:moveTo>
                  <a:lnTo>
                    <a:pt x="62" y="64"/>
                  </a:lnTo>
                  <a:lnTo>
                    <a:pt x="62" y="18"/>
                  </a:lnTo>
                  <a:lnTo>
                    <a:pt x="18" y="18"/>
                  </a:lnTo>
                  <a:lnTo>
                    <a:pt x="18" y="64"/>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45" name="Rectangle 49">
              <a:extLst>
                <a:ext uri="{FF2B5EF4-FFF2-40B4-BE49-F238E27FC236}">
                  <a16:creationId xmlns:a16="http://schemas.microsoft.com/office/drawing/2014/main" id="{0749C56B-D09B-ED5E-44EE-491A5861217D}"/>
                </a:ext>
              </a:extLst>
            </p:cNvPr>
            <p:cNvSpPr>
              <a:spLocks noChangeArrowheads="1"/>
            </p:cNvSpPr>
            <p:nvPr/>
          </p:nvSpPr>
          <p:spPr bwMode="auto">
            <a:xfrm>
              <a:off x="3457575" y="2389188"/>
              <a:ext cx="317500" cy="28575"/>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46" name="Freeform 50">
              <a:extLst>
                <a:ext uri="{FF2B5EF4-FFF2-40B4-BE49-F238E27FC236}">
                  <a16:creationId xmlns:a16="http://schemas.microsoft.com/office/drawing/2014/main" id="{567CC626-F8D5-5405-720F-1E25CA1EB137}"/>
                </a:ext>
              </a:extLst>
            </p:cNvPr>
            <p:cNvSpPr>
              <a:spLocks noEditPoints="1"/>
            </p:cNvSpPr>
            <p:nvPr/>
          </p:nvSpPr>
          <p:spPr bwMode="auto">
            <a:xfrm>
              <a:off x="3651250" y="1862138"/>
              <a:ext cx="533400" cy="530225"/>
            </a:xfrm>
            <a:custGeom>
              <a:avLst/>
              <a:gdLst>
                <a:gd name="T0" fmla="*/ 150 w 336"/>
                <a:gd name="T1" fmla="*/ 334 h 334"/>
                <a:gd name="T2" fmla="*/ 102 w 336"/>
                <a:gd name="T3" fmla="*/ 320 h 334"/>
                <a:gd name="T4" fmla="*/ 62 w 336"/>
                <a:gd name="T5" fmla="*/ 296 h 334"/>
                <a:gd name="T6" fmla="*/ 30 w 336"/>
                <a:gd name="T7" fmla="*/ 260 h 334"/>
                <a:gd name="T8" fmla="*/ 8 w 336"/>
                <a:gd name="T9" fmla="*/ 216 h 334"/>
                <a:gd name="T10" fmla="*/ 0 w 336"/>
                <a:gd name="T11" fmla="*/ 166 h 334"/>
                <a:gd name="T12" fmla="*/ 4 w 336"/>
                <a:gd name="T13" fmla="*/ 132 h 334"/>
                <a:gd name="T14" fmla="*/ 20 w 336"/>
                <a:gd name="T15" fmla="*/ 86 h 334"/>
                <a:gd name="T16" fmla="*/ 50 w 336"/>
                <a:gd name="T17" fmla="*/ 48 h 334"/>
                <a:gd name="T18" fmla="*/ 88 w 336"/>
                <a:gd name="T19" fmla="*/ 20 h 334"/>
                <a:gd name="T20" fmla="*/ 134 w 336"/>
                <a:gd name="T21" fmla="*/ 2 h 334"/>
                <a:gd name="T22" fmla="*/ 168 w 336"/>
                <a:gd name="T23" fmla="*/ 0 h 334"/>
                <a:gd name="T24" fmla="*/ 218 w 336"/>
                <a:gd name="T25" fmla="*/ 6 h 334"/>
                <a:gd name="T26" fmla="*/ 262 w 336"/>
                <a:gd name="T27" fmla="*/ 28 h 334"/>
                <a:gd name="T28" fmla="*/ 296 w 336"/>
                <a:gd name="T29" fmla="*/ 60 h 334"/>
                <a:gd name="T30" fmla="*/ 322 w 336"/>
                <a:gd name="T31" fmla="*/ 102 h 334"/>
                <a:gd name="T32" fmla="*/ 334 w 336"/>
                <a:gd name="T33" fmla="*/ 150 h 334"/>
                <a:gd name="T34" fmla="*/ 334 w 336"/>
                <a:gd name="T35" fmla="*/ 184 h 334"/>
                <a:gd name="T36" fmla="*/ 322 w 336"/>
                <a:gd name="T37" fmla="*/ 232 h 334"/>
                <a:gd name="T38" fmla="*/ 296 w 336"/>
                <a:gd name="T39" fmla="*/ 274 h 334"/>
                <a:gd name="T40" fmla="*/ 262 w 336"/>
                <a:gd name="T41" fmla="*/ 306 h 334"/>
                <a:gd name="T42" fmla="*/ 218 w 336"/>
                <a:gd name="T43" fmla="*/ 326 h 334"/>
                <a:gd name="T44" fmla="*/ 168 w 336"/>
                <a:gd name="T45" fmla="*/ 334 h 334"/>
                <a:gd name="T46" fmla="*/ 168 w 336"/>
                <a:gd name="T47" fmla="*/ 18 h 334"/>
                <a:gd name="T48" fmla="*/ 124 w 336"/>
                <a:gd name="T49" fmla="*/ 24 h 334"/>
                <a:gd name="T50" fmla="*/ 84 w 336"/>
                <a:gd name="T51" fmla="*/ 42 h 334"/>
                <a:gd name="T52" fmla="*/ 52 w 336"/>
                <a:gd name="T53" fmla="*/ 72 h 334"/>
                <a:gd name="T54" fmla="*/ 30 w 336"/>
                <a:gd name="T55" fmla="*/ 108 h 334"/>
                <a:gd name="T56" fmla="*/ 20 w 336"/>
                <a:gd name="T57" fmla="*/ 152 h 334"/>
                <a:gd name="T58" fmla="*/ 20 w 336"/>
                <a:gd name="T59" fmla="*/ 182 h 334"/>
                <a:gd name="T60" fmla="*/ 30 w 336"/>
                <a:gd name="T61" fmla="*/ 224 h 334"/>
                <a:gd name="T62" fmla="*/ 52 w 336"/>
                <a:gd name="T63" fmla="*/ 262 h 334"/>
                <a:gd name="T64" fmla="*/ 84 w 336"/>
                <a:gd name="T65" fmla="*/ 290 h 334"/>
                <a:gd name="T66" fmla="*/ 124 w 336"/>
                <a:gd name="T67" fmla="*/ 310 h 334"/>
                <a:gd name="T68" fmla="*/ 168 w 336"/>
                <a:gd name="T69" fmla="*/ 316 h 334"/>
                <a:gd name="T70" fmla="*/ 198 w 336"/>
                <a:gd name="T71" fmla="*/ 312 h 334"/>
                <a:gd name="T72" fmla="*/ 238 w 336"/>
                <a:gd name="T73" fmla="*/ 298 h 334"/>
                <a:gd name="T74" fmla="*/ 274 w 336"/>
                <a:gd name="T75" fmla="*/ 272 h 334"/>
                <a:gd name="T76" fmla="*/ 300 w 336"/>
                <a:gd name="T77" fmla="*/ 238 h 334"/>
                <a:gd name="T78" fmla="*/ 314 w 336"/>
                <a:gd name="T79" fmla="*/ 196 h 334"/>
                <a:gd name="T80" fmla="*/ 318 w 336"/>
                <a:gd name="T81" fmla="*/ 166 h 334"/>
                <a:gd name="T82" fmla="*/ 310 w 336"/>
                <a:gd name="T83" fmla="*/ 122 h 334"/>
                <a:gd name="T84" fmla="*/ 292 w 336"/>
                <a:gd name="T85" fmla="*/ 84 h 334"/>
                <a:gd name="T86" fmla="*/ 262 w 336"/>
                <a:gd name="T87" fmla="*/ 52 h 334"/>
                <a:gd name="T88" fmla="*/ 226 w 336"/>
                <a:gd name="T89" fmla="*/ 30 h 334"/>
                <a:gd name="T90" fmla="*/ 184 w 336"/>
                <a:gd name="T91" fmla="*/ 1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6" h="334">
                  <a:moveTo>
                    <a:pt x="168" y="334"/>
                  </a:moveTo>
                  <a:lnTo>
                    <a:pt x="168" y="334"/>
                  </a:lnTo>
                  <a:lnTo>
                    <a:pt x="150" y="334"/>
                  </a:lnTo>
                  <a:lnTo>
                    <a:pt x="134" y="330"/>
                  </a:lnTo>
                  <a:lnTo>
                    <a:pt x="118" y="326"/>
                  </a:lnTo>
                  <a:lnTo>
                    <a:pt x="102" y="320"/>
                  </a:lnTo>
                  <a:lnTo>
                    <a:pt x="88" y="314"/>
                  </a:lnTo>
                  <a:lnTo>
                    <a:pt x="74" y="306"/>
                  </a:lnTo>
                  <a:lnTo>
                    <a:pt x="62" y="296"/>
                  </a:lnTo>
                  <a:lnTo>
                    <a:pt x="50" y="284"/>
                  </a:lnTo>
                  <a:lnTo>
                    <a:pt x="38" y="274"/>
                  </a:lnTo>
                  <a:lnTo>
                    <a:pt x="30" y="260"/>
                  </a:lnTo>
                  <a:lnTo>
                    <a:pt x="20" y="246"/>
                  </a:lnTo>
                  <a:lnTo>
                    <a:pt x="14" y="232"/>
                  </a:lnTo>
                  <a:lnTo>
                    <a:pt x="8" y="216"/>
                  </a:lnTo>
                  <a:lnTo>
                    <a:pt x="4" y="200"/>
                  </a:lnTo>
                  <a:lnTo>
                    <a:pt x="2" y="184"/>
                  </a:lnTo>
                  <a:lnTo>
                    <a:pt x="0" y="166"/>
                  </a:lnTo>
                  <a:lnTo>
                    <a:pt x="0" y="166"/>
                  </a:lnTo>
                  <a:lnTo>
                    <a:pt x="2" y="150"/>
                  </a:lnTo>
                  <a:lnTo>
                    <a:pt x="4" y="132"/>
                  </a:lnTo>
                  <a:lnTo>
                    <a:pt x="8" y="116"/>
                  </a:lnTo>
                  <a:lnTo>
                    <a:pt x="14" y="102"/>
                  </a:lnTo>
                  <a:lnTo>
                    <a:pt x="20" y="86"/>
                  </a:lnTo>
                  <a:lnTo>
                    <a:pt x="30" y="74"/>
                  </a:lnTo>
                  <a:lnTo>
                    <a:pt x="38" y="60"/>
                  </a:lnTo>
                  <a:lnTo>
                    <a:pt x="50" y="48"/>
                  </a:lnTo>
                  <a:lnTo>
                    <a:pt x="62" y="38"/>
                  </a:lnTo>
                  <a:lnTo>
                    <a:pt x="74" y="28"/>
                  </a:lnTo>
                  <a:lnTo>
                    <a:pt x="88" y="20"/>
                  </a:lnTo>
                  <a:lnTo>
                    <a:pt x="102" y="12"/>
                  </a:lnTo>
                  <a:lnTo>
                    <a:pt x="118" y="6"/>
                  </a:lnTo>
                  <a:lnTo>
                    <a:pt x="134" y="2"/>
                  </a:lnTo>
                  <a:lnTo>
                    <a:pt x="150" y="0"/>
                  </a:lnTo>
                  <a:lnTo>
                    <a:pt x="168" y="0"/>
                  </a:lnTo>
                  <a:lnTo>
                    <a:pt x="168" y="0"/>
                  </a:lnTo>
                  <a:lnTo>
                    <a:pt x="184" y="0"/>
                  </a:lnTo>
                  <a:lnTo>
                    <a:pt x="202" y="2"/>
                  </a:lnTo>
                  <a:lnTo>
                    <a:pt x="218" y="6"/>
                  </a:lnTo>
                  <a:lnTo>
                    <a:pt x="232" y="12"/>
                  </a:lnTo>
                  <a:lnTo>
                    <a:pt x="248" y="20"/>
                  </a:lnTo>
                  <a:lnTo>
                    <a:pt x="262" y="28"/>
                  </a:lnTo>
                  <a:lnTo>
                    <a:pt x="274" y="38"/>
                  </a:lnTo>
                  <a:lnTo>
                    <a:pt x="286" y="48"/>
                  </a:lnTo>
                  <a:lnTo>
                    <a:pt x="296" y="60"/>
                  </a:lnTo>
                  <a:lnTo>
                    <a:pt x="306" y="74"/>
                  </a:lnTo>
                  <a:lnTo>
                    <a:pt x="314" y="86"/>
                  </a:lnTo>
                  <a:lnTo>
                    <a:pt x="322" y="102"/>
                  </a:lnTo>
                  <a:lnTo>
                    <a:pt x="328" y="116"/>
                  </a:lnTo>
                  <a:lnTo>
                    <a:pt x="332" y="132"/>
                  </a:lnTo>
                  <a:lnTo>
                    <a:pt x="334" y="150"/>
                  </a:lnTo>
                  <a:lnTo>
                    <a:pt x="336" y="166"/>
                  </a:lnTo>
                  <a:lnTo>
                    <a:pt x="336" y="166"/>
                  </a:lnTo>
                  <a:lnTo>
                    <a:pt x="334" y="184"/>
                  </a:lnTo>
                  <a:lnTo>
                    <a:pt x="332" y="200"/>
                  </a:lnTo>
                  <a:lnTo>
                    <a:pt x="328" y="216"/>
                  </a:lnTo>
                  <a:lnTo>
                    <a:pt x="322" y="232"/>
                  </a:lnTo>
                  <a:lnTo>
                    <a:pt x="314" y="246"/>
                  </a:lnTo>
                  <a:lnTo>
                    <a:pt x="306" y="260"/>
                  </a:lnTo>
                  <a:lnTo>
                    <a:pt x="296" y="274"/>
                  </a:lnTo>
                  <a:lnTo>
                    <a:pt x="286" y="284"/>
                  </a:lnTo>
                  <a:lnTo>
                    <a:pt x="274" y="296"/>
                  </a:lnTo>
                  <a:lnTo>
                    <a:pt x="262" y="306"/>
                  </a:lnTo>
                  <a:lnTo>
                    <a:pt x="248" y="314"/>
                  </a:lnTo>
                  <a:lnTo>
                    <a:pt x="232" y="320"/>
                  </a:lnTo>
                  <a:lnTo>
                    <a:pt x="218" y="326"/>
                  </a:lnTo>
                  <a:lnTo>
                    <a:pt x="202" y="330"/>
                  </a:lnTo>
                  <a:lnTo>
                    <a:pt x="184" y="334"/>
                  </a:lnTo>
                  <a:lnTo>
                    <a:pt x="168" y="334"/>
                  </a:lnTo>
                  <a:lnTo>
                    <a:pt x="168" y="334"/>
                  </a:lnTo>
                  <a:close/>
                  <a:moveTo>
                    <a:pt x="168" y="18"/>
                  </a:moveTo>
                  <a:lnTo>
                    <a:pt x="168" y="18"/>
                  </a:lnTo>
                  <a:lnTo>
                    <a:pt x="152" y="18"/>
                  </a:lnTo>
                  <a:lnTo>
                    <a:pt x="138" y="20"/>
                  </a:lnTo>
                  <a:lnTo>
                    <a:pt x="124" y="24"/>
                  </a:lnTo>
                  <a:lnTo>
                    <a:pt x="110" y="30"/>
                  </a:lnTo>
                  <a:lnTo>
                    <a:pt x="96" y="36"/>
                  </a:lnTo>
                  <a:lnTo>
                    <a:pt x="84" y="42"/>
                  </a:lnTo>
                  <a:lnTo>
                    <a:pt x="72" y="52"/>
                  </a:lnTo>
                  <a:lnTo>
                    <a:pt x="62" y="62"/>
                  </a:lnTo>
                  <a:lnTo>
                    <a:pt x="52" y="72"/>
                  </a:lnTo>
                  <a:lnTo>
                    <a:pt x="44" y="84"/>
                  </a:lnTo>
                  <a:lnTo>
                    <a:pt x="36" y="96"/>
                  </a:lnTo>
                  <a:lnTo>
                    <a:pt x="30" y="108"/>
                  </a:lnTo>
                  <a:lnTo>
                    <a:pt x="26" y="122"/>
                  </a:lnTo>
                  <a:lnTo>
                    <a:pt x="22" y="136"/>
                  </a:lnTo>
                  <a:lnTo>
                    <a:pt x="20" y="152"/>
                  </a:lnTo>
                  <a:lnTo>
                    <a:pt x="18" y="166"/>
                  </a:lnTo>
                  <a:lnTo>
                    <a:pt x="18" y="166"/>
                  </a:lnTo>
                  <a:lnTo>
                    <a:pt x="20" y="182"/>
                  </a:lnTo>
                  <a:lnTo>
                    <a:pt x="22" y="196"/>
                  </a:lnTo>
                  <a:lnTo>
                    <a:pt x="26" y="212"/>
                  </a:lnTo>
                  <a:lnTo>
                    <a:pt x="30" y="224"/>
                  </a:lnTo>
                  <a:lnTo>
                    <a:pt x="36" y="238"/>
                  </a:lnTo>
                  <a:lnTo>
                    <a:pt x="44" y="250"/>
                  </a:lnTo>
                  <a:lnTo>
                    <a:pt x="52" y="262"/>
                  </a:lnTo>
                  <a:lnTo>
                    <a:pt x="62" y="272"/>
                  </a:lnTo>
                  <a:lnTo>
                    <a:pt x="72" y="282"/>
                  </a:lnTo>
                  <a:lnTo>
                    <a:pt x="84" y="290"/>
                  </a:lnTo>
                  <a:lnTo>
                    <a:pt x="96" y="298"/>
                  </a:lnTo>
                  <a:lnTo>
                    <a:pt x="110" y="304"/>
                  </a:lnTo>
                  <a:lnTo>
                    <a:pt x="124" y="310"/>
                  </a:lnTo>
                  <a:lnTo>
                    <a:pt x="138" y="312"/>
                  </a:lnTo>
                  <a:lnTo>
                    <a:pt x="152" y="316"/>
                  </a:lnTo>
                  <a:lnTo>
                    <a:pt x="168" y="316"/>
                  </a:lnTo>
                  <a:lnTo>
                    <a:pt x="168" y="316"/>
                  </a:lnTo>
                  <a:lnTo>
                    <a:pt x="184" y="316"/>
                  </a:lnTo>
                  <a:lnTo>
                    <a:pt x="198" y="312"/>
                  </a:lnTo>
                  <a:lnTo>
                    <a:pt x="212" y="310"/>
                  </a:lnTo>
                  <a:lnTo>
                    <a:pt x="226" y="304"/>
                  </a:lnTo>
                  <a:lnTo>
                    <a:pt x="238" y="298"/>
                  </a:lnTo>
                  <a:lnTo>
                    <a:pt x="252" y="290"/>
                  </a:lnTo>
                  <a:lnTo>
                    <a:pt x="262" y="282"/>
                  </a:lnTo>
                  <a:lnTo>
                    <a:pt x="274" y="272"/>
                  </a:lnTo>
                  <a:lnTo>
                    <a:pt x="284" y="262"/>
                  </a:lnTo>
                  <a:lnTo>
                    <a:pt x="292" y="250"/>
                  </a:lnTo>
                  <a:lnTo>
                    <a:pt x="300" y="238"/>
                  </a:lnTo>
                  <a:lnTo>
                    <a:pt x="306" y="224"/>
                  </a:lnTo>
                  <a:lnTo>
                    <a:pt x="310" y="212"/>
                  </a:lnTo>
                  <a:lnTo>
                    <a:pt x="314" y="196"/>
                  </a:lnTo>
                  <a:lnTo>
                    <a:pt x="316" y="182"/>
                  </a:lnTo>
                  <a:lnTo>
                    <a:pt x="318" y="166"/>
                  </a:lnTo>
                  <a:lnTo>
                    <a:pt x="318" y="166"/>
                  </a:lnTo>
                  <a:lnTo>
                    <a:pt x="316" y="152"/>
                  </a:lnTo>
                  <a:lnTo>
                    <a:pt x="314" y="136"/>
                  </a:lnTo>
                  <a:lnTo>
                    <a:pt x="310" y="122"/>
                  </a:lnTo>
                  <a:lnTo>
                    <a:pt x="306" y="108"/>
                  </a:lnTo>
                  <a:lnTo>
                    <a:pt x="300" y="96"/>
                  </a:lnTo>
                  <a:lnTo>
                    <a:pt x="292" y="84"/>
                  </a:lnTo>
                  <a:lnTo>
                    <a:pt x="284" y="72"/>
                  </a:lnTo>
                  <a:lnTo>
                    <a:pt x="274" y="62"/>
                  </a:lnTo>
                  <a:lnTo>
                    <a:pt x="262" y="52"/>
                  </a:lnTo>
                  <a:lnTo>
                    <a:pt x="252" y="42"/>
                  </a:lnTo>
                  <a:lnTo>
                    <a:pt x="238" y="36"/>
                  </a:lnTo>
                  <a:lnTo>
                    <a:pt x="226" y="30"/>
                  </a:lnTo>
                  <a:lnTo>
                    <a:pt x="212" y="24"/>
                  </a:lnTo>
                  <a:lnTo>
                    <a:pt x="198" y="20"/>
                  </a:lnTo>
                  <a:lnTo>
                    <a:pt x="184" y="18"/>
                  </a:lnTo>
                  <a:lnTo>
                    <a:pt x="168" y="18"/>
                  </a:lnTo>
                  <a:lnTo>
                    <a:pt x="168" y="18"/>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47" name="Freeform 51">
              <a:extLst>
                <a:ext uri="{FF2B5EF4-FFF2-40B4-BE49-F238E27FC236}">
                  <a16:creationId xmlns:a16="http://schemas.microsoft.com/office/drawing/2014/main" id="{7F61B382-9144-E16F-AAAA-3BF10C98483B}"/>
                </a:ext>
              </a:extLst>
            </p:cNvPr>
            <p:cNvSpPr>
              <a:spLocks/>
            </p:cNvSpPr>
            <p:nvPr/>
          </p:nvSpPr>
          <p:spPr bwMode="auto">
            <a:xfrm>
              <a:off x="3752850" y="2011363"/>
              <a:ext cx="330200" cy="231775"/>
            </a:xfrm>
            <a:custGeom>
              <a:avLst/>
              <a:gdLst>
                <a:gd name="T0" fmla="*/ 74 w 208"/>
                <a:gd name="T1" fmla="*/ 146 h 146"/>
                <a:gd name="T2" fmla="*/ 0 w 208"/>
                <a:gd name="T3" fmla="*/ 72 h 146"/>
                <a:gd name="T4" fmla="*/ 12 w 208"/>
                <a:gd name="T5" fmla="*/ 58 h 146"/>
                <a:gd name="T6" fmla="*/ 74 w 208"/>
                <a:gd name="T7" fmla="*/ 120 h 146"/>
                <a:gd name="T8" fmla="*/ 196 w 208"/>
                <a:gd name="T9" fmla="*/ 0 h 146"/>
                <a:gd name="T10" fmla="*/ 208 w 208"/>
                <a:gd name="T11" fmla="*/ 12 h 146"/>
                <a:gd name="T12" fmla="*/ 74 w 208"/>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208" h="146">
                  <a:moveTo>
                    <a:pt x="74" y="146"/>
                  </a:moveTo>
                  <a:lnTo>
                    <a:pt x="0" y="72"/>
                  </a:lnTo>
                  <a:lnTo>
                    <a:pt x="12" y="58"/>
                  </a:lnTo>
                  <a:lnTo>
                    <a:pt x="74" y="120"/>
                  </a:lnTo>
                  <a:lnTo>
                    <a:pt x="196" y="0"/>
                  </a:lnTo>
                  <a:lnTo>
                    <a:pt x="208" y="12"/>
                  </a:lnTo>
                  <a:lnTo>
                    <a:pt x="74" y="146"/>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48" name="Freeform 52">
              <a:extLst>
                <a:ext uri="{FF2B5EF4-FFF2-40B4-BE49-F238E27FC236}">
                  <a16:creationId xmlns:a16="http://schemas.microsoft.com/office/drawing/2014/main" id="{E01E4B7C-68EA-68D5-B99C-165F108FC76E}"/>
                </a:ext>
              </a:extLst>
            </p:cNvPr>
            <p:cNvSpPr>
              <a:spLocks/>
            </p:cNvSpPr>
            <p:nvPr/>
          </p:nvSpPr>
          <p:spPr bwMode="auto">
            <a:xfrm>
              <a:off x="3717925" y="1573213"/>
              <a:ext cx="165100" cy="234950"/>
            </a:xfrm>
            <a:custGeom>
              <a:avLst/>
              <a:gdLst>
                <a:gd name="T0" fmla="*/ 104 w 104"/>
                <a:gd name="T1" fmla="*/ 148 h 148"/>
                <a:gd name="T2" fmla="*/ 86 w 104"/>
                <a:gd name="T3" fmla="*/ 148 h 148"/>
                <a:gd name="T4" fmla="*/ 86 w 104"/>
                <a:gd name="T5" fmla="*/ 18 h 148"/>
                <a:gd name="T6" fmla="*/ 0 w 104"/>
                <a:gd name="T7" fmla="*/ 18 h 148"/>
                <a:gd name="T8" fmla="*/ 0 w 104"/>
                <a:gd name="T9" fmla="*/ 0 h 148"/>
                <a:gd name="T10" fmla="*/ 104 w 104"/>
                <a:gd name="T11" fmla="*/ 0 h 148"/>
                <a:gd name="T12" fmla="*/ 104 w 104"/>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04" h="148">
                  <a:moveTo>
                    <a:pt x="104" y="148"/>
                  </a:moveTo>
                  <a:lnTo>
                    <a:pt x="86" y="148"/>
                  </a:lnTo>
                  <a:lnTo>
                    <a:pt x="86" y="18"/>
                  </a:lnTo>
                  <a:lnTo>
                    <a:pt x="0" y="18"/>
                  </a:lnTo>
                  <a:lnTo>
                    <a:pt x="0" y="0"/>
                  </a:lnTo>
                  <a:lnTo>
                    <a:pt x="104" y="0"/>
                  </a:lnTo>
                  <a:lnTo>
                    <a:pt x="104" y="148"/>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49" name="Freeform 53">
              <a:extLst>
                <a:ext uri="{FF2B5EF4-FFF2-40B4-BE49-F238E27FC236}">
                  <a16:creationId xmlns:a16="http://schemas.microsoft.com/office/drawing/2014/main" id="{452E237D-2A89-8AED-AF86-7A0E15317E07}"/>
                </a:ext>
              </a:extLst>
            </p:cNvPr>
            <p:cNvSpPr>
              <a:spLocks/>
            </p:cNvSpPr>
            <p:nvPr/>
          </p:nvSpPr>
          <p:spPr bwMode="auto">
            <a:xfrm>
              <a:off x="3136900" y="1573213"/>
              <a:ext cx="746125" cy="987425"/>
            </a:xfrm>
            <a:custGeom>
              <a:avLst/>
              <a:gdLst>
                <a:gd name="T0" fmla="*/ 470 w 470"/>
                <a:gd name="T1" fmla="*/ 622 h 622"/>
                <a:gd name="T2" fmla="*/ 0 w 470"/>
                <a:gd name="T3" fmla="*/ 622 h 622"/>
                <a:gd name="T4" fmla="*/ 0 w 470"/>
                <a:gd name="T5" fmla="*/ 0 h 622"/>
                <a:gd name="T6" fmla="*/ 104 w 470"/>
                <a:gd name="T7" fmla="*/ 0 h 622"/>
                <a:gd name="T8" fmla="*/ 104 w 470"/>
                <a:gd name="T9" fmla="*/ 18 h 622"/>
                <a:gd name="T10" fmla="*/ 18 w 470"/>
                <a:gd name="T11" fmla="*/ 18 h 622"/>
                <a:gd name="T12" fmla="*/ 18 w 470"/>
                <a:gd name="T13" fmla="*/ 604 h 622"/>
                <a:gd name="T14" fmla="*/ 452 w 470"/>
                <a:gd name="T15" fmla="*/ 604 h 622"/>
                <a:gd name="T16" fmla="*/ 452 w 470"/>
                <a:gd name="T17" fmla="*/ 546 h 622"/>
                <a:gd name="T18" fmla="*/ 470 w 470"/>
                <a:gd name="T19" fmla="*/ 546 h 622"/>
                <a:gd name="T20" fmla="*/ 470 w 470"/>
                <a:gd name="T21" fmla="*/ 622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622">
                  <a:moveTo>
                    <a:pt x="470" y="622"/>
                  </a:moveTo>
                  <a:lnTo>
                    <a:pt x="0" y="622"/>
                  </a:lnTo>
                  <a:lnTo>
                    <a:pt x="0" y="0"/>
                  </a:lnTo>
                  <a:lnTo>
                    <a:pt x="104" y="0"/>
                  </a:lnTo>
                  <a:lnTo>
                    <a:pt x="104" y="18"/>
                  </a:lnTo>
                  <a:lnTo>
                    <a:pt x="18" y="18"/>
                  </a:lnTo>
                  <a:lnTo>
                    <a:pt x="18" y="604"/>
                  </a:lnTo>
                  <a:lnTo>
                    <a:pt x="452" y="604"/>
                  </a:lnTo>
                  <a:lnTo>
                    <a:pt x="452" y="546"/>
                  </a:lnTo>
                  <a:lnTo>
                    <a:pt x="470" y="546"/>
                  </a:lnTo>
                  <a:lnTo>
                    <a:pt x="470" y="622"/>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grpSp>
      <p:grpSp>
        <p:nvGrpSpPr>
          <p:cNvPr id="2180" name="Group 4">
            <a:extLst>
              <a:ext uri="{FF2B5EF4-FFF2-40B4-BE49-F238E27FC236}">
                <a16:creationId xmlns:a16="http://schemas.microsoft.com/office/drawing/2014/main" id="{9FA9675F-44E5-E136-675B-E98AB8B132CB}"/>
              </a:ext>
            </a:extLst>
          </p:cNvPr>
          <p:cNvGrpSpPr>
            <a:grpSpLocks noChangeAspect="1"/>
          </p:cNvGrpSpPr>
          <p:nvPr/>
        </p:nvGrpSpPr>
        <p:grpSpPr bwMode="auto">
          <a:xfrm>
            <a:off x="6789225" y="4200629"/>
            <a:ext cx="400392" cy="326624"/>
            <a:chOff x="2510" y="1797"/>
            <a:chExt cx="740" cy="726"/>
          </a:xfrm>
          <a:noFill/>
        </p:grpSpPr>
        <p:sp>
          <p:nvSpPr>
            <p:cNvPr id="2210" name="Freeform 5">
              <a:extLst>
                <a:ext uri="{FF2B5EF4-FFF2-40B4-BE49-F238E27FC236}">
                  <a16:creationId xmlns:a16="http://schemas.microsoft.com/office/drawing/2014/main" id="{4F5D6F09-F8CB-7304-D854-23943DAFE034}"/>
                </a:ext>
              </a:extLst>
            </p:cNvPr>
            <p:cNvSpPr>
              <a:spLocks noEditPoints="1"/>
            </p:cNvSpPr>
            <p:nvPr/>
          </p:nvSpPr>
          <p:spPr bwMode="auto">
            <a:xfrm>
              <a:off x="2512" y="1797"/>
              <a:ext cx="734" cy="422"/>
            </a:xfrm>
            <a:custGeom>
              <a:avLst/>
              <a:gdLst>
                <a:gd name="T0" fmla="*/ 388 w 734"/>
                <a:gd name="T1" fmla="*/ 414 h 422"/>
                <a:gd name="T2" fmla="*/ 368 w 734"/>
                <a:gd name="T3" fmla="*/ 392 h 422"/>
                <a:gd name="T4" fmla="*/ 348 w 734"/>
                <a:gd name="T5" fmla="*/ 406 h 422"/>
                <a:gd name="T6" fmla="*/ 116 w 734"/>
                <a:gd name="T7" fmla="*/ 422 h 422"/>
                <a:gd name="T8" fmla="*/ 72 w 734"/>
                <a:gd name="T9" fmla="*/ 414 h 422"/>
                <a:gd name="T10" fmla="*/ 10 w 734"/>
                <a:gd name="T11" fmla="*/ 352 h 422"/>
                <a:gd name="T12" fmla="*/ 0 w 734"/>
                <a:gd name="T13" fmla="*/ 306 h 422"/>
                <a:gd name="T14" fmla="*/ 28 w 734"/>
                <a:gd name="T15" fmla="*/ 232 h 422"/>
                <a:gd name="T16" fmla="*/ 94 w 734"/>
                <a:gd name="T17" fmla="*/ 192 h 422"/>
                <a:gd name="T18" fmla="*/ 110 w 734"/>
                <a:gd name="T19" fmla="*/ 148 h 422"/>
                <a:gd name="T20" fmla="*/ 184 w 734"/>
                <a:gd name="T21" fmla="*/ 96 h 422"/>
                <a:gd name="T22" fmla="*/ 232 w 734"/>
                <a:gd name="T23" fmla="*/ 96 h 422"/>
                <a:gd name="T24" fmla="*/ 268 w 734"/>
                <a:gd name="T25" fmla="*/ 40 h 422"/>
                <a:gd name="T26" fmla="*/ 348 w 734"/>
                <a:gd name="T27" fmla="*/ 2 h 422"/>
                <a:gd name="T28" fmla="*/ 412 w 734"/>
                <a:gd name="T29" fmla="*/ 6 h 422"/>
                <a:gd name="T30" fmla="*/ 480 w 734"/>
                <a:gd name="T31" fmla="*/ 48 h 422"/>
                <a:gd name="T32" fmla="*/ 518 w 734"/>
                <a:gd name="T33" fmla="*/ 76 h 422"/>
                <a:gd name="T34" fmla="*/ 562 w 734"/>
                <a:gd name="T35" fmla="*/ 66 h 422"/>
                <a:gd name="T36" fmla="*/ 628 w 734"/>
                <a:gd name="T37" fmla="*/ 86 h 422"/>
                <a:gd name="T38" fmla="*/ 676 w 734"/>
                <a:gd name="T39" fmla="*/ 160 h 422"/>
                <a:gd name="T40" fmla="*/ 676 w 734"/>
                <a:gd name="T41" fmla="*/ 206 h 422"/>
                <a:gd name="T42" fmla="*/ 710 w 734"/>
                <a:gd name="T43" fmla="*/ 236 h 422"/>
                <a:gd name="T44" fmla="*/ 734 w 734"/>
                <a:gd name="T45" fmla="*/ 292 h 422"/>
                <a:gd name="T46" fmla="*/ 732 w 734"/>
                <a:gd name="T47" fmla="*/ 330 h 422"/>
                <a:gd name="T48" fmla="*/ 684 w 734"/>
                <a:gd name="T49" fmla="*/ 402 h 422"/>
                <a:gd name="T50" fmla="*/ 618 w 734"/>
                <a:gd name="T51" fmla="*/ 422 h 422"/>
                <a:gd name="T52" fmla="*/ 618 w 734"/>
                <a:gd name="T53" fmla="*/ 404 h 422"/>
                <a:gd name="T54" fmla="*/ 688 w 734"/>
                <a:gd name="T55" fmla="*/ 376 h 422"/>
                <a:gd name="T56" fmla="*/ 716 w 734"/>
                <a:gd name="T57" fmla="*/ 306 h 422"/>
                <a:gd name="T58" fmla="*/ 708 w 734"/>
                <a:gd name="T59" fmla="*/ 266 h 422"/>
                <a:gd name="T60" fmla="*/ 674 w 734"/>
                <a:gd name="T61" fmla="*/ 226 h 422"/>
                <a:gd name="T62" fmla="*/ 658 w 734"/>
                <a:gd name="T63" fmla="*/ 208 h 422"/>
                <a:gd name="T64" fmla="*/ 658 w 734"/>
                <a:gd name="T65" fmla="*/ 164 h 422"/>
                <a:gd name="T66" fmla="*/ 618 w 734"/>
                <a:gd name="T67" fmla="*/ 102 h 422"/>
                <a:gd name="T68" fmla="*/ 562 w 734"/>
                <a:gd name="T69" fmla="*/ 84 h 422"/>
                <a:gd name="T70" fmla="*/ 506 w 734"/>
                <a:gd name="T71" fmla="*/ 104 h 422"/>
                <a:gd name="T72" fmla="*/ 482 w 734"/>
                <a:gd name="T73" fmla="*/ 82 h 422"/>
                <a:gd name="T74" fmla="*/ 426 w 734"/>
                <a:gd name="T75" fmla="*/ 32 h 422"/>
                <a:gd name="T76" fmla="*/ 370 w 734"/>
                <a:gd name="T77" fmla="*/ 18 h 422"/>
                <a:gd name="T78" fmla="*/ 294 w 734"/>
                <a:gd name="T79" fmla="*/ 44 h 422"/>
                <a:gd name="T80" fmla="*/ 246 w 734"/>
                <a:gd name="T81" fmla="*/ 110 h 422"/>
                <a:gd name="T82" fmla="*/ 224 w 734"/>
                <a:gd name="T83" fmla="*/ 112 h 422"/>
                <a:gd name="T84" fmla="*/ 170 w 734"/>
                <a:gd name="T85" fmla="*/ 120 h 422"/>
                <a:gd name="T86" fmla="*/ 116 w 734"/>
                <a:gd name="T87" fmla="*/ 180 h 422"/>
                <a:gd name="T88" fmla="*/ 104 w 734"/>
                <a:gd name="T89" fmla="*/ 210 h 422"/>
                <a:gd name="T90" fmla="*/ 56 w 734"/>
                <a:gd name="T91" fmla="*/ 230 h 422"/>
                <a:gd name="T92" fmla="*/ 20 w 734"/>
                <a:gd name="T93" fmla="*/ 288 h 422"/>
                <a:gd name="T94" fmla="*/ 26 w 734"/>
                <a:gd name="T95" fmla="*/ 344 h 422"/>
                <a:gd name="T96" fmla="*/ 78 w 734"/>
                <a:gd name="T97" fmla="*/ 398 h 422"/>
                <a:gd name="T98" fmla="*/ 328 w 734"/>
                <a:gd name="T99" fmla="*/ 404 h 422"/>
                <a:gd name="T100" fmla="*/ 360 w 734"/>
                <a:gd name="T101" fmla="*/ 374 h 422"/>
                <a:gd name="T102" fmla="*/ 380 w 734"/>
                <a:gd name="T103" fmla="*/ 376 h 422"/>
                <a:gd name="T104" fmla="*/ 406 w 734"/>
                <a:gd name="T105" fmla="*/ 404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4" h="422">
                  <a:moveTo>
                    <a:pt x="618" y="422"/>
                  </a:moveTo>
                  <a:lnTo>
                    <a:pt x="388" y="422"/>
                  </a:lnTo>
                  <a:lnTo>
                    <a:pt x="388" y="414"/>
                  </a:lnTo>
                  <a:lnTo>
                    <a:pt x="388" y="414"/>
                  </a:lnTo>
                  <a:lnTo>
                    <a:pt x="388" y="406"/>
                  </a:lnTo>
                  <a:lnTo>
                    <a:pt x="382" y="398"/>
                  </a:lnTo>
                  <a:lnTo>
                    <a:pt x="376" y="394"/>
                  </a:lnTo>
                  <a:lnTo>
                    <a:pt x="368" y="392"/>
                  </a:lnTo>
                  <a:lnTo>
                    <a:pt x="368" y="392"/>
                  </a:lnTo>
                  <a:lnTo>
                    <a:pt x="358" y="394"/>
                  </a:lnTo>
                  <a:lnTo>
                    <a:pt x="352" y="398"/>
                  </a:lnTo>
                  <a:lnTo>
                    <a:pt x="348" y="406"/>
                  </a:lnTo>
                  <a:lnTo>
                    <a:pt x="346" y="414"/>
                  </a:lnTo>
                  <a:lnTo>
                    <a:pt x="346" y="422"/>
                  </a:lnTo>
                  <a:lnTo>
                    <a:pt x="336" y="422"/>
                  </a:lnTo>
                  <a:lnTo>
                    <a:pt x="116" y="422"/>
                  </a:lnTo>
                  <a:lnTo>
                    <a:pt x="116" y="422"/>
                  </a:lnTo>
                  <a:lnTo>
                    <a:pt x="104" y="422"/>
                  </a:lnTo>
                  <a:lnTo>
                    <a:pt x="94" y="420"/>
                  </a:lnTo>
                  <a:lnTo>
                    <a:pt x="72" y="414"/>
                  </a:lnTo>
                  <a:lnTo>
                    <a:pt x="52" y="402"/>
                  </a:lnTo>
                  <a:lnTo>
                    <a:pt x="34" y="388"/>
                  </a:lnTo>
                  <a:lnTo>
                    <a:pt x="20" y="372"/>
                  </a:lnTo>
                  <a:lnTo>
                    <a:pt x="10" y="352"/>
                  </a:lnTo>
                  <a:lnTo>
                    <a:pt x="2" y="330"/>
                  </a:lnTo>
                  <a:lnTo>
                    <a:pt x="0" y="318"/>
                  </a:lnTo>
                  <a:lnTo>
                    <a:pt x="0" y="306"/>
                  </a:lnTo>
                  <a:lnTo>
                    <a:pt x="0" y="306"/>
                  </a:lnTo>
                  <a:lnTo>
                    <a:pt x="2" y="286"/>
                  </a:lnTo>
                  <a:lnTo>
                    <a:pt x="8" y="266"/>
                  </a:lnTo>
                  <a:lnTo>
                    <a:pt x="16" y="248"/>
                  </a:lnTo>
                  <a:lnTo>
                    <a:pt x="28" y="232"/>
                  </a:lnTo>
                  <a:lnTo>
                    <a:pt x="42" y="218"/>
                  </a:lnTo>
                  <a:lnTo>
                    <a:pt x="58" y="206"/>
                  </a:lnTo>
                  <a:lnTo>
                    <a:pt x="76" y="198"/>
                  </a:lnTo>
                  <a:lnTo>
                    <a:pt x="94" y="192"/>
                  </a:lnTo>
                  <a:lnTo>
                    <a:pt x="94" y="192"/>
                  </a:lnTo>
                  <a:lnTo>
                    <a:pt x="98" y="180"/>
                  </a:lnTo>
                  <a:lnTo>
                    <a:pt x="100" y="170"/>
                  </a:lnTo>
                  <a:lnTo>
                    <a:pt x="110" y="148"/>
                  </a:lnTo>
                  <a:lnTo>
                    <a:pt x="124" y="130"/>
                  </a:lnTo>
                  <a:lnTo>
                    <a:pt x="142" y="116"/>
                  </a:lnTo>
                  <a:lnTo>
                    <a:pt x="162" y="104"/>
                  </a:lnTo>
                  <a:lnTo>
                    <a:pt x="184" y="96"/>
                  </a:lnTo>
                  <a:lnTo>
                    <a:pt x="194" y="94"/>
                  </a:lnTo>
                  <a:lnTo>
                    <a:pt x="206" y="94"/>
                  </a:lnTo>
                  <a:lnTo>
                    <a:pt x="218" y="94"/>
                  </a:lnTo>
                  <a:lnTo>
                    <a:pt x="232" y="96"/>
                  </a:lnTo>
                  <a:lnTo>
                    <a:pt x="232" y="96"/>
                  </a:lnTo>
                  <a:lnTo>
                    <a:pt x="242" y="76"/>
                  </a:lnTo>
                  <a:lnTo>
                    <a:pt x="254" y="56"/>
                  </a:lnTo>
                  <a:lnTo>
                    <a:pt x="268" y="40"/>
                  </a:lnTo>
                  <a:lnTo>
                    <a:pt x="286" y="26"/>
                  </a:lnTo>
                  <a:lnTo>
                    <a:pt x="306" y="16"/>
                  </a:lnTo>
                  <a:lnTo>
                    <a:pt x="326" y="8"/>
                  </a:lnTo>
                  <a:lnTo>
                    <a:pt x="348" y="2"/>
                  </a:lnTo>
                  <a:lnTo>
                    <a:pt x="370" y="0"/>
                  </a:lnTo>
                  <a:lnTo>
                    <a:pt x="370" y="0"/>
                  </a:lnTo>
                  <a:lnTo>
                    <a:pt x="392" y="2"/>
                  </a:lnTo>
                  <a:lnTo>
                    <a:pt x="412" y="6"/>
                  </a:lnTo>
                  <a:lnTo>
                    <a:pt x="432" y="14"/>
                  </a:lnTo>
                  <a:lnTo>
                    <a:pt x="450" y="22"/>
                  </a:lnTo>
                  <a:lnTo>
                    <a:pt x="466" y="34"/>
                  </a:lnTo>
                  <a:lnTo>
                    <a:pt x="480" y="48"/>
                  </a:lnTo>
                  <a:lnTo>
                    <a:pt x="494" y="64"/>
                  </a:lnTo>
                  <a:lnTo>
                    <a:pt x="504" y="82"/>
                  </a:lnTo>
                  <a:lnTo>
                    <a:pt x="504" y="82"/>
                  </a:lnTo>
                  <a:lnTo>
                    <a:pt x="518" y="76"/>
                  </a:lnTo>
                  <a:lnTo>
                    <a:pt x="532" y="70"/>
                  </a:lnTo>
                  <a:lnTo>
                    <a:pt x="548" y="68"/>
                  </a:lnTo>
                  <a:lnTo>
                    <a:pt x="562" y="66"/>
                  </a:lnTo>
                  <a:lnTo>
                    <a:pt x="562" y="66"/>
                  </a:lnTo>
                  <a:lnTo>
                    <a:pt x="574" y="68"/>
                  </a:lnTo>
                  <a:lnTo>
                    <a:pt x="586" y="70"/>
                  </a:lnTo>
                  <a:lnTo>
                    <a:pt x="608" y="76"/>
                  </a:lnTo>
                  <a:lnTo>
                    <a:pt x="628" y="86"/>
                  </a:lnTo>
                  <a:lnTo>
                    <a:pt x="644" y="100"/>
                  </a:lnTo>
                  <a:lnTo>
                    <a:pt x="658" y="118"/>
                  </a:lnTo>
                  <a:lnTo>
                    <a:pt x="670" y="138"/>
                  </a:lnTo>
                  <a:lnTo>
                    <a:pt x="676" y="160"/>
                  </a:lnTo>
                  <a:lnTo>
                    <a:pt x="678" y="172"/>
                  </a:lnTo>
                  <a:lnTo>
                    <a:pt x="678" y="184"/>
                  </a:lnTo>
                  <a:lnTo>
                    <a:pt x="678" y="184"/>
                  </a:lnTo>
                  <a:lnTo>
                    <a:pt x="676" y="206"/>
                  </a:lnTo>
                  <a:lnTo>
                    <a:pt x="676" y="206"/>
                  </a:lnTo>
                  <a:lnTo>
                    <a:pt x="690" y="214"/>
                  </a:lnTo>
                  <a:lnTo>
                    <a:pt x="700" y="224"/>
                  </a:lnTo>
                  <a:lnTo>
                    <a:pt x="710" y="236"/>
                  </a:lnTo>
                  <a:lnTo>
                    <a:pt x="718" y="248"/>
                  </a:lnTo>
                  <a:lnTo>
                    <a:pt x="726" y="262"/>
                  </a:lnTo>
                  <a:lnTo>
                    <a:pt x="730" y="276"/>
                  </a:lnTo>
                  <a:lnTo>
                    <a:pt x="734" y="292"/>
                  </a:lnTo>
                  <a:lnTo>
                    <a:pt x="734" y="306"/>
                  </a:lnTo>
                  <a:lnTo>
                    <a:pt x="734" y="306"/>
                  </a:lnTo>
                  <a:lnTo>
                    <a:pt x="734" y="318"/>
                  </a:lnTo>
                  <a:lnTo>
                    <a:pt x="732" y="330"/>
                  </a:lnTo>
                  <a:lnTo>
                    <a:pt x="726" y="352"/>
                  </a:lnTo>
                  <a:lnTo>
                    <a:pt x="714" y="372"/>
                  </a:lnTo>
                  <a:lnTo>
                    <a:pt x="700" y="388"/>
                  </a:lnTo>
                  <a:lnTo>
                    <a:pt x="684" y="402"/>
                  </a:lnTo>
                  <a:lnTo>
                    <a:pt x="664" y="414"/>
                  </a:lnTo>
                  <a:lnTo>
                    <a:pt x="642" y="420"/>
                  </a:lnTo>
                  <a:lnTo>
                    <a:pt x="630" y="422"/>
                  </a:lnTo>
                  <a:lnTo>
                    <a:pt x="618" y="422"/>
                  </a:lnTo>
                  <a:lnTo>
                    <a:pt x="618" y="422"/>
                  </a:lnTo>
                  <a:close/>
                  <a:moveTo>
                    <a:pt x="406" y="404"/>
                  </a:moveTo>
                  <a:lnTo>
                    <a:pt x="618" y="404"/>
                  </a:lnTo>
                  <a:lnTo>
                    <a:pt x="618" y="404"/>
                  </a:lnTo>
                  <a:lnTo>
                    <a:pt x="638" y="402"/>
                  </a:lnTo>
                  <a:lnTo>
                    <a:pt x="656" y="398"/>
                  </a:lnTo>
                  <a:lnTo>
                    <a:pt x="672" y="388"/>
                  </a:lnTo>
                  <a:lnTo>
                    <a:pt x="688" y="376"/>
                  </a:lnTo>
                  <a:lnTo>
                    <a:pt x="700" y="362"/>
                  </a:lnTo>
                  <a:lnTo>
                    <a:pt x="708" y="344"/>
                  </a:lnTo>
                  <a:lnTo>
                    <a:pt x="714" y="326"/>
                  </a:lnTo>
                  <a:lnTo>
                    <a:pt x="716" y="306"/>
                  </a:lnTo>
                  <a:lnTo>
                    <a:pt x="716" y="306"/>
                  </a:lnTo>
                  <a:lnTo>
                    <a:pt x="716" y="292"/>
                  </a:lnTo>
                  <a:lnTo>
                    <a:pt x="712" y="280"/>
                  </a:lnTo>
                  <a:lnTo>
                    <a:pt x="708" y="266"/>
                  </a:lnTo>
                  <a:lnTo>
                    <a:pt x="702" y="256"/>
                  </a:lnTo>
                  <a:lnTo>
                    <a:pt x="694" y="244"/>
                  </a:lnTo>
                  <a:lnTo>
                    <a:pt x="684" y="234"/>
                  </a:lnTo>
                  <a:lnTo>
                    <a:pt x="674" y="226"/>
                  </a:lnTo>
                  <a:lnTo>
                    <a:pt x="662" y="218"/>
                  </a:lnTo>
                  <a:lnTo>
                    <a:pt x="656" y="216"/>
                  </a:lnTo>
                  <a:lnTo>
                    <a:pt x="658" y="208"/>
                  </a:lnTo>
                  <a:lnTo>
                    <a:pt x="658" y="208"/>
                  </a:lnTo>
                  <a:lnTo>
                    <a:pt x="660" y="196"/>
                  </a:lnTo>
                  <a:lnTo>
                    <a:pt x="660" y="184"/>
                  </a:lnTo>
                  <a:lnTo>
                    <a:pt x="660" y="184"/>
                  </a:lnTo>
                  <a:lnTo>
                    <a:pt x="658" y="164"/>
                  </a:lnTo>
                  <a:lnTo>
                    <a:pt x="654" y="144"/>
                  </a:lnTo>
                  <a:lnTo>
                    <a:pt x="644" y="128"/>
                  </a:lnTo>
                  <a:lnTo>
                    <a:pt x="632" y="114"/>
                  </a:lnTo>
                  <a:lnTo>
                    <a:pt x="618" y="102"/>
                  </a:lnTo>
                  <a:lnTo>
                    <a:pt x="600" y="92"/>
                  </a:lnTo>
                  <a:lnTo>
                    <a:pt x="582" y="86"/>
                  </a:lnTo>
                  <a:lnTo>
                    <a:pt x="562" y="84"/>
                  </a:lnTo>
                  <a:lnTo>
                    <a:pt x="562" y="84"/>
                  </a:lnTo>
                  <a:lnTo>
                    <a:pt x="548" y="86"/>
                  </a:lnTo>
                  <a:lnTo>
                    <a:pt x="532" y="90"/>
                  </a:lnTo>
                  <a:lnTo>
                    <a:pt x="518" y="96"/>
                  </a:lnTo>
                  <a:lnTo>
                    <a:pt x="506" y="104"/>
                  </a:lnTo>
                  <a:lnTo>
                    <a:pt x="496" y="110"/>
                  </a:lnTo>
                  <a:lnTo>
                    <a:pt x="492" y="100"/>
                  </a:lnTo>
                  <a:lnTo>
                    <a:pt x="492" y="100"/>
                  </a:lnTo>
                  <a:lnTo>
                    <a:pt x="482" y="82"/>
                  </a:lnTo>
                  <a:lnTo>
                    <a:pt x="472" y="66"/>
                  </a:lnTo>
                  <a:lnTo>
                    <a:pt x="458" y="52"/>
                  </a:lnTo>
                  <a:lnTo>
                    <a:pt x="444" y="40"/>
                  </a:lnTo>
                  <a:lnTo>
                    <a:pt x="426" y="32"/>
                  </a:lnTo>
                  <a:lnTo>
                    <a:pt x="410" y="24"/>
                  </a:lnTo>
                  <a:lnTo>
                    <a:pt x="390" y="20"/>
                  </a:lnTo>
                  <a:lnTo>
                    <a:pt x="370" y="18"/>
                  </a:lnTo>
                  <a:lnTo>
                    <a:pt x="370" y="18"/>
                  </a:lnTo>
                  <a:lnTo>
                    <a:pt x="350" y="20"/>
                  </a:lnTo>
                  <a:lnTo>
                    <a:pt x="330" y="26"/>
                  </a:lnTo>
                  <a:lnTo>
                    <a:pt x="310" y="32"/>
                  </a:lnTo>
                  <a:lnTo>
                    <a:pt x="294" y="44"/>
                  </a:lnTo>
                  <a:lnTo>
                    <a:pt x="278" y="56"/>
                  </a:lnTo>
                  <a:lnTo>
                    <a:pt x="264" y="72"/>
                  </a:lnTo>
                  <a:lnTo>
                    <a:pt x="254" y="90"/>
                  </a:lnTo>
                  <a:lnTo>
                    <a:pt x="246" y="110"/>
                  </a:lnTo>
                  <a:lnTo>
                    <a:pt x="244" y="118"/>
                  </a:lnTo>
                  <a:lnTo>
                    <a:pt x="234" y="116"/>
                  </a:lnTo>
                  <a:lnTo>
                    <a:pt x="234" y="116"/>
                  </a:lnTo>
                  <a:lnTo>
                    <a:pt x="224" y="112"/>
                  </a:lnTo>
                  <a:lnTo>
                    <a:pt x="212" y="112"/>
                  </a:lnTo>
                  <a:lnTo>
                    <a:pt x="202" y="112"/>
                  </a:lnTo>
                  <a:lnTo>
                    <a:pt x="190" y="114"/>
                  </a:lnTo>
                  <a:lnTo>
                    <a:pt x="170" y="120"/>
                  </a:lnTo>
                  <a:lnTo>
                    <a:pt x="152" y="130"/>
                  </a:lnTo>
                  <a:lnTo>
                    <a:pt x="136" y="144"/>
                  </a:lnTo>
                  <a:lnTo>
                    <a:pt x="124" y="160"/>
                  </a:lnTo>
                  <a:lnTo>
                    <a:pt x="116" y="180"/>
                  </a:lnTo>
                  <a:lnTo>
                    <a:pt x="114" y="190"/>
                  </a:lnTo>
                  <a:lnTo>
                    <a:pt x="112" y="202"/>
                  </a:lnTo>
                  <a:lnTo>
                    <a:pt x="112" y="208"/>
                  </a:lnTo>
                  <a:lnTo>
                    <a:pt x="104" y="210"/>
                  </a:lnTo>
                  <a:lnTo>
                    <a:pt x="104" y="210"/>
                  </a:lnTo>
                  <a:lnTo>
                    <a:pt x="86" y="214"/>
                  </a:lnTo>
                  <a:lnTo>
                    <a:pt x="70" y="220"/>
                  </a:lnTo>
                  <a:lnTo>
                    <a:pt x="56" y="230"/>
                  </a:lnTo>
                  <a:lnTo>
                    <a:pt x="42" y="242"/>
                  </a:lnTo>
                  <a:lnTo>
                    <a:pt x="32" y="256"/>
                  </a:lnTo>
                  <a:lnTo>
                    <a:pt x="24" y="272"/>
                  </a:lnTo>
                  <a:lnTo>
                    <a:pt x="20" y="288"/>
                  </a:lnTo>
                  <a:lnTo>
                    <a:pt x="18" y="306"/>
                  </a:lnTo>
                  <a:lnTo>
                    <a:pt x="18" y="306"/>
                  </a:lnTo>
                  <a:lnTo>
                    <a:pt x="20" y="326"/>
                  </a:lnTo>
                  <a:lnTo>
                    <a:pt x="26" y="344"/>
                  </a:lnTo>
                  <a:lnTo>
                    <a:pt x="36" y="362"/>
                  </a:lnTo>
                  <a:lnTo>
                    <a:pt x="48" y="376"/>
                  </a:lnTo>
                  <a:lnTo>
                    <a:pt x="62" y="388"/>
                  </a:lnTo>
                  <a:lnTo>
                    <a:pt x="78" y="398"/>
                  </a:lnTo>
                  <a:lnTo>
                    <a:pt x="96" y="402"/>
                  </a:lnTo>
                  <a:lnTo>
                    <a:pt x="116" y="404"/>
                  </a:lnTo>
                  <a:lnTo>
                    <a:pt x="328" y="404"/>
                  </a:lnTo>
                  <a:lnTo>
                    <a:pt x="328" y="404"/>
                  </a:lnTo>
                  <a:lnTo>
                    <a:pt x="334" y="392"/>
                  </a:lnTo>
                  <a:lnTo>
                    <a:pt x="342" y="382"/>
                  </a:lnTo>
                  <a:lnTo>
                    <a:pt x="354" y="376"/>
                  </a:lnTo>
                  <a:lnTo>
                    <a:pt x="360" y="374"/>
                  </a:lnTo>
                  <a:lnTo>
                    <a:pt x="368" y="374"/>
                  </a:lnTo>
                  <a:lnTo>
                    <a:pt x="368" y="374"/>
                  </a:lnTo>
                  <a:lnTo>
                    <a:pt x="374" y="374"/>
                  </a:lnTo>
                  <a:lnTo>
                    <a:pt x="380" y="376"/>
                  </a:lnTo>
                  <a:lnTo>
                    <a:pt x="392" y="382"/>
                  </a:lnTo>
                  <a:lnTo>
                    <a:pt x="400" y="392"/>
                  </a:lnTo>
                  <a:lnTo>
                    <a:pt x="406" y="404"/>
                  </a:lnTo>
                  <a:lnTo>
                    <a:pt x="406" y="404"/>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11" name="Freeform 6">
              <a:extLst>
                <a:ext uri="{FF2B5EF4-FFF2-40B4-BE49-F238E27FC236}">
                  <a16:creationId xmlns:a16="http://schemas.microsoft.com/office/drawing/2014/main" id="{AC80991B-34DE-16CE-FD5D-E37D3395CC1D}"/>
                </a:ext>
              </a:extLst>
            </p:cNvPr>
            <p:cNvSpPr>
              <a:spLocks/>
            </p:cNvSpPr>
            <p:nvPr/>
          </p:nvSpPr>
          <p:spPr bwMode="auto">
            <a:xfrm>
              <a:off x="2840" y="2201"/>
              <a:ext cx="80" cy="50"/>
            </a:xfrm>
            <a:custGeom>
              <a:avLst/>
              <a:gdLst>
                <a:gd name="T0" fmla="*/ 40 w 80"/>
                <a:gd name="T1" fmla="*/ 50 h 50"/>
                <a:gd name="T2" fmla="*/ 40 w 80"/>
                <a:gd name="T3" fmla="*/ 50 h 50"/>
                <a:gd name="T4" fmla="*/ 32 w 80"/>
                <a:gd name="T5" fmla="*/ 48 h 50"/>
                <a:gd name="T6" fmla="*/ 24 w 80"/>
                <a:gd name="T7" fmla="*/ 46 h 50"/>
                <a:gd name="T8" fmla="*/ 18 w 80"/>
                <a:gd name="T9" fmla="*/ 42 h 50"/>
                <a:gd name="T10" fmla="*/ 12 w 80"/>
                <a:gd name="T11" fmla="*/ 38 h 50"/>
                <a:gd name="T12" fmla="*/ 6 w 80"/>
                <a:gd name="T13" fmla="*/ 32 h 50"/>
                <a:gd name="T14" fmla="*/ 2 w 80"/>
                <a:gd name="T15" fmla="*/ 26 h 50"/>
                <a:gd name="T16" fmla="*/ 0 w 80"/>
                <a:gd name="T17" fmla="*/ 18 h 50"/>
                <a:gd name="T18" fmla="*/ 0 w 80"/>
                <a:gd name="T19" fmla="*/ 10 h 50"/>
                <a:gd name="T20" fmla="*/ 0 w 80"/>
                <a:gd name="T21" fmla="*/ 0 h 50"/>
                <a:gd name="T22" fmla="*/ 18 w 80"/>
                <a:gd name="T23" fmla="*/ 0 h 50"/>
                <a:gd name="T24" fmla="*/ 18 w 80"/>
                <a:gd name="T25" fmla="*/ 10 h 50"/>
                <a:gd name="T26" fmla="*/ 18 w 80"/>
                <a:gd name="T27" fmla="*/ 10 h 50"/>
                <a:gd name="T28" fmla="*/ 20 w 80"/>
                <a:gd name="T29" fmla="*/ 18 h 50"/>
                <a:gd name="T30" fmla="*/ 24 w 80"/>
                <a:gd name="T31" fmla="*/ 24 h 50"/>
                <a:gd name="T32" fmla="*/ 30 w 80"/>
                <a:gd name="T33" fmla="*/ 30 h 50"/>
                <a:gd name="T34" fmla="*/ 40 w 80"/>
                <a:gd name="T35" fmla="*/ 32 h 50"/>
                <a:gd name="T36" fmla="*/ 40 w 80"/>
                <a:gd name="T37" fmla="*/ 32 h 50"/>
                <a:gd name="T38" fmla="*/ 48 w 80"/>
                <a:gd name="T39" fmla="*/ 30 h 50"/>
                <a:gd name="T40" fmla="*/ 54 w 80"/>
                <a:gd name="T41" fmla="*/ 24 h 50"/>
                <a:gd name="T42" fmla="*/ 60 w 80"/>
                <a:gd name="T43" fmla="*/ 18 h 50"/>
                <a:gd name="T44" fmla="*/ 60 w 80"/>
                <a:gd name="T45" fmla="*/ 10 h 50"/>
                <a:gd name="T46" fmla="*/ 62 w 80"/>
                <a:gd name="T47" fmla="*/ 0 h 50"/>
                <a:gd name="T48" fmla="*/ 80 w 80"/>
                <a:gd name="T49" fmla="*/ 0 h 50"/>
                <a:gd name="T50" fmla="*/ 78 w 80"/>
                <a:gd name="T51" fmla="*/ 10 h 50"/>
                <a:gd name="T52" fmla="*/ 78 w 80"/>
                <a:gd name="T53" fmla="*/ 10 h 50"/>
                <a:gd name="T54" fmla="*/ 78 w 80"/>
                <a:gd name="T55" fmla="*/ 18 h 50"/>
                <a:gd name="T56" fmla="*/ 76 w 80"/>
                <a:gd name="T57" fmla="*/ 26 h 50"/>
                <a:gd name="T58" fmla="*/ 72 w 80"/>
                <a:gd name="T59" fmla="*/ 32 h 50"/>
                <a:gd name="T60" fmla="*/ 68 w 80"/>
                <a:gd name="T61" fmla="*/ 38 h 50"/>
                <a:gd name="T62" fmla="*/ 62 w 80"/>
                <a:gd name="T63" fmla="*/ 42 h 50"/>
                <a:gd name="T64" fmla="*/ 54 w 80"/>
                <a:gd name="T65" fmla="*/ 46 h 50"/>
                <a:gd name="T66" fmla="*/ 48 w 80"/>
                <a:gd name="T67" fmla="*/ 48 h 50"/>
                <a:gd name="T68" fmla="*/ 40 w 80"/>
                <a:gd name="T69" fmla="*/ 50 h 50"/>
                <a:gd name="T70" fmla="*/ 40 w 80"/>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50">
                  <a:moveTo>
                    <a:pt x="40" y="50"/>
                  </a:moveTo>
                  <a:lnTo>
                    <a:pt x="40" y="50"/>
                  </a:lnTo>
                  <a:lnTo>
                    <a:pt x="32" y="48"/>
                  </a:lnTo>
                  <a:lnTo>
                    <a:pt x="24" y="46"/>
                  </a:lnTo>
                  <a:lnTo>
                    <a:pt x="18" y="42"/>
                  </a:lnTo>
                  <a:lnTo>
                    <a:pt x="12" y="38"/>
                  </a:lnTo>
                  <a:lnTo>
                    <a:pt x="6" y="32"/>
                  </a:lnTo>
                  <a:lnTo>
                    <a:pt x="2" y="26"/>
                  </a:lnTo>
                  <a:lnTo>
                    <a:pt x="0" y="18"/>
                  </a:lnTo>
                  <a:lnTo>
                    <a:pt x="0" y="10"/>
                  </a:lnTo>
                  <a:lnTo>
                    <a:pt x="0" y="0"/>
                  </a:lnTo>
                  <a:lnTo>
                    <a:pt x="18" y="0"/>
                  </a:lnTo>
                  <a:lnTo>
                    <a:pt x="18" y="10"/>
                  </a:lnTo>
                  <a:lnTo>
                    <a:pt x="18" y="10"/>
                  </a:lnTo>
                  <a:lnTo>
                    <a:pt x="20" y="18"/>
                  </a:lnTo>
                  <a:lnTo>
                    <a:pt x="24" y="24"/>
                  </a:lnTo>
                  <a:lnTo>
                    <a:pt x="30" y="30"/>
                  </a:lnTo>
                  <a:lnTo>
                    <a:pt x="40" y="32"/>
                  </a:lnTo>
                  <a:lnTo>
                    <a:pt x="40" y="32"/>
                  </a:lnTo>
                  <a:lnTo>
                    <a:pt x="48" y="30"/>
                  </a:lnTo>
                  <a:lnTo>
                    <a:pt x="54" y="24"/>
                  </a:lnTo>
                  <a:lnTo>
                    <a:pt x="60" y="18"/>
                  </a:lnTo>
                  <a:lnTo>
                    <a:pt x="60" y="10"/>
                  </a:lnTo>
                  <a:lnTo>
                    <a:pt x="62" y="0"/>
                  </a:lnTo>
                  <a:lnTo>
                    <a:pt x="80" y="0"/>
                  </a:lnTo>
                  <a:lnTo>
                    <a:pt x="78" y="10"/>
                  </a:lnTo>
                  <a:lnTo>
                    <a:pt x="78" y="10"/>
                  </a:lnTo>
                  <a:lnTo>
                    <a:pt x="78" y="18"/>
                  </a:lnTo>
                  <a:lnTo>
                    <a:pt x="76" y="26"/>
                  </a:lnTo>
                  <a:lnTo>
                    <a:pt x="72" y="32"/>
                  </a:lnTo>
                  <a:lnTo>
                    <a:pt x="68" y="38"/>
                  </a:lnTo>
                  <a:lnTo>
                    <a:pt x="62" y="42"/>
                  </a:lnTo>
                  <a:lnTo>
                    <a:pt x="54" y="46"/>
                  </a:lnTo>
                  <a:lnTo>
                    <a:pt x="48" y="48"/>
                  </a:lnTo>
                  <a:lnTo>
                    <a:pt x="40" y="50"/>
                  </a:lnTo>
                  <a:lnTo>
                    <a:pt x="40" y="50"/>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12" name="Rectangle 7">
              <a:extLst>
                <a:ext uri="{FF2B5EF4-FFF2-40B4-BE49-F238E27FC236}">
                  <a16:creationId xmlns:a16="http://schemas.microsoft.com/office/drawing/2014/main" id="{E99CF887-2DBB-F9FC-ADC7-DAE54931D983}"/>
                </a:ext>
              </a:extLst>
            </p:cNvPr>
            <p:cNvSpPr>
              <a:spLocks noChangeArrowheads="1"/>
            </p:cNvSpPr>
            <p:nvPr/>
          </p:nvSpPr>
          <p:spPr bwMode="auto">
            <a:xfrm>
              <a:off x="2870" y="2233"/>
              <a:ext cx="18" cy="40"/>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13" name="Rectangle 8">
              <a:extLst>
                <a:ext uri="{FF2B5EF4-FFF2-40B4-BE49-F238E27FC236}">
                  <a16:creationId xmlns:a16="http://schemas.microsoft.com/office/drawing/2014/main" id="{CFEBB900-CFF9-C6A3-B984-EF79867677FE}"/>
                </a:ext>
              </a:extLst>
            </p:cNvPr>
            <p:cNvSpPr>
              <a:spLocks noChangeArrowheads="1"/>
            </p:cNvSpPr>
            <p:nvPr/>
          </p:nvSpPr>
          <p:spPr bwMode="auto">
            <a:xfrm>
              <a:off x="2594" y="2263"/>
              <a:ext cx="18" cy="40"/>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14" name="Rectangle 9">
              <a:extLst>
                <a:ext uri="{FF2B5EF4-FFF2-40B4-BE49-F238E27FC236}">
                  <a16:creationId xmlns:a16="http://schemas.microsoft.com/office/drawing/2014/main" id="{7D218B4D-C617-8A9C-197F-4EA303B3415A}"/>
                </a:ext>
              </a:extLst>
            </p:cNvPr>
            <p:cNvSpPr>
              <a:spLocks noChangeArrowheads="1"/>
            </p:cNvSpPr>
            <p:nvPr/>
          </p:nvSpPr>
          <p:spPr bwMode="auto">
            <a:xfrm>
              <a:off x="3146" y="2263"/>
              <a:ext cx="18" cy="40"/>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15" name="Rectangle 10">
              <a:extLst>
                <a:ext uri="{FF2B5EF4-FFF2-40B4-BE49-F238E27FC236}">
                  <a16:creationId xmlns:a16="http://schemas.microsoft.com/office/drawing/2014/main" id="{CEFFD5B2-3D4C-FFCE-AB7C-900C51A39420}"/>
                </a:ext>
              </a:extLst>
            </p:cNvPr>
            <p:cNvSpPr>
              <a:spLocks noChangeArrowheads="1"/>
            </p:cNvSpPr>
            <p:nvPr/>
          </p:nvSpPr>
          <p:spPr bwMode="auto">
            <a:xfrm>
              <a:off x="2870" y="2263"/>
              <a:ext cx="18" cy="40"/>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16" name="Rectangle 11">
              <a:extLst>
                <a:ext uri="{FF2B5EF4-FFF2-40B4-BE49-F238E27FC236}">
                  <a16:creationId xmlns:a16="http://schemas.microsoft.com/office/drawing/2014/main" id="{E890BA44-6677-537D-C510-A0B1C1D1CC78}"/>
                </a:ext>
              </a:extLst>
            </p:cNvPr>
            <p:cNvSpPr>
              <a:spLocks noChangeArrowheads="1"/>
            </p:cNvSpPr>
            <p:nvPr/>
          </p:nvSpPr>
          <p:spPr bwMode="auto">
            <a:xfrm>
              <a:off x="2594" y="2263"/>
              <a:ext cx="570" cy="18"/>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17" name="Freeform 12">
              <a:extLst>
                <a:ext uri="{FF2B5EF4-FFF2-40B4-BE49-F238E27FC236}">
                  <a16:creationId xmlns:a16="http://schemas.microsoft.com/office/drawing/2014/main" id="{A9266C81-ABDC-9796-95A6-B18222D133FD}"/>
                </a:ext>
              </a:extLst>
            </p:cNvPr>
            <p:cNvSpPr>
              <a:spLocks noEditPoints="1"/>
            </p:cNvSpPr>
            <p:nvPr/>
          </p:nvSpPr>
          <p:spPr bwMode="auto">
            <a:xfrm>
              <a:off x="2510" y="2323"/>
              <a:ext cx="186" cy="78"/>
            </a:xfrm>
            <a:custGeom>
              <a:avLst/>
              <a:gdLst>
                <a:gd name="T0" fmla="*/ 186 w 186"/>
                <a:gd name="T1" fmla="*/ 78 h 78"/>
                <a:gd name="T2" fmla="*/ 0 w 186"/>
                <a:gd name="T3" fmla="*/ 78 h 78"/>
                <a:gd name="T4" fmla="*/ 0 w 186"/>
                <a:gd name="T5" fmla="*/ 0 h 78"/>
                <a:gd name="T6" fmla="*/ 186 w 186"/>
                <a:gd name="T7" fmla="*/ 0 h 78"/>
                <a:gd name="T8" fmla="*/ 186 w 186"/>
                <a:gd name="T9" fmla="*/ 78 h 78"/>
                <a:gd name="T10" fmla="*/ 18 w 186"/>
                <a:gd name="T11" fmla="*/ 60 h 78"/>
                <a:gd name="T12" fmla="*/ 168 w 186"/>
                <a:gd name="T13" fmla="*/ 60 h 78"/>
                <a:gd name="T14" fmla="*/ 168 w 186"/>
                <a:gd name="T15" fmla="*/ 18 h 78"/>
                <a:gd name="T16" fmla="*/ 18 w 186"/>
                <a:gd name="T17" fmla="*/ 18 h 78"/>
                <a:gd name="T18" fmla="*/ 18 w 186"/>
                <a:gd name="T19"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78">
                  <a:moveTo>
                    <a:pt x="186" y="78"/>
                  </a:moveTo>
                  <a:lnTo>
                    <a:pt x="0" y="78"/>
                  </a:lnTo>
                  <a:lnTo>
                    <a:pt x="0" y="0"/>
                  </a:lnTo>
                  <a:lnTo>
                    <a:pt x="186" y="0"/>
                  </a:lnTo>
                  <a:lnTo>
                    <a:pt x="186" y="78"/>
                  </a:lnTo>
                  <a:close/>
                  <a:moveTo>
                    <a:pt x="18" y="60"/>
                  </a:moveTo>
                  <a:lnTo>
                    <a:pt x="168" y="60"/>
                  </a:lnTo>
                  <a:lnTo>
                    <a:pt x="168" y="18"/>
                  </a:lnTo>
                  <a:lnTo>
                    <a:pt x="18" y="18"/>
                  </a:lnTo>
                  <a:lnTo>
                    <a:pt x="18" y="60"/>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18" name="Freeform 13">
              <a:extLst>
                <a:ext uri="{FF2B5EF4-FFF2-40B4-BE49-F238E27FC236}">
                  <a16:creationId xmlns:a16="http://schemas.microsoft.com/office/drawing/2014/main" id="{24B0D1BA-3FA8-E17A-4162-6C4B4FF2E63D}"/>
                </a:ext>
              </a:extLst>
            </p:cNvPr>
            <p:cNvSpPr>
              <a:spLocks noEditPoints="1"/>
            </p:cNvSpPr>
            <p:nvPr/>
          </p:nvSpPr>
          <p:spPr bwMode="auto">
            <a:xfrm>
              <a:off x="2510" y="2383"/>
              <a:ext cx="186" cy="80"/>
            </a:xfrm>
            <a:custGeom>
              <a:avLst/>
              <a:gdLst>
                <a:gd name="T0" fmla="*/ 186 w 186"/>
                <a:gd name="T1" fmla="*/ 80 h 80"/>
                <a:gd name="T2" fmla="*/ 0 w 186"/>
                <a:gd name="T3" fmla="*/ 80 h 80"/>
                <a:gd name="T4" fmla="*/ 0 w 186"/>
                <a:gd name="T5" fmla="*/ 0 h 80"/>
                <a:gd name="T6" fmla="*/ 186 w 186"/>
                <a:gd name="T7" fmla="*/ 0 h 80"/>
                <a:gd name="T8" fmla="*/ 186 w 186"/>
                <a:gd name="T9" fmla="*/ 80 h 80"/>
                <a:gd name="T10" fmla="*/ 18 w 186"/>
                <a:gd name="T11" fmla="*/ 62 h 80"/>
                <a:gd name="T12" fmla="*/ 168 w 186"/>
                <a:gd name="T13" fmla="*/ 62 h 80"/>
                <a:gd name="T14" fmla="*/ 168 w 186"/>
                <a:gd name="T15" fmla="*/ 18 h 80"/>
                <a:gd name="T16" fmla="*/ 18 w 186"/>
                <a:gd name="T17" fmla="*/ 18 h 80"/>
                <a:gd name="T18" fmla="*/ 18 w 186"/>
                <a:gd name="T19"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80">
                  <a:moveTo>
                    <a:pt x="186" y="80"/>
                  </a:moveTo>
                  <a:lnTo>
                    <a:pt x="0" y="80"/>
                  </a:lnTo>
                  <a:lnTo>
                    <a:pt x="0" y="0"/>
                  </a:lnTo>
                  <a:lnTo>
                    <a:pt x="186" y="0"/>
                  </a:lnTo>
                  <a:lnTo>
                    <a:pt x="186" y="80"/>
                  </a:lnTo>
                  <a:close/>
                  <a:moveTo>
                    <a:pt x="18" y="62"/>
                  </a:moveTo>
                  <a:lnTo>
                    <a:pt x="168" y="62"/>
                  </a:lnTo>
                  <a:lnTo>
                    <a:pt x="168" y="18"/>
                  </a:lnTo>
                  <a:lnTo>
                    <a:pt x="18" y="18"/>
                  </a:lnTo>
                  <a:lnTo>
                    <a:pt x="18" y="62"/>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19" name="Freeform 14">
              <a:extLst>
                <a:ext uri="{FF2B5EF4-FFF2-40B4-BE49-F238E27FC236}">
                  <a16:creationId xmlns:a16="http://schemas.microsoft.com/office/drawing/2014/main" id="{BDA914A6-CCF6-FFB7-7BC7-6B6B51498328}"/>
                </a:ext>
              </a:extLst>
            </p:cNvPr>
            <p:cNvSpPr>
              <a:spLocks noEditPoints="1"/>
            </p:cNvSpPr>
            <p:nvPr/>
          </p:nvSpPr>
          <p:spPr bwMode="auto">
            <a:xfrm>
              <a:off x="2510" y="2445"/>
              <a:ext cx="186" cy="78"/>
            </a:xfrm>
            <a:custGeom>
              <a:avLst/>
              <a:gdLst>
                <a:gd name="T0" fmla="*/ 186 w 186"/>
                <a:gd name="T1" fmla="*/ 78 h 78"/>
                <a:gd name="T2" fmla="*/ 0 w 186"/>
                <a:gd name="T3" fmla="*/ 78 h 78"/>
                <a:gd name="T4" fmla="*/ 0 w 186"/>
                <a:gd name="T5" fmla="*/ 0 h 78"/>
                <a:gd name="T6" fmla="*/ 186 w 186"/>
                <a:gd name="T7" fmla="*/ 0 h 78"/>
                <a:gd name="T8" fmla="*/ 186 w 186"/>
                <a:gd name="T9" fmla="*/ 78 h 78"/>
                <a:gd name="T10" fmla="*/ 18 w 186"/>
                <a:gd name="T11" fmla="*/ 60 h 78"/>
                <a:gd name="T12" fmla="*/ 168 w 186"/>
                <a:gd name="T13" fmla="*/ 60 h 78"/>
                <a:gd name="T14" fmla="*/ 168 w 186"/>
                <a:gd name="T15" fmla="*/ 18 h 78"/>
                <a:gd name="T16" fmla="*/ 18 w 186"/>
                <a:gd name="T17" fmla="*/ 18 h 78"/>
                <a:gd name="T18" fmla="*/ 18 w 186"/>
                <a:gd name="T19"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78">
                  <a:moveTo>
                    <a:pt x="186" y="78"/>
                  </a:moveTo>
                  <a:lnTo>
                    <a:pt x="0" y="78"/>
                  </a:lnTo>
                  <a:lnTo>
                    <a:pt x="0" y="0"/>
                  </a:lnTo>
                  <a:lnTo>
                    <a:pt x="186" y="0"/>
                  </a:lnTo>
                  <a:lnTo>
                    <a:pt x="186" y="78"/>
                  </a:lnTo>
                  <a:close/>
                  <a:moveTo>
                    <a:pt x="18" y="60"/>
                  </a:moveTo>
                  <a:lnTo>
                    <a:pt x="168" y="60"/>
                  </a:lnTo>
                  <a:lnTo>
                    <a:pt x="168" y="18"/>
                  </a:lnTo>
                  <a:lnTo>
                    <a:pt x="18" y="18"/>
                  </a:lnTo>
                  <a:lnTo>
                    <a:pt x="18" y="60"/>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20" name="Freeform 15">
              <a:extLst>
                <a:ext uri="{FF2B5EF4-FFF2-40B4-BE49-F238E27FC236}">
                  <a16:creationId xmlns:a16="http://schemas.microsoft.com/office/drawing/2014/main" id="{7FBB84EB-9E5F-DD8D-50D9-6BAB7690834F}"/>
                </a:ext>
              </a:extLst>
            </p:cNvPr>
            <p:cNvSpPr>
              <a:spLocks noEditPoints="1"/>
            </p:cNvSpPr>
            <p:nvPr/>
          </p:nvSpPr>
          <p:spPr bwMode="auto">
            <a:xfrm>
              <a:off x="3062" y="2323"/>
              <a:ext cx="188" cy="78"/>
            </a:xfrm>
            <a:custGeom>
              <a:avLst/>
              <a:gdLst>
                <a:gd name="T0" fmla="*/ 188 w 188"/>
                <a:gd name="T1" fmla="*/ 78 h 78"/>
                <a:gd name="T2" fmla="*/ 0 w 188"/>
                <a:gd name="T3" fmla="*/ 78 h 78"/>
                <a:gd name="T4" fmla="*/ 0 w 188"/>
                <a:gd name="T5" fmla="*/ 0 h 78"/>
                <a:gd name="T6" fmla="*/ 188 w 188"/>
                <a:gd name="T7" fmla="*/ 0 h 78"/>
                <a:gd name="T8" fmla="*/ 188 w 188"/>
                <a:gd name="T9" fmla="*/ 78 h 78"/>
                <a:gd name="T10" fmla="*/ 18 w 188"/>
                <a:gd name="T11" fmla="*/ 60 h 78"/>
                <a:gd name="T12" fmla="*/ 170 w 188"/>
                <a:gd name="T13" fmla="*/ 60 h 78"/>
                <a:gd name="T14" fmla="*/ 170 w 188"/>
                <a:gd name="T15" fmla="*/ 18 h 78"/>
                <a:gd name="T16" fmla="*/ 18 w 188"/>
                <a:gd name="T17" fmla="*/ 18 h 78"/>
                <a:gd name="T18" fmla="*/ 18 w 188"/>
                <a:gd name="T19"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78">
                  <a:moveTo>
                    <a:pt x="188" y="78"/>
                  </a:moveTo>
                  <a:lnTo>
                    <a:pt x="0" y="78"/>
                  </a:lnTo>
                  <a:lnTo>
                    <a:pt x="0" y="0"/>
                  </a:lnTo>
                  <a:lnTo>
                    <a:pt x="188" y="0"/>
                  </a:lnTo>
                  <a:lnTo>
                    <a:pt x="188" y="78"/>
                  </a:lnTo>
                  <a:close/>
                  <a:moveTo>
                    <a:pt x="18" y="60"/>
                  </a:moveTo>
                  <a:lnTo>
                    <a:pt x="170" y="60"/>
                  </a:lnTo>
                  <a:lnTo>
                    <a:pt x="170" y="18"/>
                  </a:lnTo>
                  <a:lnTo>
                    <a:pt x="18" y="18"/>
                  </a:lnTo>
                  <a:lnTo>
                    <a:pt x="18" y="60"/>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21" name="Freeform 16">
              <a:extLst>
                <a:ext uri="{FF2B5EF4-FFF2-40B4-BE49-F238E27FC236}">
                  <a16:creationId xmlns:a16="http://schemas.microsoft.com/office/drawing/2014/main" id="{C6E1CBC1-BD9A-3F1C-723C-6B1F949288D1}"/>
                </a:ext>
              </a:extLst>
            </p:cNvPr>
            <p:cNvSpPr>
              <a:spLocks noEditPoints="1"/>
            </p:cNvSpPr>
            <p:nvPr/>
          </p:nvSpPr>
          <p:spPr bwMode="auto">
            <a:xfrm>
              <a:off x="3062" y="2383"/>
              <a:ext cx="188" cy="80"/>
            </a:xfrm>
            <a:custGeom>
              <a:avLst/>
              <a:gdLst>
                <a:gd name="T0" fmla="*/ 188 w 188"/>
                <a:gd name="T1" fmla="*/ 80 h 80"/>
                <a:gd name="T2" fmla="*/ 0 w 188"/>
                <a:gd name="T3" fmla="*/ 80 h 80"/>
                <a:gd name="T4" fmla="*/ 0 w 188"/>
                <a:gd name="T5" fmla="*/ 0 h 80"/>
                <a:gd name="T6" fmla="*/ 188 w 188"/>
                <a:gd name="T7" fmla="*/ 0 h 80"/>
                <a:gd name="T8" fmla="*/ 188 w 188"/>
                <a:gd name="T9" fmla="*/ 80 h 80"/>
                <a:gd name="T10" fmla="*/ 18 w 188"/>
                <a:gd name="T11" fmla="*/ 62 h 80"/>
                <a:gd name="T12" fmla="*/ 170 w 188"/>
                <a:gd name="T13" fmla="*/ 62 h 80"/>
                <a:gd name="T14" fmla="*/ 170 w 188"/>
                <a:gd name="T15" fmla="*/ 18 h 80"/>
                <a:gd name="T16" fmla="*/ 18 w 188"/>
                <a:gd name="T17" fmla="*/ 18 h 80"/>
                <a:gd name="T18" fmla="*/ 18 w 188"/>
                <a:gd name="T19"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80">
                  <a:moveTo>
                    <a:pt x="188" y="80"/>
                  </a:moveTo>
                  <a:lnTo>
                    <a:pt x="0" y="80"/>
                  </a:lnTo>
                  <a:lnTo>
                    <a:pt x="0" y="0"/>
                  </a:lnTo>
                  <a:lnTo>
                    <a:pt x="188" y="0"/>
                  </a:lnTo>
                  <a:lnTo>
                    <a:pt x="188" y="80"/>
                  </a:lnTo>
                  <a:close/>
                  <a:moveTo>
                    <a:pt x="18" y="62"/>
                  </a:moveTo>
                  <a:lnTo>
                    <a:pt x="170" y="62"/>
                  </a:lnTo>
                  <a:lnTo>
                    <a:pt x="170" y="18"/>
                  </a:lnTo>
                  <a:lnTo>
                    <a:pt x="18" y="18"/>
                  </a:lnTo>
                  <a:lnTo>
                    <a:pt x="18" y="62"/>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22" name="Freeform 17">
              <a:extLst>
                <a:ext uri="{FF2B5EF4-FFF2-40B4-BE49-F238E27FC236}">
                  <a16:creationId xmlns:a16="http://schemas.microsoft.com/office/drawing/2014/main" id="{AA1210F2-EE28-4A91-EB96-30E32A5425B8}"/>
                </a:ext>
              </a:extLst>
            </p:cNvPr>
            <p:cNvSpPr>
              <a:spLocks noEditPoints="1"/>
            </p:cNvSpPr>
            <p:nvPr/>
          </p:nvSpPr>
          <p:spPr bwMode="auto">
            <a:xfrm>
              <a:off x="3062" y="2445"/>
              <a:ext cx="188" cy="78"/>
            </a:xfrm>
            <a:custGeom>
              <a:avLst/>
              <a:gdLst>
                <a:gd name="T0" fmla="*/ 188 w 188"/>
                <a:gd name="T1" fmla="*/ 78 h 78"/>
                <a:gd name="T2" fmla="*/ 0 w 188"/>
                <a:gd name="T3" fmla="*/ 78 h 78"/>
                <a:gd name="T4" fmla="*/ 0 w 188"/>
                <a:gd name="T5" fmla="*/ 0 h 78"/>
                <a:gd name="T6" fmla="*/ 188 w 188"/>
                <a:gd name="T7" fmla="*/ 0 h 78"/>
                <a:gd name="T8" fmla="*/ 188 w 188"/>
                <a:gd name="T9" fmla="*/ 78 h 78"/>
                <a:gd name="T10" fmla="*/ 18 w 188"/>
                <a:gd name="T11" fmla="*/ 60 h 78"/>
                <a:gd name="T12" fmla="*/ 170 w 188"/>
                <a:gd name="T13" fmla="*/ 60 h 78"/>
                <a:gd name="T14" fmla="*/ 170 w 188"/>
                <a:gd name="T15" fmla="*/ 18 h 78"/>
                <a:gd name="T16" fmla="*/ 18 w 188"/>
                <a:gd name="T17" fmla="*/ 18 h 78"/>
                <a:gd name="T18" fmla="*/ 18 w 188"/>
                <a:gd name="T19"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78">
                  <a:moveTo>
                    <a:pt x="188" y="78"/>
                  </a:moveTo>
                  <a:lnTo>
                    <a:pt x="0" y="78"/>
                  </a:lnTo>
                  <a:lnTo>
                    <a:pt x="0" y="0"/>
                  </a:lnTo>
                  <a:lnTo>
                    <a:pt x="188" y="0"/>
                  </a:lnTo>
                  <a:lnTo>
                    <a:pt x="188" y="78"/>
                  </a:lnTo>
                  <a:close/>
                  <a:moveTo>
                    <a:pt x="18" y="60"/>
                  </a:moveTo>
                  <a:lnTo>
                    <a:pt x="170" y="60"/>
                  </a:lnTo>
                  <a:lnTo>
                    <a:pt x="170" y="18"/>
                  </a:lnTo>
                  <a:lnTo>
                    <a:pt x="18" y="18"/>
                  </a:lnTo>
                  <a:lnTo>
                    <a:pt x="18" y="60"/>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23" name="Freeform 18">
              <a:extLst>
                <a:ext uri="{FF2B5EF4-FFF2-40B4-BE49-F238E27FC236}">
                  <a16:creationId xmlns:a16="http://schemas.microsoft.com/office/drawing/2014/main" id="{95BC7DBA-B7DC-5992-1DD6-408C9F0C0D2F}"/>
                </a:ext>
              </a:extLst>
            </p:cNvPr>
            <p:cNvSpPr>
              <a:spLocks noEditPoints="1"/>
            </p:cNvSpPr>
            <p:nvPr/>
          </p:nvSpPr>
          <p:spPr bwMode="auto">
            <a:xfrm>
              <a:off x="2786" y="2323"/>
              <a:ext cx="186" cy="78"/>
            </a:xfrm>
            <a:custGeom>
              <a:avLst/>
              <a:gdLst>
                <a:gd name="T0" fmla="*/ 186 w 186"/>
                <a:gd name="T1" fmla="*/ 78 h 78"/>
                <a:gd name="T2" fmla="*/ 0 w 186"/>
                <a:gd name="T3" fmla="*/ 78 h 78"/>
                <a:gd name="T4" fmla="*/ 0 w 186"/>
                <a:gd name="T5" fmla="*/ 0 h 78"/>
                <a:gd name="T6" fmla="*/ 186 w 186"/>
                <a:gd name="T7" fmla="*/ 0 h 78"/>
                <a:gd name="T8" fmla="*/ 186 w 186"/>
                <a:gd name="T9" fmla="*/ 78 h 78"/>
                <a:gd name="T10" fmla="*/ 18 w 186"/>
                <a:gd name="T11" fmla="*/ 60 h 78"/>
                <a:gd name="T12" fmla="*/ 168 w 186"/>
                <a:gd name="T13" fmla="*/ 60 h 78"/>
                <a:gd name="T14" fmla="*/ 168 w 186"/>
                <a:gd name="T15" fmla="*/ 18 h 78"/>
                <a:gd name="T16" fmla="*/ 18 w 186"/>
                <a:gd name="T17" fmla="*/ 18 h 78"/>
                <a:gd name="T18" fmla="*/ 18 w 186"/>
                <a:gd name="T19"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78">
                  <a:moveTo>
                    <a:pt x="186" y="78"/>
                  </a:moveTo>
                  <a:lnTo>
                    <a:pt x="0" y="78"/>
                  </a:lnTo>
                  <a:lnTo>
                    <a:pt x="0" y="0"/>
                  </a:lnTo>
                  <a:lnTo>
                    <a:pt x="186" y="0"/>
                  </a:lnTo>
                  <a:lnTo>
                    <a:pt x="186" y="78"/>
                  </a:lnTo>
                  <a:close/>
                  <a:moveTo>
                    <a:pt x="18" y="60"/>
                  </a:moveTo>
                  <a:lnTo>
                    <a:pt x="168" y="60"/>
                  </a:lnTo>
                  <a:lnTo>
                    <a:pt x="168" y="18"/>
                  </a:lnTo>
                  <a:lnTo>
                    <a:pt x="18" y="18"/>
                  </a:lnTo>
                  <a:lnTo>
                    <a:pt x="18" y="60"/>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24" name="Freeform 19">
              <a:extLst>
                <a:ext uri="{FF2B5EF4-FFF2-40B4-BE49-F238E27FC236}">
                  <a16:creationId xmlns:a16="http://schemas.microsoft.com/office/drawing/2014/main" id="{8CB2D72D-EBEC-6952-3430-01D08FC471A6}"/>
                </a:ext>
              </a:extLst>
            </p:cNvPr>
            <p:cNvSpPr>
              <a:spLocks noEditPoints="1"/>
            </p:cNvSpPr>
            <p:nvPr/>
          </p:nvSpPr>
          <p:spPr bwMode="auto">
            <a:xfrm>
              <a:off x="2786" y="2383"/>
              <a:ext cx="186" cy="80"/>
            </a:xfrm>
            <a:custGeom>
              <a:avLst/>
              <a:gdLst>
                <a:gd name="T0" fmla="*/ 186 w 186"/>
                <a:gd name="T1" fmla="*/ 80 h 80"/>
                <a:gd name="T2" fmla="*/ 0 w 186"/>
                <a:gd name="T3" fmla="*/ 80 h 80"/>
                <a:gd name="T4" fmla="*/ 0 w 186"/>
                <a:gd name="T5" fmla="*/ 0 h 80"/>
                <a:gd name="T6" fmla="*/ 186 w 186"/>
                <a:gd name="T7" fmla="*/ 0 h 80"/>
                <a:gd name="T8" fmla="*/ 186 w 186"/>
                <a:gd name="T9" fmla="*/ 80 h 80"/>
                <a:gd name="T10" fmla="*/ 18 w 186"/>
                <a:gd name="T11" fmla="*/ 62 h 80"/>
                <a:gd name="T12" fmla="*/ 168 w 186"/>
                <a:gd name="T13" fmla="*/ 62 h 80"/>
                <a:gd name="T14" fmla="*/ 168 w 186"/>
                <a:gd name="T15" fmla="*/ 18 h 80"/>
                <a:gd name="T16" fmla="*/ 18 w 186"/>
                <a:gd name="T17" fmla="*/ 18 h 80"/>
                <a:gd name="T18" fmla="*/ 18 w 186"/>
                <a:gd name="T19"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80">
                  <a:moveTo>
                    <a:pt x="186" y="80"/>
                  </a:moveTo>
                  <a:lnTo>
                    <a:pt x="0" y="80"/>
                  </a:lnTo>
                  <a:lnTo>
                    <a:pt x="0" y="0"/>
                  </a:lnTo>
                  <a:lnTo>
                    <a:pt x="186" y="0"/>
                  </a:lnTo>
                  <a:lnTo>
                    <a:pt x="186" y="80"/>
                  </a:lnTo>
                  <a:close/>
                  <a:moveTo>
                    <a:pt x="18" y="62"/>
                  </a:moveTo>
                  <a:lnTo>
                    <a:pt x="168" y="62"/>
                  </a:lnTo>
                  <a:lnTo>
                    <a:pt x="168" y="18"/>
                  </a:lnTo>
                  <a:lnTo>
                    <a:pt x="18" y="18"/>
                  </a:lnTo>
                  <a:lnTo>
                    <a:pt x="18" y="62"/>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25" name="Freeform 20">
              <a:extLst>
                <a:ext uri="{FF2B5EF4-FFF2-40B4-BE49-F238E27FC236}">
                  <a16:creationId xmlns:a16="http://schemas.microsoft.com/office/drawing/2014/main" id="{DA0E5D99-93B4-5CDF-CC48-52997AC527DE}"/>
                </a:ext>
              </a:extLst>
            </p:cNvPr>
            <p:cNvSpPr>
              <a:spLocks noEditPoints="1"/>
            </p:cNvSpPr>
            <p:nvPr/>
          </p:nvSpPr>
          <p:spPr bwMode="auto">
            <a:xfrm>
              <a:off x="2786" y="2445"/>
              <a:ext cx="186" cy="78"/>
            </a:xfrm>
            <a:custGeom>
              <a:avLst/>
              <a:gdLst>
                <a:gd name="T0" fmla="*/ 186 w 186"/>
                <a:gd name="T1" fmla="*/ 78 h 78"/>
                <a:gd name="T2" fmla="*/ 0 w 186"/>
                <a:gd name="T3" fmla="*/ 78 h 78"/>
                <a:gd name="T4" fmla="*/ 0 w 186"/>
                <a:gd name="T5" fmla="*/ 0 h 78"/>
                <a:gd name="T6" fmla="*/ 186 w 186"/>
                <a:gd name="T7" fmla="*/ 0 h 78"/>
                <a:gd name="T8" fmla="*/ 186 w 186"/>
                <a:gd name="T9" fmla="*/ 78 h 78"/>
                <a:gd name="T10" fmla="*/ 18 w 186"/>
                <a:gd name="T11" fmla="*/ 60 h 78"/>
                <a:gd name="T12" fmla="*/ 168 w 186"/>
                <a:gd name="T13" fmla="*/ 60 h 78"/>
                <a:gd name="T14" fmla="*/ 168 w 186"/>
                <a:gd name="T15" fmla="*/ 18 h 78"/>
                <a:gd name="T16" fmla="*/ 18 w 186"/>
                <a:gd name="T17" fmla="*/ 18 h 78"/>
                <a:gd name="T18" fmla="*/ 18 w 186"/>
                <a:gd name="T19"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78">
                  <a:moveTo>
                    <a:pt x="186" y="78"/>
                  </a:moveTo>
                  <a:lnTo>
                    <a:pt x="0" y="78"/>
                  </a:lnTo>
                  <a:lnTo>
                    <a:pt x="0" y="0"/>
                  </a:lnTo>
                  <a:lnTo>
                    <a:pt x="186" y="0"/>
                  </a:lnTo>
                  <a:lnTo>
                    <a:pt x="186" y="78"/>
                  </a:lnTo>
                  <a:close/>
                  <a:moveTo>
                    <a:pt x="18" y="60"/>
                  </a:moveTo>
                  <a:lnTo>
                    <a:pt x="168" y="60"/>
                  </a:lnTo>
                  <a:lnTo>
                    <a:pt x="168" y="18"/>
                  </a:lnTo>
                  <a:lnTo>
                    <a:pt x="18" y="18"/>
                  </a:lnTo>
                  <a:lnTo>
                    <a:pt x="18" y="60"/>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26" name="Rectangle 21">
              <a:extLst>
                <a:ext uri="{FF2B5EF4-FFF2-40B4-BE49-F238E27FC236}">
                  <a16:creationId xmlns:a16="http://schemas.microsoft.com/office/drawing/2014/main" id="{9DA6FEB7-F7FC-8078-0015-3F980275DD34}"/>
                </a:ext>
              </a:extLst>
            </p:cNvPr>
            <p:cNvSpPr>
              <a:spLocks noChangeArrowheads="1"/>
            </p:cNvSpPr>
            <p:nvPr/>
          </p:nvSpPr>
          <p:spPr bwMode="auto">
            <a:xfrm>
              <a:off x="2638" y="2353"/>
              <a:ext cx="22" cy="18"/>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27" name="Rectangle 22">
              <a:extLst>
                <a:ext uri="{FF2B5EF4-FFF2-40B4-BE49-F238E27FC236}">
                  <a16:creationId xmlns:a16="http://schemas.microsoft.com/office/drawing/2014/main" id="{AEFD475A-936E-6EE6-C842-9EE9DB9EBC09}"/>
                </a:ext>
              </a:extLst>
            </p:cNvPr>
            <p:cNvSpPr>
              <a:spLocks noChangeArrowheads="1"/>
            </p:cNvSpPr>
            <p:nvPr/>
          </p:nvSpPr>
          <p:spPr bwMode="auto">
            <a:xfrm>
              <a:off x="2638" y="2415"/>
              <a:ext cx="22" cy="18"/>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28" name="Rectangle 23">
              <a:extLst>
                <a:ext uri="{FF2B5EF4-FFF2-40B4-BE49-F238E27FC236}">
                  <a16:creationId xmlns:a16="http://schemas.microsoft.com/office/drawing/2014/main" id="{581917E5-49DF-76ED-3C67-E48C2F2EA42C}"/>
                </a:ext>
              </a:extLst>
            </p:cNvPr>
            <p:cNvSpPr>
              <a:spLocks noChangeArrowheads="1"/>
            </p:cNvSpPr>
            <p:nvPr/>
          </p:nvSpPr>
          <p:spPr bwMode="auto">
            <a:xfrm>
              <a:off x="2638" y="2475"/>
              <a:ext cx="22" cy="18"/>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29" name="Rectangle 24">
              <a:extLst>
                <a:ext uri="{FF2B5EF4-FFF2-40B4-BE49-F238E27FC236}">
                  <a16:creationId xmlns:a16="http://schemas.microsoft.com/office/drawing/2014/main" id="{49C35839-E668-7933-1150-76E8FC8E4BD0}"/>
                </a:ext>
              </a:extLst>
            </p:cNvPr>
            <p:cNvSpPr>
              <a:spLocks noChangeArrowheads="1"/>
            </p:cNvSpPr>
            <p:nvPr/>
          </p:nvSpPr>
          <p:spPr bwMode="auto">
            <a:xfrm>
              <a:off x="2914" y="2353"/>
              <a:ext cx="22" cy="18"/>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30" name="Rectangle 25">
              <a:extLst>
                <a:ext uri="{FF2B5EF4-FFF2-40B4-BE49-F238E27FC236}">
                  <a16:creationId xmlns:a16="http://schemas.microsoft.com/office/drawing/2014/main" id="{54CBB808-A628-9D8A-49BD-A4B41E21D89B}"/>
                </a:ext>
              </a:extLst>
            </p:cNvPr>
            <p:cNvSpPr>
              <a:spLocks noChangeArrowheads="1"/>
            </p:cNvSpPr>
            <p:nvPr/>
          </p:nvSpPr>
          <p:spPr bwMode="auto">
            <a:xfrm>
              <a:off x="2914" y="2415"/>
              <a:ext cx="22" cy="18"/>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31" name="Rectangle 26">
              <a:extLst>
                <a:ext uri="{FF2B5EF4-FFF2-40B4-BE49-F238E27FC236}">
                  <a16:creationId xmlns:a16="http://schemas.microsoft.com/office/drawing/2014/main" id="{A1CF5ABF-270D-6CEE-9843-2EFFE4EF62D1}"/>
                </a:ext>
              </a:extLst>
            </p:cNvPr>
            <p:cNvSpPr>
              <a:spLocks noChangeArrowheads="1"/>
            </p:cNvSpPr>
            <p:nvPr/>
          </p:nvSpPr>
          <p:spPr bwMode="auto">
            <a:xfrm>
              <a:off x="2914" y="2475"/>
              <a:ext cx="22" cy="18"/>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32" name="Rectangle 27">
              <a:extLst>
                <a:ext uri="{FF2B5EF4-FFF2-40B4-BE49-F238E27FC236}">
                  <a16:creationId xmlns:a16="http://schemas.microsoft.com/office/drawing/2014/main" id="{78C48716-543F-A7EA-00E3-E93D391A9F9C}"/>
                </a:ext>
              </a:extLst>
            </p:cNvPr>
            <p:cNvSpPr>
              <a:spLocks noChangeArrowheads="1"/>
            </p:cNvSpPr>
            <p:nvPr/>
          </p:nvSpPr>
          <p:spPr bwMode="auto">
            <a:xfrm>
              <a:off x="3190" y="2353"/>
              <a:ext cx="24" cy="18"/>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33" name="Rectangle 28">
              <a:extLst>
                <a:ext uri="{FF2B5EF4-FFF2-40B4-BE49-F238E27FC236}">
                  <a16:creationId xmlns:a16="http://schemas.microsoft.com/office/drawing/2014/main" id="{258DB86E-426A-949C-EA63-5014A07CC4C8}"/>
                </a:ext>
              </a:extLst>
            </p:cNvPr>
            <p:cNvSpPr>
              <a:spLocks noChangeArrowheads="1"/>
            </p:cNvSpPr>
            <p:nvPr/>
          </p:nvSpPr>
          <p:spPr bwMode="auto">
            <a:xfrm>
              <a:off x="3190" y="2415"/>
              <a:ext cx="24" cy="18"/>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34" name="Rectangle 29">
              <a:extLst>
                <a:ext uri="{FF2B5EF4-FFF2-40B4-BE49-F238E27FC236}">
                  <a16:creationId xmlns:a16="http://schemas.microsoft.com/office/drawing/2014/main" id="{9D5BA1F7-3610-A90F-2A2E-7B2D3CE517CD}"/>
                </a:ext>
              </a:extLst>
            </p:cNvPr>
            <p:cNvSpPr>
              <a:spLocks noChangeArrowheads="1"/>
            </p:cNvSpPr>
            <p:nvPr/>
          </p:nvSpPr>
          <p:spPr bwMode="auto">
            <a:xfrm>
              <a:off x="3190" y="2475"/>
              <a:ext cx="24" cy="18"/>
            </a:xfrm>
            <a:prstGeom prst="rect">
              <a:avLst/>
            </a:prstGeom>
            <a:grpFill/>
            <a:ln w="9525">
              <a:solidFill>
                <a:srgbClr val="2C2C2D"/>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grpSp>
      <p:grpSp>
        <p:nvGrpSpPr>
          <p:cNvPr id="2181" name="Group 96">
            <a:extLst>
              <a:ext uri="{FF2B5EF4-FFF2-40B4-BE49-F238E27FC236}">
                <a16:creationId xmlns:a16="http://schemas.microsoft.com/office/drawing/2014/main" id="{1758D5AC-0556-03C0-C3BC-8F641EF09FAD}"/>
              </a:ext>
            </a:extLst>
          </p:cNvPr>
          <p:cNvGrpSpPr>
            <a:grpSpLocks noChangeAspect="1"/>
          </p:cNvGrpSpPr>
          <p:nvPr/>
        </p:nvGrpSpPr>
        <p:grpSpPr bwMode="auto">
          <a:xfrm>
            <a:off x="3400538" y="4266244"/>
            <a:ext cx="392818" cy="225823"/>
            <a:chOff x="4409" y="2008"/>
            <a:chExt cx="836" cy="578"/>
          </a:xfrm>
          <a:solidFill>
            <a:srgbClr val="2C2C2D"/>
          </a:solidFill>
        </p:grpSpPr>
        <p:sp>
          <p:nvSpPr>
            <p:cNvPr id="2195" name="Freeform 97">
              <a:extLst>
                <a:ext uri="{FF2B5EF4-FFF2-40B4-BE49-F238E27FC236}">
                  <a16:creationId xmlns:a16="http://schemas.microsoft.com/office/drawing/2014/main" id="{54C8B020-C060-7D5E-7C20-844D19846F17}"/>
                </a:ext>
              </a:extLst>
            </p:cNvPr>
            <p:cNvSpPr>
              <a:spLocks noEditPoints="1"/>
            </p:cNvSpPr>
            <p:nvPr/>
          </p:nvSpPr>
          <p:spPr bwMode="auto">
            <a:xfrm>
              <a:off x="4453" y="2170"/>
              <a:ext cx="286" cy="416"/>
            </a:xfrm>
            <a:custGeom>
              <a:avLst/>
              <a:gdLst>
                <a:gd name="T0" fmla="*/ 192 w 286"/>
                <a:gd name="T1" fmla="*/ 416 h 416"/>
                <a:gd name="T2" fmla="*/ 38 w 286"/>
                <a:gd name="T3" fmla="*/ 258 h 416"/>
                <a:gd name="T4" fmla="*/ 32 w 286"/>
                <a:gd name="T5" fmla="*/ 258 h 416"/>
                <a:gd name="T6" fmla="*/ 18 w 286"/>
                <a:gd name="T7" fmla="*/ 252 h 416"/>
                <a:gd name="T8" fmla="*/ 8 w 286"/>
                <a:gd name="T9" fmla="*/ 242 h 416"/>
                <a:gd name="T10" fmla="*/ 2 w 286"/>
                <a:gd name="T11" fmla="*/ 228 h 416"/>
                <a:gd name="T12" fmla="*/ 0 w 286"/>
                <a:gd name="T13" fmla="*/ 32 h 416"/>
                <a:gd name="T14" fmla="*/ 2 w 286"/>
                <a:gd name="T15" fmla="*/ 26 h 416"/>
                <a:gd name="T16" fmla="*/ 10 w 286"/>
                <a:gd name="T17" fmla="*/ 10 h 416"/>
                <a:gd name="T18" fmla="*/ 26 w 286"/>
                <a:gd name="T19" fmla="*/ 2 h 416"/>
                <a:gd name="T20" fmla="*/ 96 w 286"/>
                <a:gd name="T21" fmla="*/ 2 h 416"/>
                <a:gd name="T22" fmla="*/ 98 w 286"/>
                <a:gd name="T23" fmla="*/ 2 h 416"/>
                <a:gd name="T24" fmla="*/ 108 w 286"/>
                <a:gd name="T25" fmla="*/ 6 h 416"/>
                <a:gd name="T26" fmla="*/ 218 w 286"/>
                <a:gd name="T27" fmla="*/ 76 h 416"/>
                <a:gd name="T28" fmla="*/ 226 w 286"/>
                <a:gd name="T29" fmla="*/ 76 h 416"/>
                <a:gd name="T30" fmla="*/ 238 w 286"/>
                <a:gd name="T31" fmla="*/ 80 h 416"/>
                <a:gd name="T32" fmla="*/ 246 w 286"/>
                <a:gd name="T33" fmla="*/ 90 h 416"/>
                <a:gd name="T34" fmla="*/ 252 w 286"/>
                <a:gd name="T35" fmla="*/ 102 h 416"/>
                <a:gd name="T36" fmla="*/ 252 w 286"/>
                <a:gd name="T37" fmla="*/ 108 h 416"/>
                <a:gd name="T38" fmla="*/ 250 w 286"/>
                <a:gd name="T39" fmla="*/ 120 h 416"/>
                <a:gd name="T40" fmla="*/ 242 w 286"/>
                <a:gd name="T41" fmla="*/ 132 h 416"/>
                <a:gd name="T42" fmla="*/ 232 w 286"/>
                <a:gd name="T43" fmla="*/ 138 h 416"/>
                <a:gd name="T44" fmla="*/ 218 w 286"/>
                <a:gd name="T45" fmla="*/ 140 h 416"/>
                <a:gd name="T46" fmla="*/ 108 w 286"/>
                <a:gd name="T47" fmla="*/ 116 h 416"/>
                <a:gd name="T48" fmla="*/ 198 w 286"/>
                <a:gd name="T49" fmla="*/ 184 h 416"/>
                <a:gd name="T50" fmla="*/ 208 w 286"/>
                <a:gd name="T51" fmla="*/ 186 h 416"/>
                <a:gd name="T52" fmla="*/ 222 w 286"/>
                <a:gd name="T53" fmla="*/ 198 h 416"/>
                <a:gd name="T54" fmla="*/ 286 w 286"/>
                <a:gd name="T55" fmla="*/ 416 h 416"/>
                <a:gd name="T56" fmla="*/ 262 w 286"/>
                <a:gd name="T57" fmla="*/ 398 h 416"/>
                <a:gd name="T58" fmla="*/ 210 w 286"/>
                <a:gd name="T59" fmla="*/ 212 h 416"/>
                <a:gd name="T60" fmla="*/ 206 w 286"/>
                <a:gd name="T61" fmla="*/ 204 h 416"/>
                <a:gd name="T62" fmla="*/ 198 w 286"/>
                <a:gd name="T63" fmla="*/ 202 h 416"/>
                <a:gd name="T64" fmla="*/ 90 w 286"/>
                <a:gd name="T65" fmla="*/ 88 h 416"/>
                <a:gd name="T66" fmla="*/ 218 w 286"/>
                <a:gd name="T67" fmla="*/ 122 h 416"/>
                <a:gd name="T68" fmla="*/ 224 w 286"/>
                <a:gd name="T69" fmla="*/ 122 h 416"/>
                <a:gd name="T70" fmla="*/ 232 w 286"/>
                <a:gd name="T71" fmla="*/ 114 h 416"/>
                <a:gd name="T72" fmla="*/ 234 w 286"/>
                <a:gd name="T73" fmla="*/ 108 h 416"/>
                <a:gd name="T74" fmla="*/ 230 w 286"/>
                <a:gd name="T75" fmla="*/ 98 h 416"/>
                <a:gd name="T76" fmla="*/ 218 w 286"/>
                <a:gd name="T77" fmla="*/ 94 h 416"/>
                <a:gd name="T78" fmla="*/ 96 w 286"/>
                <a:gd name="T79" fmla="*/ 20 h 416"/>
                <a:gd name="T80" fmla="*/ 32 w 286"/>
                <a:gd name="T81" fmla="*/ 20 h 416"/>
                <a:gd name="T82" fmla="*/ 22 w 286"/>
                <a:gd name="T83" fmla="*/ 24 h 416"/>
                <a:gd name="T84" fmla="*/ 18 w 286"/>
                <a:gd name="T85" fmla="*/ 32 h 416"/>
                <a:gd name="T86" fmla="*/ 18 w 286"/>
                <a:gd name="T87" fmla="*/ 220 h 416"/>
                <a:gd name="T88" fmla="*/ 24 w 286"/>
                <a:gd name="T89" fmla="*/ 234 h 416"/>
                <a:gd name="T90" fmla="*/ 38 w 286"/>
                <a:gd name="T91" fmla="*/ 240 h 416"/>
                <a:gd name="T92" fmla="*/ 206 w 286"/>
                <a:gd name="T93" fmla="*/ 398 h 416"/>
                <a:gd name="T94" fmla="*/ 90 w 286"/>
                <a:gd name="T95" fmla="*/ 12 h 416"/>
                <a:gd name="T96" fmla="*/ 96 w 286"/>
                <a:gd name="T97" fmla="*/ 20 h 416"/>
                <a:gd name="T98" fmla="*/ 100 w 286"/>
                <a:gd name="T99" fmla="*/ 12 h 416"/>
                <a:gd name="T100" fmla="*/ 102 w 286"/>
                <a:gd name="T101" fmla="*/ 12 h 416"/>
                <a:gd name="T102" fmla="*/ 104 w 286"/>
                <a:gd name="T103" fmla="*/ 20 h 416"/>
                <a:gd name="T104" fmla="*/ 108 w 286"/>
                <a:gd name="T105" fmla="*/ 12 h 416"/>
                <a:gd name="T106" fmla="*/ 108 w 286"/>
                <a:gd name="T107" fmla="*/ 12 h 416"/>
                <a:gd name="T108" fmla="*/ 108 w 286"/>
                <a:gd name="T109" fmla="*/ 12 h 416"/>
                <a:gd name="T110" fmla="*/ 108 w 286"/>
                <a:gd name="T111" fmla="*/ 1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 h="416">
                  <a:moveTo>
                    <a:pt x="286" y="416"/>
                  </a:moveTo>
                  <a:lnTo>
                    <a:pt x="192" y="416"/>
                  </a:lnTo>
                  <a:lnTo>
                    <a:pt x="148" y="258"/>
                  </a:lnTo>
                  <a:lnTo>
                    <a:pt x="38" y="258"/>
                  </a:lnTo>
                  <a:lnTo>
                    <a:pt x="38" y="258"/>
                  </a:lnTo>
                  <a:lnTo>
                    <a:pt x="32" y="258"/>
                  </a:lnTo>
                  <a:lnTo>
                    <a:pt x="24" y="256"/>
                  </a:lnTo>
                  <a:lnTo>
                    <a:pt x="18" y="252"/>
                  </a:lnTo>
                  <a:lnTo>
                    <a:pt x="12" y="248"/>
                  </a:lnTo>
                  <a:lnTo>
                    <a:pt x="8" y="242"/>
                  </a:lnTo>
                  <a:lnTo>
                    <a:pt x="4" y="234"/>
                  </a:lnTo>
                  <a:lnTo>
                    <a:pt x="2" y="228"/>
                  </a:lnTo>
                  <a:lnTo>
                    <a:pt x="0" y="220"/>
                  </a:lnTo>
                  <a:lnTo>
                    <a:pt x="0" y="32"/>
                  </a:lnTo>
                  <a:lnTo>
                    <a:pt x="0" y="32"/>
                  </a:lnTo>
                  <a:lnTo>
                    <a:pt x="2" y="26"/>
                  </a:lnTo>
                  <a:lnTo>
                    <a:pt x="4" y="20"/>
                  </a:lnTo>
                  <a:lnTo>
                    <a:pt x="10" y="10"/>
                  </a:lnTo>
                  <a:lnTo>
                    <a:pt x="20" y="4"/>
                  </a:lnTo>
                  <a:lnTo>
                    <a:pt x="26" y="2"/>
                  </a:lnTo>
                  <a:lnTo>
                    <a:pt x="32" y="2"/>
                  </a:lnTo>
                  <a:lnTo>
                    <a:pt x="96" y="2"/>
                  </a:lnTo>
                  <a:lnTo>
                    <a:pt x="96" y="2"/>
                  </a:lnTo>
                  <a:lnTo>
                    <a:pt x="98" y="2"/>
                  </a:lnTo>
                  <a:lnTo>
                    <a:pt x="102" y="0"/>
                  </a:lnTo>
                  <a:lnTo>
                    <a:pt x="108" y="6"/>
                  </a:lnTo>
                  <a:lnTo>
                    <a:pt x="168" y="76"/>
                  </a:lnTo>
                  <a:lnTo>
                    <a:pt x="218" y="76"/>
                  </a:lnTo>
                  <a:lnTo>
                    <a:pt x="218" y="76"/>
                  </a:lnTo>
                  <a:lnTo>
                    <a:pt x="226" y="76"/>
                  </a:lnTo>
                  <a:lnTo>
                    <a:pt x="232" y="78"/>
                  </a:lnTo>
                  <a:lnTo>
                    <a:pt x="238" y="80"/>
                  </a:lnTo>
                  <a:lnTo>
                    <a:pt x="242" y="84"/>
                  </a:lnTo>
                  <a:lnTo>
                    <a:pt x="246" y="90"/>
                  </a:lnTo>
                  <a:lnTo>
                    <a:pt x="250" y="96"/>
                  </a:lnTo>
                  <a:lnTo>
                    <a:pt x="252" y="102"/>
                  </a:lnTo>
                  <a:lnTo>
                    <a:pt x="252" y="108"/>
                  </a:lnTo>
                  <a:lnTo>
                    <a:pt x="252" y="108"/>
                  </a:lnTo>
                  <a:lnTo>
                    <a:pt x="252" y="114"/>
                  </a:lnTo>
                  <a:lnTo>
                    <a:pt x="250" y="120"/>
                  </a:lnTo>
                  <a:lnTo>
                    <a:pt x="246" y="126"/>
                  </a:lnTo>
                  <a:lnTo>
                    <a:pt x="242" y="132"/>
                  </a:lnTo>
                  <a:lnTo>
                    <a:pt x="238" y="136"/>
                  </a:lnTo>
                  <a:lnTo>
                    <a:pt x="232" y="138"/>
                  </a:lnTo>
                  <a:lnTo>
                    <a:pt x="226" y="140"/>
                  </a:lnTo>
                  <a:lnTo>
                    <a:pt x="218" y="140"/>
                  </a:lnTo>
                  <a:lnTo>
                    <a:pt x="154" y="140"/>
                  </a:lnTo>
                  <a:lnTo>
                    <a:pt x="108" y="116"/>
                  </a:lnTo>
                  <a:lnTo>
                    <a:pt x="108" y="184"/>
                  </a:lnTo>
                  <a:lnTo>
                    <a:pt x="198" y="184"/>
                  </a:lnTo>
                  <a:lnTo>
                    <a:pt x="198" y="184"/>
                  </a:lnTo>
                  <a:lnTo>
                    <a:pt x="208" y="186"/>
                  </a:lnTo>
                  <a:lnTo>
                    <a:pt x="216" y="190"/>
                  </a:lnTo>
                  <a:lnTo>
                    <a:pt x="222" y="198"/>
                  </a:lnTo>
                  <a:lnTo>
                    <a:pt x="228" y="206"/>
                  </a:lnTo>
                  <a:lnTo>
                    <a:pt x="286" y="416"/>
                  </a:lnTo>
                  <a:close/>
                  <a:moveTo>
                    <a:pt x="206" y="398"/>
                  </a:moveTo>
                  <a:lnTo>
                    <a:pt x="262" y="398"/>
                  </a:lnTo>
                  <a:lnTo>
                    <a:pt x="210" y="212"/>
                  </a:lnTo>
                  <a:lnTo>
                    <a:pt x="210" y="212"/>
                  </a:lnTo>
                  <a:lnTo>
                    <a:pt x="208" y="208"/>
                  </a:lnTo>
                  <a:lnTo>
                    <a:pt x="206" y="204"/>
                  </a:lnTo>
                  <a:lnTo>
                    <a:pt x="202" y="202"/>
                  </a:lnTo>
                  <a:lnTo>
                    <a:pt x="198" y="202"/>
                  </a:lnTo>
                  <a:lnTo>
                    <a:pt x="90" y="202"/>
                  </a:lnTo>
                  <a:lnTo>
                    <a:pt x="90" y="88"/>
                  </a:lnTo>
                  <a:lnTo>
                    <a:pt x="158" y="122"/>
                  </a:lnTo>
                  <a:lnTo>
                    <a:pt x="218" y="122"/>
                  </a:lnTo>
                  <a:lnTo>
                    <a:pt x="218" y="122"/>
                  </a:lnTo>
                  <a:lnTo>
                    <a:pt x="224" y="122"/>
                  </a:lnTo>
                  <a:lnTo>
                    <a:pt x="230" y="118"/>
                  </a:lnTo>
                  <a:lnTo>
                    <a:pt x="232" y="114"/>
                  </a:lnTo>
                  <a:lnTo>
                    <a:pt x="234" y="108"/>
                  </a:lnTo>
                  <a:lnTo>
                    <a:pt x="234" y="108"/>
                  </a:lnTo>
                  <a:lnTo>
                    <a:pt x="232" y="102"/>
                  </a:lnTo>
                  <a:lnTo>
                    <a:pt x="230" y="98"/>
                  </a:lnTo>
                  <a:lnTo>
                    <a:pt x="224" y="94"/>
                  </a:lnTo>
                  <a:lnTo>
                    <a:pt x="218" y="94"/>
                  </a:lnTo>
                  <a:lnTo>
                    <a:pt x="160" y="94"/>
                  </a:lnTo>
                  <a:lnTo>
                    <a:pt x="96" y="20"/>
                  </a:lnTo>
                  <a:lnTo>
                    <a:pt x="32" y="20"/>
                  </a:lnTo>
                  <a:lnTo>
                    <a:pt x="32" y="20"/>
                  </a:lnTo>
                  <a:lnTo>
                    <a:pt x="26" y="20"/>
                  </a:lnTo>
                  <a:lnTo>
                    <a:pt x="22" y="24"/>
                  </a:lnTo>
                  <a:lnTo>
                    <a:pt x="20" y="28"/>
                  </a:lnTo>
                  <a:lnTo>
                    <a:pt x="18" y="32"/>
                  </a:lnTo>
                  <a:lnTo>
                    <a:pt x="18" y="220"/>
                  </a:lnTo>
                  <a:lnTo>
                    <a:pt x="18" y="220"/>
                  </a:lnTo>
                  <a:lnTo>
                    <a:pt x="20" y="228"/>
                  </a:lnTo>
                  <a:lnTo>
                    <a:pt x="24" y="234"/>
                  </a:lnTo>
                  <a:lnTo>
                    <a:pt x="32" y="238"/>
                  </a:lnTo>
                  <a:lnTo>
                    <a:pt x="38" y="240"/>
                  </a:lnTo>
                  <a:lnTo>
                    <a:pt x="162" y="240"/>
                  </a:lnTo>
                  <a:lnTo>
                    <a:pt x="206" y="398"/>
                  </a:lnTo>
                  <a:close/>
                  <a:moveTo>
                    <a:pt x="90" y="12"/>
                  </a:moveTo>
                  <a:lnTo>
                    <a:pt x="90" y="12"/>
                  </a:lnTo>
                  <a:lnTo>
                    <a:pt x="92" y="18"/>
                  </a:lnTo>
                  <a:lnTo>
                    <a:pt x="96" y="20"/>
                  </a:lnTo>
                  <a:lnTo>
                    <a:pt x="94" y="18"/>
                  </a:lnTo>
                  <a:lnTo>
                    <a:pt x="100" y="12"/>
                  </a:lnTo>
                  <a:lnTo>
                    <a:pt x="90" y="12"/>
                  </a:lnTo>
                  <a:close/>
                  <a:moveTo>
                    <a:pt x="102" y="12"/>
                  </a:moveTo>
                  <a:lnTo>
                    <a:pt x="104" y="20"/>
                  </a:lnTo>
                  <a:lnTo>
                    <a:pt x="104" y="20"/>
                  </a:lnTo>
                  <a:lnTo>
                    <a:pt x="106" y="16"/>
                  </a:lnTo>
                  <a:lnTo>
                    <a:pt x="108" y="12"/>
                  </a:lnTo>
                  <a:lnTo>
                    <a:pt x="102" y="12"/>
                  </a:lnTo>
                  <a:close/>
                  <a:moveTo>
                    <a:pt x="108" y="12"/>
                  </a:moveTo>
                  <a:lnTo>
                    <a:pt x="108" y="12"/>
                  </a:lnTo>
                  <a:lnTo>
                    <a:pt x="108" y="12"/>
                  </a:lnTo>
                  <a:lnTo>
                    <a:pt x="108" y="12"/>
                  </a:lnTo>
                  <a:lnTo>
                    <a:pt x="108" y="12"/>
                  </a:lnTo>
                  <a:lnTo>
                    <a:pt x="108" y="1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96" name="Freeform 98">
              <a:extLst>
                <a:ext uri="{FF2B5EF4-FFF2-40B4-BE49-F238E27FC236}">
                  <a16:creationId xmlns:a16="http://schemas.microsoft.com/office/drawing/2014/main" id="{07595695-99E1-053C-AD44-25754E9621C1}"/>
                </a:ext>
              </a:extLst>
            </p:cNvPr>
            <p:cNvSpPr>
              <a:spLocks noEditPoints="1"/>
            </p:cNvSpPr>
            <p:nvPr/>
          </p:nvSpPr>
          <p:spPr bwMode="auto">
            <a:xfrm>
              <a:off x="4915" y="2170"/>
              <a:ext cx="286" cy="416"/>
            </a:xfrm>
            <a:custGeom>
              <a:avLst/>
              <a:gdLst>
                <a:gd name="T0" fmla="*/ 0 w 286"/>
                <a:gd name="T1" fmla="*/ 416 h 416"/>
                <a:gd name="T2" fmla="*/ 60 w 286"/>
                <a:gd name="T3" fmla="*/ 206 h 416"/>
                <a:gd name="T4" fmla="*/ 70 w 286"/>
                <a:gd name="T5" fmla="*/ 190 h 416"/>
                <a:gd name="T6" fmla="*/ 90 w 286"/>
                <a:gd name="T7" fmla="*/ 184 h 416"/>
                <a:gd name="T8" fmla="*/ 178 w 286"/>
                <a:gd name="T9" fmla="*/ 116 h 416"/>
                <a:gd name="T10" fmla="*/ 68 w 286"/>
                <a:gd name="T11" fmla="*/ 140 h 416"/>
                <a:gd name="T12" fmla="*/ 60 w 286"/>
                <a:gd name="T13" fmla="*/ 140 h 416"/>
                <a:gd name="T14" fmla="*/ 50 w 286"/>
                <a:gd name="T15" fmla="*/ 136 h 416"/>
                <a:gd name="T16" fmla="*/ 40 w 286"/>
                <a:gd name="T17" fmla="*/ 126 h 416"/>
                <a:gd name="T18" fmla="*/ 36 w 286"/>
                <a:gd name="T19" fmla="*/ 114 h 416"/>
                <a:gd name="T20" fmla="*/ 34 w 286"/>
                <a:gd name="T21" fmla="*/ 108 h 416"/>
                <a:gd name="T22" fmla="*/ 38 w 286"/>
                <a:gd name="T23" fmla="*/ 96 h 416"/>
                <a:gd name="T24" fmla="*/ 44 w 286"/>
                <a:gd name="T25" fmla="*/ 84 h 416"/>
                <a:gd name="T26" fmla="*/ 54 w 286"/>
                <a:gd name="T27" fmla="*/ 78 h 416"/>
                <a:gd name="T28" fmla="*/ 68 w 286"/>
                <a:gd name="T29" fmla="*/ 76 h 416"/>
                <a:gd name="T30" fmla="*/ 182 w 286"/>
                <a:gd name="T31" fmla="*/ 0 h 416"/>
                <a:gd name="T32" fmla="*/ 188 w 286"/>
                <a:gd name="T33" fmla="*/ 2 h 416"/>
                <a:gd name="T34" fmla="*/ 254 w 286"/>
                <a:gd name="T35" fmla="*/ 2 h 416"/>
                <a:gd name="T36" fmla="*/ 260 w 286"/>
                <a:gd name="T37" fmla="*/ 2 h 416"/>
                <a:gd name="T38" fmla="*/ 276 w 286"/>
                <a:gd name="T39" fmla="*/ 10 h 416"/>
                <a:gd name="T40" fmla="*/ 286 w 286"/>
                <a:gd name="T41" fmla="*/ 26 h 416"/>
                <a:gd name="T42" fmla="*/ 286 w 286"/>
                <a:gd name="T43" fmla="*/ 220 h 416"/>
                <a:gd name="T44" fmla="*/ 286 w 286"/>
                <a:gd name="T45" fmla="*/ 228 h 416"/>
                <a:gd name="T46" fmla="*/ 280 w 286"/>
                <a:gd name="T47" fmla="*/ 242 h 416"/>
                <a:gd name="T48" fmla="*/ 268 w 286"/>
                <a:gd name="T49" fmla="*/ 252 h 416"/>
                <a:gd name="T50" fmla="*/ 256 w 286"/>
                <a:gd name="T51" fmla="*/ 258 h 416"/>
                <a:gd name="T52" fmla="*/ 138 w 286"/>
                <a:gd name="T53" fmla="*/ 258 h 416"/>
                <a:gd name="T54" fmla="*/ 24 w 286"/>
                <a:gd name="T55" fmla="*/ 398 h 416"/>
                <a:gd name="T56" fmla="*/ 124 w 286"/>
                <a:gd name="T57" fmla="*/ 240 h 416"/>
                <a:gd name="T58" fmla="*/ 248 w 286"/>
                <a:gd name="T59" fmla="*/ 240 h 416"/>
                <a:gd name="T60" fmla="*/ 262 w 286"/>
                <a:gd name="T61" fmla="*/ 234 h 416"/>
                <a:gd name="T62" fmla="*/ 268 w 286"/>
                <a:gd name="T63" fmla="*/ 220 h 416"/>
                <a:gd name="T64" fmla="*/ 268 w 286"/>
                <a:gd name="T65" fmla="*/ 32 h 416"/>
                <a:gd name="T66" fmla="*/ 264 w 286"/>
                <a:gd name="T67" fmla="*/ 24 h 416"/>
                <a:gd name="T68" fmla="*/ 254 w 286"/>
                <a:gd name="T69" fmla="*/ 20 h 416"/>
                <a:gd name="T70" fmla="*/ 126 w 286"/>
                <a:gd name="T71" fmla="*/ 94 h 416"/>
                <a:gd name="T72" fmla="*/ 68 w 286"/>
                <a:gd name="T73" fmla="*/ 94 h 416"/>
                <a:gd name="T74" fmla="*/ 58 w 286"/>
                <a:gd name="T75" fmla="*/ 98 h 416"/>
                <a:gd name="T76" fmla="*/ 52 w 286"/>
                <a:gd name="T77" fmla="*/ 108 h 416"/>
                <a:gd name="T78" fmla="*/ 54 w 286"/>
                <a:gd name="T79" fmla="*/ 114 h 416"/>
                <a:gd name="T80" fmla="*/ 62 w 286"/>
                <a:gd name="T81" fmla="*/ 122 h 416"/>
                <a:gd name="T82" fmla="*/ 128 w 286"/>
                <a:gd name="T83" fmla="*/ 122 h 416"/>
                <a:gd name="T84" fmla="*/ 196 w 286"/>
                <a:gd name="T85" fmla="*/ 202 h 416"/>
                <a:gd name="T86" fmla="*/ 90 w 286"/>
                <a:gd name="T87" fmla="*/ 202 h 416"/>
                <a:gd name="T88" fmla="*/ 82 w 286"/>
                <a:gd name="T89" fmla="*/ 204 h 416"/>
                <a:gd name="T90" fmla="*/ 76 w 286"/>
                <a:gd name="T91" fmla="*/ 212 h 416"/>
                <a:gd name="T92" fmla="*/ 188 w 286"/>
                <a:gd name="T93" fmla="*/ 12 h 416"/>
                <a:gd name="T94" fmla="*/ 190 w 286"/>
                <a:gd name="T95" fmla="*/ 20 h 416"/>
                <a:gd name="T96" fmla="*/ 194 w 286"/>
                <a:gd name="T97" fmla="*/ 18 h 416"/>
                <a:gd name="T98" fmla="*/ 188 w 286"/>
                <a:gd name="T99" fmla="*/ 12 h 416"/>
                <a:gd name="T100" fmla="*/ 178 w 286"/>
                <a:gd name="T101" fmla="*/ 12 h 416"/>
                <a:gd name="T102" fmla="*/ 184 w 286"/>
                <a:gd name="T103" fmla="*/ 20 h 416"/>
                <a:gd name="T104" fmla="*/ 178 w 286"/>
                <a:gd name="T105" fmla="*/ 1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6" h="416">
                  <a:moveTo>
                    <a:pt x="94" y="416"/>
                  </a:moveTo>
                  <a:lnTo>
                    <a:pt x="0" y="416"/>
                  </a:lnTo>
                  <a:lnTo>
                    <a:pt x="60" y="206"/>
                  </a:lnTo>
                  <a:lnTo>
                    <a:pt x="60" y="206"/>
                  </a:lnTo>
                  <a:lnTo>
                    <a:pt x="64" y="198"/>
                  </a:lnTo>
                  <a:lnTo>
                    <a:pt x="70" y="190"/>
                  </a:lnTo>
                  <a:lnTo>
                    <a:pt x="80" y="186"/>
                  </a:lnTo>
                  <a:lnTo>
                    <a:pt x="90" y="184"/>
                  </a:lnTo>
                  <a:lnTo>
                    <a:pt x="178" y="184"/>
                  </a:lnTo>
                  <a:lnTo>
                    <a:pt x="178" y="116"/>
                  </a:lnTo>
                  <a:lnTo>
                    <a:pt x="132" y="140"/>
                  </a:lnTo>
                  <a:lnTo>
                    <a:pt x="68" y="140"/>
                  </a:lnTo>
                  <a:lnTo>
                    <a:pt x="68" y="140"/>
                  </a:lnTo>
                  <a:lnTo>
                    <a:pt x="60" y="140"/>
                  </a:lnTo>
                  <a:lnTo>
                    <a:pt x="54" y="138"/>
                  </a:lnTo>
                  <a:lnTo>
                    <a:pt x="50" y="136"/>
                  </a:lnTo>
                  <a:lnTo>
                    <a:pt x="44" y="132"/>
                  </a:lnTo>
                  <a:lnTo>
                    <a:pt x="40" y="126"/>
                  </a:lnTo>
                  <a:lnTo>
                    <a:pt x="38" y="120"/>
                  </a:lnTo>
                  <a:lnTo>
                    <a:pt x="36" y="114"/>
                  </a:lnTo>
                  <a:lnTo>
                    <a:pt x="34" y="108"/>
                  </a:lnTo>
                  <a:lnTo>
                    <a:pt x="34" y="108"/>
                  </a:lnTo>
                  <a:lnTo>
                    <a:pt x="36" y="102"/>
                  </a:lnTo>
                  <a:lnTo>
                    <a:pt x="38" y="96"/>
                  </a:lnTo>
                  <a:lnTo>
                    <a:pt x="40" y="90"/>
                  </a:lnTo>
                  <a:lnTo>
                    <a:pt x="44" y="84"/>
                  </a:lnTo>
                  <a:lnTo>
                    <a:pt x="50" y="80"/>
                  </a:lnTo>
                  <a:lnTo>
                    <a:pt x="54" y="78"/>
                  </a:lnTo>
                  <a:lnTo>
                    <a:pt x="60" y="76"/>
                  </a:lnTo>
                  <a:lnTo>
                    <a:pt x="68" y="76"/>
                  </a:lnTo>
                  <a:lnTo>
                    <a:pt x="118" y="76"/>
                  </a:lnTo>
                  <a:lnTo>
                    <a:pt x="182" y="0"/>
                  </a:lnTo>
                  <a:lnTo>
                    <a:pt x="188" y="2"/>
                  </a:lnTo>
                  <a:lnTo>
                    <a:pt x="188" y="2"/>
                  </a:lnTo>
                  <a:lnTo>
                    <a:pt x="190" y="2"/>
                  </a:lnTo>
                  <a:lnTo>
                    <a:pt x="254" y="2"/>
                  </a:lnTo>
                  <a:lnTo>
                    <a:pt x="254" y="2"/>
                  </a:lnTo>
                  <a:lnTo>
                    <a:pt x="260" y="2"/>
                  </a:lnTo>
                  <a:lnTo>
                    <a:pt x="266" y="4"/>
                  </a:lnTo>
                  <a:lnTo>
                    <a:pt x="276" y="10"/>
                  </a:lnTo>
                  <a:lnTo>
                    <a:pt x="284" y="20"/>
                  </a:lnTo>
                  <a:lnTo>
                    <a:pt x="286" y="26"/>
                  </a:lnTo>
                  <a:lnTo>
                    <a:pt x="286" y="32"/>
                  </a:lnTo>
                  <a:lnTo>
                    <a:pt x="286" y="220"/>
                  </a:lnTo>
                  <a:lnTo>
                    <a:pt x="286" y="220"/>
                  </a:lnTo>
                  <a:lnTo>
                    <a:pt x="286" y="228"/>
                  </a:lnTo>
                  <a:lnTo>
                    <a:pt x="282" y="234"/>
                  </a:lnTo>
                  <a:lnTo>
                    <a:pt x="280" y="242"/>
                  </a:lnTo>
                  <a:lnTo>
                    <a:pt x="274" y="248"/>
                  </a:lnTo>
                  <a:lnTo>
                    <a:pt x="268" y="252"/>
                  </a:lnTo>
                  <a:lnTo>
                    <a:pt x="262" y="256"/>
                  </a:lnTo>
                  <a:lnTo>
                    <a:pt x="256" y="258"/>
                  </a:lnTo>
                  <a:lnTo>
                    <a:pt x="248" y="258"/>
                  </a:lnTo>
                  <a:lnTo>
                    <a:pt x="138" y="258"/>
                  </a:lnTo>
                  <a:lnTo>
                    <a:pt x="94" y="416"/>
                  </a:lnTo>
                  <a:close/>
                  <a:moveTo>
                    <a:pt x="24" y="398"/>
                  </a:moveTo>
                  <a:lnTo>
                    <a:pt x="80" y="398"/>
                  </a:lnTo>
                  <a:lnTo>
                    <a:pt x="124" y="240"/>
                  </a:lnTo>
                  <a:lnTo>
                    <a:pt x="248" y="240"/>
                  </a:lnTo>
                  <a:lnTo>
                    <a:pt x="248" y="240"/>
                  </a:lnTo>
                  <a:lnTo>
                    <a:pt x="256" y="238"/>
                  </a:lnTo>
                  <a:lnTo>
                    <a:pt x="262" y="234"/>
                  </a:lnTo>
                  <a:lnTo>
                    <a:pt x="266" y="228"/>
                  </a:lnTo>
                  <a:lnTo>
                    <a:pt x="268" y="220"/>
                  </a:lnTo>
                  <a:lnTo>
                    <a:pt x="268" y="32"/>
                  </a:lnTo>
                  <a:lnTo>
                    <a:pt x="268" y="32"/>
                  </a:lnTo>
                  <a:lnTo>
                    <a:pt x="266" y="28"/>
                  </a:lnTo>
                  <a:lnTo>
                    <a:pt x="264" y="24"/>
                  </a:lnTo>
                  <a:lnTo>
                    <a:pt x="260" y="20"/>
                  </a:lnTo>
                  <a:lnTo>
                    <a:pt x="254" y="20"/>
                  </a:lnTo>
                  <a:lnTo>
                    <a:pt x="190" y="20"/>
                  </a:lnTo>
                  <a:lnTo>
                    <a:pt x="126" y="94"/>
                  </a:lnTo>
                  <a:lnTo>
                    <a:pt x="68" y="94"/>
                  </a:lnTo>
                  <a:lnTo>
                    <a:pt x="68" y="94"/>
                  </a:lnTo>
                  <a:lnTo>
                    <a:pt x="62" y="94"/>
                  </a:lnTo>
                  <a:lnTo>
                    <a:pt x="58" y="98"/>
                  </a:lnTo>
                  <a:lnTo>
                    <a:pt x="54" y="102"/>
                  </a:lnTo>
                  <a:lnTo>
                    <a:pt x="52" y="108"/>
                  </a:lnTo>
                  <a:lnTo>
                    <a:pt x="52" y="108"/>
                  </a:lnTo>
                  <a:lnTo>
                    <a:pt x="54" y="114"/>
                  </a:lnTo>
                  <a:lnTo>
                    <a:pt x="58" y="118"/>
                  </a:lnTo>
                  <a:lnTo>
                    <a:pt x="62" y="122"/>
                  </a:lnTo>
                  <a:lnTo>
                    <a:pt x="68" y="122"/>
                  </a:lnTo>
                  <a:lnTo>
                    <a:pt x="128" y="122"/>
                  </a:lnTo>
                  <a:lnTo>
                    <a:pt x="196" y="88"/>
                  </a:lnTo>
                  <a:lnTo>
                    <a:pt x="196" y="202"/>
                  </a:lnTo>
                  <a:lnTo>
                    <a:pt x="90" y="202"/>
                  </a:lnTo>
                  <a:lnTo>
                    <a:pt x="90" y="202"/>
                  </a:lnTo>
                  <a:lnTo>
                    <a:pt x="84" y="202"/>
                  </a:lnTo>
                  <a:lnTo>
                    <a:pt x="82" y="204"/>
                  </a:lnTo>
                  <a:lnTo>
                    <a:pt x="78" y="208"/>
                  </a:lnTo>
                  <a:lnTo>
                    <a:pt x="76" y="212"/>
                  </a:lnTo>
                  <a:lnTo>
                    <a:pt x="24" y="398"/>
                  </a:lnTo>
                  <a:close/>
                  <a:moveTo>
                    <a:pt x="188" y="12"/>
                  </a:moveTo>
                  <a:lnTo>
                    <a:pt x="192" y="18"/>
                  </a:lnTo>
                  <a:lnTo>
                    <a:pt x="190" y="20"/>
                  </a:lnTo>
                  <a:lnTo>
                    <a:pt x="190" y="20"/>
                  </a:lnTo>
                  <a:lnTo>
                    <a:pt x="194" y="18"/>
                  </a:lnTo>
                  <a:lnTo>
                    <a:pt x="196" y="12"/>
                  </a:lnTo>
                  <a:lnTo>
                    <a:pt x="188" y="12"/>
                  </a:lnTo>
                  <a:close/>
                  <a:moveTo>
                    <a:pt x="178" y="12"/>
                  </a:moveTo>
                  <a:lnTo>
                    <a:pt x="178" y="12"/>
                  </a:lnTo>
                  <a:lnTo>
                    <a:pt x="180" y="16"/>
                  </a:lnTo>
                  <a:lnTo>
                    <a:pt x="184" y="20"/>
                  </a:lnTo>
                  <a:lnTo>
                    <a:pt x="186" y="12"/>
                  </a:lnTo>
                  <a:lnTo>
                    <a:pt x="178" y="1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97" name="Freeform 99">
              <a:extLst>
                <a:ext uri="{FF2B5EF4-FFF2-40B4-BE49-F238E27FC236}">
                  <a16:creationId xmlns:a16="http://schemas.microsoft.com/office/drawing/2014/main" id="{64485D1E-E106-5970-399F-F80D3DE7C4BC}"/>
                </a:ext>
              </a:extLst>
            </p:cNvPr>
            <p:cNvSpPr>
              <a:spLocks noEditPoints="1"/>
            </p:cNvSpPr>
            <p:nvPr/>
          </p:nvSpPr>
          <p:spPr bwMode="auto">
            <a:xfrm>
              <a:off x="4719" y="2150"/>
              <a:ext cx="216" cy="160"/>
            </a:xfrm>
            <a:custGeom>
              <a:avLst/>
              <a:gdLst>
                <a:gd name="T0" fmla="*/ 216 w 216"/>
                <a:gd name="T1" fmla="*/ 160 h 160"/>
                <a:gd name="T2" fmla="*/ 0 w 216"/>
                <a:gd name="T3" fmla="*/ 160 h 160"/>
                <a:gd name="T4" fmla="*/ 0 w 216"/>
                <a:gd name="T5" fmla="*/ 76 h 160"/>
                <a:gd name="T6" fmla="*/ 0 w 216"/>
                <a:gd name="T7" fmla="*/ 76 h 160"/>
                <a:gd name="T8" fmla="*/ 2 w 216"/>
                <a:gd name="T9" fmla="*/ 60 h 160"/>
                <a:gd name="T10" fmla="*/ 6 w 216"/>
                <a:gd name="T11" fmla="*/ 46 h 160"/>
                <a:gd name="T12" fmla="*/ 14 w 216"/>
                <a:gd name="T13" fmla="*/ 34 h 160"/>
                <a:gd name="T14" fmla="*/ 24 w 216"/>
                <a:gd name="T15" fmla="*/ 22 h 160"/>
                <a:gd name="T16" fmla="*/ 34 w 216"/>
                <a:gd name="T17" fmla="*/ 12 h 160"/>
                <a:gd name="T18" fmla="*/ 48 w 216"/>
                <a:gd name="T19" fmla="*/ 6 h 160"/>
                <a:gd name="T20" fmla="*/ 62 w 216"/>
                <a:gd name="T21" fmla="*/ 0 h 160"/>
                <a:gd name="T22" fmla="*/ 78 w 216"/>
                <a:gd name="T23" fmla="*/ 0 h 160"/>
                <a:gd name="T24" fmla="*/ 138 w 216"/>
                <a:gd name="T25" fmla="*/ 0 h 160"/>
                <a:gd name="T26" fmla="*/ 138 w 216"/>
                <a:gd name="T27" fmla="*/ 0 h 160"/>
                <a:gd name="T28" fmla="*/ 154 w 216"/>
                <a:gd name="T29" fmla="*/ 0 h 160"/>
                <a:gd name="T30" fmla="*/ 168 w 216"/>
                <a:gd name="T31" fmla="*/ 6 h 160"/>
                <a:gd name="T32" fmla="*/ 182 w 216"/>
                <a:gd name="T33" fmla="*/ 12 h 160"/>
                <a:gd name="T34" fmla="*/ 194 w 216"/>
                <a:gd name="T35" fmla="*/ 22 h 160"/>
                <a:gd name="T36" fmla="*/ 202 w 216"/>
                <a:gd name="T37" fmla="*/ 34 h 160"/>
                <a:gd name="T38" fmla="*/ 210 w 216"/>
                <a:gd name="T39" fmla="*/ 46 h 160"/>
                <a:gd name="T40" fmla="*/ 214 w 216"/>
                <a:gd name="T41" fmla="*/ 60 h 160"/>
                <a:gd name="T42" fmla="*/ 216 w 216"/>
                <a:gd name="T43" fmla="*/ 76 h 160"/>
                <a:gd name="T44" fmla="*/ 216 w 216"/>
                <a:gd name="T45" fmla="*/ 160 h 160"/>
                <a:gd name="T46" fmla="*/ 18 w 216"/>
                <a:gd name="T47" fmla="*/ 142 h 160"/>
                <a:gd name="T48" fmla="*/ 198 w 216"/>
                <a:gd name="T49" fmla="*/ 142 h 160"/>
                <a:gd name="T50" fmla="*/ 198 w 216"/>
                <a:gd name="T51" fmla="*/ 76 h 160"/>
                <a:gd name="T52" fmla="*/ 198 w 216"/>
                <a:gd name="T53" fmla="*/ 76 h 160"/>
                <a:gd name="T54" fmla="*/ 196 w 216"/>
                <a:gd name="T55" fmla="*/ 64 h 160"/>
                <a:gd name="T56" fmla="*/ 194 w 216"/>
                <a:gd name="T57" fmla="*/ 54 h 160"/>
                <a:gd name="T58" fmla="*/ 188 w 216"/>
                <a:gd name="T59" fmla="*/ 44 h 160"/>
                <a:gd name="T60" fmla="*/ 180 w 216"/>
                <a:gd name="T61" fmla="*/ 34 h 160"/>
                <a:gd name="T62" fmla="*/ 172 w 216"/>
                <a:gd name="T63" fmla="*/ 28 h 160"/>
                <a:gd name="T64" fmla="*/ 162 w 216"/>
                <a:gd name="T65" fmla="*/ 22 h 160"/>
                <a:gd name="T66" fmla="*/ 150 w 216"/>
                <a:gd name="T67" fmla="*/ 18 h 160"/>
                <a:gd name="T68" fmla="*/ 138 w 216"/>
                <a:gd name="T69" fmla="*/ 18 h 160"/>
                <a:gd name="T70" fmla="*/ 78 w 216"/>
                <a:gd name="T71" fmla="*/ 18 h 160"/>
                <a:gd name="T72" fmla="*/ 78 w 216"/>
                <a:gd name="T73" fmla="*/ 18 h 160"/>
                <a:gd name="T74" fmla="*/ 66 w 216"/>
                <a:gd name="T75" fmla="*/ 18 h 160"/>
                <a:gd name="T76" fmla="*/ 54 w 216"/>
                <a:gd name="T77" fmla="*/ 22 h 160"/>
                <a:gd name="T78" fmla="*/ 44 w 216"/>
                <a:gd name="T79" fmla="*/ 28 h 160"/>
                <a:gd name="T80" fmla="*/ 36 w 216"/>
                <a:gd name="T81" fmla="*/ 34 h 160"/>
                <a:gd name="T82" fmla="*/ 28 w 216"/>
                <a:gd name="T83" fmla="*/ 44 h 160"/>
                <a:gd name="T84" fmla="*/ 24 w 216"/>
                <a:gd name="T85" fmla="*/ 54 h 160"/>
                <a:gd name="T86" fmla="*/ 20 w 216"/>
                <a:gd name="T87" fmla="*/ 64 h 160"/>
                <a:gd name="T88" fmla="*/ 18 w 216"/>
                <a:gd name="T89" fmla="*/ 76 h 160"/>
                <a:gd name="T90" fmla="*/ 18 w 216"/>
                <a:gd name="T91" fmla="*/ 14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160">
                  <a:moveTo>
                    <a:pt x="216" y="160"/>
                  </a:moveTo>
                  <a:lnTo>
                    <a:pt x="0" y="160"/>
                  </a:lnTo>
                  <a:lnTo>
                    <a:pt x="0" y="76"/>
                  </a:lnTo>
                  <a:lnTo>
                    <a:pt x="0" y="76"/>
                  </a:lnTo>
                  <a:lnTo>
                    <a:pt x="2" y="60"/>
                  </a:lnTo>
                  <a:lnTo>
                    <a:pt x="6" y="46"/>
                  </a:lnTo>
                  <a:lnTo>
                    <a:pt x="14" y="34"/>
                  </a:lnTo>
                  <a:lnTo>
                    <a:pt x="24" y="22"/>
                  </a:lnTo>
                  <a:lnTo>
                    <a:pt x="34" y="12"/>
                  </a:lnTo>
                  <a:lnTo>
                    <a:pt x="48" y="6"/>
                  </a:lnTo>
                  <a:lnTo>
                    <a:pt x="62" y="0"/>
                  </a:lnTo>
                  <a:lnTo>
                    <a:pt x="78" y="0"/>
                  </a:lnTo>
                  <a:lnTo>
                    <a:pt x="138" y="0"/>
                  </a:lnTo>
                  <a:lnTo>
                    <a:pt x="138" y="0"/>
                  </a:lnTo>
                  <a:lnTo>
                    <a:pt x="154" y="0"/>
                  </a:lnTo>
                  <a:lnTo>
                    <a:pt x="168" y="6"/>
                  </a:lnTo>
                  <a:lnTo>
                    <a:pt x="182" y="12"/>
                  </a:lnTo>
                  <a:lnTo>
                    <a:pt x="194" y="22"/>
                  </a:lnTo>
                  <a:lnTo>
                    <a:pt x="202" y="34"/>
                  </a:lnTo>
                  <a:lnTo>
                    <a:pt x="210" y="46"/>
                  </a:lnTo>
                  <a:lnTo>
                    <a:pt x="214" y="60"/>
                  </a:lnTo>
                  <a:lnTo>
                    <a:pt x="216" y="76"/>
                  </a:lnTo>
                  <a:lnTo>
                    <a:pt x="216" y="160"/>
                  </a:lnTo>
                  <a:close/>
                  <a:moveTo>
                    <a:pt x="18" y="142"/>
                  </a:moveTo>
                  <a:lnTo>
                    <a:pt x="198" y="142"/>
                  </a:lnTo>
                  <a:lnTo>
                    <a:pt x="198" y="76"/>
                  </a:lnTo>
                  <a:lnTo>
                    <a:pt x="198" y="76"/>
                  </a:lnTo>
                  <a:lnTo>
                    <a:pt x="196" y="64"/>
                  </a:lnTo>
                  <a:lnTo>
                    <a:pt x="194" y="54"/>
                  </a:lnTo>
                  <a:lnTo>
                    <a:pt x="188" y="44"/>
                  </a:lnTo>
                  <a:lnTo>
                    <a:pt x="180" y="34"/>
                  </a:lnTo>
                  <a:lnTo>
                    <a:pt x="172" y="28"/>
                  </a:lnTo>
                  <a:lnTo>
                    <a:pt x="162" y="22"/>
                  </a:lnTo>
                  <a:lnTo>
                    <a:pt x="150" y="18"/>
                  </a:lnTo>
                  <a:lnTo>
                    <a:pt x="138" y="18"/>
                  </a:lnTo>
                  <a:lnTo>
                    <a:pt x="78" y="18"/>
                  </a:lnTo>
                  <a:lnTo>
                    <a:pt x="78" y="18"/>
                  </a:lnTo>
                  <a:lnTo>
                    <a:pt x="66" y="18"/>
                  </a:lnTo>
                  <a:lnTo>
                    <a:pt x="54" y="22"/>
                  </a:lnTo>
                  <a:lnTo>
                    <a:pt x="44" y="28"/>
                  </a:lnTo>
                  <a:lnTo>
                    <a:pt x="36" y="34"/>
                  </a:lnTo>
                  <a:lnTo>
                    <a:pt x="28" y="44"/>
                  </a:lnTo>
                  <a:lnTo>
                    <a:pt x="24" y="54"/>
                  </a:lnTo>
                  <a:lnTo>
                    <a:pt x="20" y="64"/>
                  </a:lnTo>
                  <a:lnTo>
                    <a:pt x="18" y="76"/>
                  </a:lnTo>
                  <a:lnTo>
                    <a:pt x="18" y="14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98" name="Rectangle 100">
              <a:extLst>
                <a:ext uri="{FF2B5EF4-FFF2-40B4-BE49-F238E27FC236}">
                  <a16:creationId xmlns:a16="http://schemas.microsoft.com/office/drawing/2014/main" id="{6DB7F71A-C839-69E8-5A74-C11809F0293A}"/>
                </a:ext>
              </a:extLst>
            </p:cNvPr>
            <p:cNvSpPr>
              <a:spLocks noChangeArrowheads="1"/>
            </p:cNvSpPr>
            <p:nvPr/>
          </p:nvSpPr>
          <p:spPr bwMode="auto">
            <a:xfrm>
              <a:off x="4665" y="2292"/>
              <a:ext cx="338" cy="18"/>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99" name="Line 101">
              <a:extLst>
                <a:ext uri="{FF2B5EF4-FFF2-40B4-BE49-F238E27FC236}">
                  <a16:creationId xmlns:a16="http://schemas.microsoft.com/office/drawing/2014/main" id="{E6CC446D-2C32-B9A5-5D6C-A1A78C3D974B}"/>
                </a:ext>
              </a:extLst>
            </p:cNvPr>
            <p:cNvSpPr>
              <a:spLocks noChangeShapeType="1"/>
            </p:cNvSpPr>
            <p:nvPr/>
          </p:nvSpPr>
          <p:spPr bwMode="auto">
            <a:xfrm>
              <a:off x="4543" y="2188"/>
              <a:ext cx="0" cy="0"/>
            </a:xfrm>
            <a:prstGeom prst="line">
              <a:avLst/>
            </a:pr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00" name="Line 102">
              <a:extLst>
                <a:ext uri="{FF2B5EF4-FFF2-40B4-BE49-F238E27FC236}">
                  <a16:creationId xmlns:a16="http://schemas.microsoft.com/office/drawing/2014/main" id="{38C095C9-A8BE-C06E-94D9-4257681EB386}"/>
                </a:ext>
              </a:extLst>
            </p:cNvPr>
            <p:cNvSpPr>
              <a:spLocks noChangeShapeType="1"/>
            </p:cNvSpPr>
            <p:nvPr/>
          </p:nvSpPr>
          <p:spPr bwMode="auto">
            <a:xfrm>
              <a:off x="4543" y="2188"/>
              <a:ext cx="0" cy="0"/>
            </a:xfrm>
            <a:prstGeom prst="line">
              <a:avLst/>
            </a:prstGeom>
            <a:grpFill/>
            <a:ln w="12700">
              <a:solidFill>
                <a:srgbClr val="2C2C2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01" name="Freeform 103">
              <a:extLst>
                <a:ext uri="{FF2B5EF4-FFF2-40B4-BE49-F238E27FC236}">
                  <a16:creationId xmlns:a16="http://schemas.microsoft.com/office/drawing/2014/main" id="{C4851872-8319-9E57-0B6C-80D775C11EDF}"/>
                </a:ext>
              </a:extLst>
            </p:cNvPr>
            <p:cNvSpPr>
              <a:spLocks noEditPoints="1"/>
            </p:cNvSpPr>
            <p:nvPr/>
          </p:nvSpPr>
          <p:spPr bwMode="auto">
            <a:xfrm>
              <a:off x="4449" y="2030"/>
              <a:ext cx="116" cy="116"/>
            </a:xfrm>
            <a:custGeom>
              <a:avLst/>
              <a:gdLst>
                <a:gd name="T0" fmla="*/ 58 w 116"/>
                <a:gd name="T1" fmla="*/ 116 h 116"/>
                <a:gd name="T2" fmla="*/ 36 w 116"/>
                <a:gd name="T3" fmla="*/ 110 h 116"/>
                <a:gd name="T4" fmla="*/ 18 w 116"/>
                <a:gd name="T5" fmla="*/ 98 h 116"/>
                <a:gd name="T6" fmla="*/ 6 w 116"/>
                <a:gd name="T7" fmla="*/ 80 h 116"/>
                <a:gd name="T8" fmla="*/ 0 w 116"/>
                <a:gd name="T9" fmla="*/ 58 h 116"/>
                <a:gd name="T10" fmla="*/ 2 w 116"/>
                <a:gd name="T11" fmla="*/ 46 h 116"/>
                <a:gd name="T12" fmla="*/ 10 w 116"/>
                <a:gd name="T13" fmla="*/ 26 h 116"/>
                <a:gd name="T14" fmla="*/ 26 w 116"/>
                <a:gd name="T15" fmla="*/ 10 h 116"/>
                <a:gd name="T16" fmla="*/ 46 w 116"/>
                <a:gd name="T17" fmla="*/ 2 h 116"/>
                <a:gd name="T18" fmla="*/ 58 w 116"/>
                <a:gd name="T19" fmla="*/ 0 h 116"/>
                <a:gd name="T20" fmla="*/ 80 w 116"/>
                <a:gd name="T21" fmla="*/ 4 h 116"/>
                <a:gd name="T22" fmla="*/ 100 w 116"/>
                <a:gd name="T23" fmla="*/ 16 h 116"/>
                <a:gd name="T24" fmla="*/ 112 w 116"/>
                <a:gd name="T25" fmla="*/ 36 h 116"/>
                <a:gd name="T26" fmla="*/ 116 w 116"/>
                <a:gd name="T27" fmla="*/ 58 h 116"/>
                <a:gd name="T28" fmla="*/ 114 w 116"/>
                <a:gd name="T29" fmla="*/ 70 h 116"/>
                <a:gd name="T30" fmla="*/ 106 w 116"/>
                <a:gd name="T31" fmla="*/ 90 h 116"/>
                <a:gd name="T32" fmla="*/ 90 w 116"/>
                <a:gd name="T33" fmla="*/ 106 h 116"/>
                <a:gd name="T34" fmla="*/ 70 w 116"/>
                <a:gd name="T35" fmla="*/ 114 h 116"/>
                <a:gd name="T36" fmla="*/ 58 w 116"/>
                <a:gd name="T37" fmla="*/ 116 h 116"/>
                <a:gd name="T38" fmla="*/ 58 w 116"/>
                <a:gd name="T39" fmla="*/ 18 h 116"/>
                <a:gd name="T40" fmla="*/ 42 w 116"/>
                <a:gd name="T41" fmla="*/ 20 h 116"/>
                <a:gd name="T42" fmla="*/ 30 w 116"/>
                <a:gd name="T43" fmla="*/ 30 h 116"/>
                <a:gd name="T44" fmla="*/ 22 w 116"/>
                <a:gd name="T45" fmla="*/ 42 h 116"/>
                <a:gd name="T46" fmla="*/ 18 w 116"/>
                <a:gd name="T47" fmla="*/ 58 h 116"/>
                <a:gd name="T48" fmla="*/ 20 w 116"/>
                <a:gd name="T49" fmla="*/ 66 h 116"/>
                <a:gd name="T50" fmla="*/ 26 w 116"/>
                <a:gd name="T51" fmla="*/ 80 h 116"/>
                <a:gd name="T52" fmla="*/ 36 w 116"/>
                <a:gd name="T53" fmla="*/ 90 h 116"/>
                <a:gd name="T54" fmla="*/ 50 w 116"/>
                <a:gd name="T55" fmla="*/ 96 h 116"/>
                <a:gd name="T56" fmla="*/ 58 w 116"/>
                <a:gd name="T57" fmla="*/ 98 h 116"/>
                <a:gd name="T58" fmla="*/ 74 w 116"/>
                <a:gd name="T59" fmla="*/ 94 h 116"/>
                <a:gd name="T60" fmla="*/ 86 w 116"/>
                <a:gd name="T61" fmla="*/ 86 h 116"/>
                <a:gd name="T62" fmla="*/ 94 w 116"/>
                <a:gd name="T63" fmla="*/ 74 h 116"/>
                <a:gd name="T64" fmla="*/ 98 w 116"/>
                <a:gd name="T65" fmla="*/ 58 h 116"/>
                <a:gd name="T66" fmla="*/ 98 w 116"/>
                <a:gd name="T67" fmla="*/ 50 h 116"/>
                <a:gd name="T68" fmla="*/ 92 w 116"/>
                <a:gd name="T69" fmla="*/ 36 h 116"/>
                <a:gd name="T70" fmla="*/ 80 w 116"/>
                <a:gd name="T71" fmla="*/ 24 h 116"/>
                <a:gd name="T72" fmla="*/ 66 w 116"/>
                <a:gd name="T73" fmla="*/ 18 h 116"/>
                <a:gd name="T74" fmla="*/ 58 w 116"/>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0"/>
                  </a:lnTo>
                  <a:lnTo>
                    <a:pt x="26" y="106"/>
                  </a:lnTo>
                  <a:lnTo>
                    <a:pt x="18" y="98"/>
                  </a:lnTo>
                  <a:lnTo>
                    <a:pt x="10" y="90"/>
                  </a:lnTo>
                  <a:lnTo>
                    <a:pt x="6" y="80"/>
                  </a:lnTo>
                  <a:lnTo>
                    <a:pt x="2" y="70"/>
                  </a:lnTo>
                  <a:lnTo>
                    <a:pt x="0" y="58"/>
                  </a:lnTo>
                  <a:lnTo>
                    <a:pt x="0" y="58"/>
                  </a:lnTo>
                  <a:lnTo>
                    <a:pt x="2" y="46"/>
                  </a:lnTo>
                  <a:lnTo>
                    <a:pt x="6" y="36"/>
                  </a:lnTo>
                  <a:lnTo>
                    <a:pt x="10" y="26"/>
                  </a:lnTo>
                  <a:lnTo>
                    <a:pt x="18" y="16"/>
                  </a:lnTo>
                  <a:lnTo>
                    <a:pt x="26" y="10"/>
                  </a:lnTo>
                  <a:lnTo>
                    <a:pt x="36" y="4"/>
                  </a:lnTo>
                  <a:lnTo>
                    <a:pt x="46" y="2"/>
                  </a:lnTo>
                  <a:lnTo>
                    <a:pt x="58" y="0"/>
                  </a:lnTo>
                  <a:lnTo>
                    <a:pt x="58" y="0"/>
                  </a:lnTo>
                  <a:lnTo>
                    <a:pt x="70" y="2"/>
                  </a:lnTo>
                  <a:lnTo>
                    <a:pt x="80" y="4"/>
                  </a:lnTo>
                  <a:lnTo>
                    <a:pt x="90" y="10"/>
                  </a:lnTo>
                  <a:lnTo>
                    <a:pt x="100" y="16"/>
                  </a:lnTo>
                  <a:lnTo>
                    <a:pt x="106" y="26"/>
                  </a:lnTo>
                  <a:lnTo>
                    <a:pt x="112" y="36"/>
                  </a:lnTo>
                  <a:lnTo>
                    <a:pt x="114" y="46"/>
                  </a:lnTo>
                  <a:lnTo>
                    <a:pt x="116" y="58"/>
                  </a:lnTo>
                  <a:lnTo>
                    <a:pt x="116" y="58"/>
                  </a:lnTo>
                  <a:lnTo>
                    <a:pt x="114" y="70"/>
                  </a:lnTo>
                  <a:lnTo>
                    <a:pt x="112" y="80"/>
                  </a:lnTo>
                  <a:lnTo>
                    <a:pt x="106" y="90"/>
                  </a:lnTo>
                  <a:lnTo>
                    <a:pt x="100" y="98"/>
                  </a:lnTo>
                  <a:lnTo>
                    <a:pt x="90" y="106"/>
                  </a:lnTo>
                  <a:lnTo>
                    <a:pt x="80" y="110"/>
                  </a:lnTo>
                  <a:lnTo>
                    <a:pt x="70" y="114"/>
                  </a:lnTo>
                  <a:lnTo>
                    <a:pt x="58" y="116"/>
                  </a:lnTo>
                  <a:lnTo>
                    <a:pt x="58" y="116"/>
                  </a:lnTo>
                  <a:close/>
                  <a:moveTo>
                    <a:pt x="58" y="18"/>
                  </a:moveTo>
                  <a:lnTo>
                    <a:pt x="58" y="18"/>
                  </a:lnTo>
                  <a:lnTo>
                    <a:pt x="50" y="18"/>
                  </a:lnTo>
                  <a:lnTo>
                    <a:pt x="42" y="20"/>
                  </a:lnTo>
                  <a:lnTo>
                    <a:pt x="36" y="24"/>
                  </a:lnTo>
                  <a:lnTo>
                    <a:pt x="30" y="30"/>
                  </a:lnTo>
                  <a:lnTo>
                    <a:pt x="26" y="36"/>
                  </a:lnTo>
                  <a:lnTo>
                    <a:pt x="22" y="42"/>
                  </a:lnTo>
                  <a:lnTo>
                    <a:pt x="20" y="50"/>
                  </a:lnTo>
                  <a:lnTo>
                    <a:pt x="18" y="58"/>
                  </a:lnTo>
                  <a:lnTo>
                    <a:pt x="18" y="58"/>
                  </a:lnTo>
                  <a:lnTo>
                    <a:pt x="20" y="66"/>
                  </a:lnTo>
                  <a:lnTo>
                    <a:pt x="22" y="74"/>
                  </a:lnTo>
                  <a:lnTo>
                    <a:pt x="26" y="80"/>
                  </a:lnTo>
                  <a:lnTo>
                    <a:pt x="30" y="86"/>
                  </a:lnTo>
                  <a:lnTo>
                    <a:pt x="36" y="90"/>
                  </a:lnTo>
                  <a:lnTo>
                    <a:pt x="42" y="94"/>
                  </a:lnTo>
                  <a:lnTo>
                    <a:pt x="50" y="96"/>
                  </a:lnTo>
                  <a:lnTo>
                    <a:pt x="58" y="98"/>
                  </a:lnTo>
                  <a:lnTo>
                    <a:pt x="58" y="98"/>
                  </a:lnTo>
                  <a:lnTo>
                    <a:pt x="66" y="96"/>
                  </a:lnTo>
                  <a:lnTo>
                    <a:pt x="74" y="94"/>
                  </a:lnTo>
                  <a:lnTo>
                    <a:pt x="80" y="90"/>
                  </a:lnTo>
                  <a:lnTo>
                    <a:pt x="86" y="86"/>
                  </a:lnTo>
                  <a:lnTo>
                    <a:pt x="92" y="80"/>
                  </a:lnTo>
                  <a:lnTo>
                    <a:pt x="94" y="74"/>
                  </a:lnTo>
                  <a:lnTo>
                    <a:pt x="98" y="66"/>
                  </a:lnTo>
                  <a:lnTo>
                    <a:pt x="98" y="58"/>
                  </a:lnTo>
                  <a:lnTo>
                    <a:pt x="98" y="58"/>
                  </a:lnTo>
                  <a:lnTo>
                    <a:pt x="98" y="50"/>
                  </a:lnTo>
                  <a:lnTo>
                    <a:pt x="94" y="42"/>
                  </a:lnTo>
                  <a:lnTo>
                    <a:pt x="92" y="36"/>
                  </a:lnTo>
                  <a:lnTo>
                    <a:pt x="86" y="30"/>
                  </a:lnTo>
                  <a:lnTo>
                    <a:pt x="80" y="24"/>
                  </a:lnTo>
                  <a:lnTo>
                    <a:pt x="74" y="20"/>
                  </a:lnTo>
                  <a:lnTo>
                    <a:pt x="66" y="18"/>
                  </a:lnTo>
                  <a:lnTo>
                    <a:pt x="58" y="18"/>
                  </a:lnTo>
                  <a:lnTo>
                    <a:pt x="58" y="1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02" name="Freeform 104">
              <a:extLst>
                <a:ext uri="{FF2B5EF4-FFF2-40B4-BE49-F238E27FC236}">
                  <a16:creationId xmlns:a16="http://schemas.microsoft.com/office/drawing/2014/main" id="{5588125E-BE95-42CF-E21E-94BDA3A04BEB}"/>
                </a:ext>
              </a:extLst>
            </p:cNvPr>
            <p:cNvSpPr>
              <a:spLocks noEditPoints="1"/>
            </p:cNvSpPr>
            <p:nvPr/>
          </p:nvSpPr>
          <p:spPr bwMode="auto">
            <a:xfrm>
              <a:off x="4773" y="2008"/>
              <a:ext cx="114" cy="114"/>
            </a:xfrm>
            <a:custGeom>
              <a:avLst/>
              <a:gdLst>
                <a:gd name="T0" fmla="*/ 56 w 114"/>
                <a:gd name="T1" fmla="*/ 114 h 114"/>
                <a:gd name="T2" fmla="*/ 34 w 114"/>
                <a:gd name="T3" fmla="*/ 110 h 114"/>
                <a:gd name="T4" fmla="*/ 16 w 114"/>
                <a:gd name="T5" fmla="*/ 98 h 114"/>
                <a:gd name="T6" fmla="*/ 4 w 114"/>
                <a:gd name="T7" fmla="*/ 80 h 114"/>
                <a:gd name="T8" fmla="*/ 0 w 114"/>
                <a:gd name="T9" fmla="*/ 56 h 114"/>
                <a:gd name="T10" fmla="*/ 0 w 114"/>
                <a:gd name="T11" fmla="*/ 46 h 114"/>
                <a:gd name="T12" fmla="*/ 10 w 114"/>
                <a:gd name="T13" fmla="*/ 24 h 114"/>
                <a:gd name="T14" fmla="*/ 24 w 114"/>
                <a:gd name="T15" fmla="*/ 10 h 114"/>
                <a:gd name="T16" fmla="*/ 46 w 114"/>
                <a:gd name="T17" fmla="*/ 0 h 114"/>
                <a:gd name="T18" fmla="*/ 56 w 114"/>
                <a:gd name="T19" fmla="*/ 0 h 114"/>
                <a:gd name="T20" fmla="*/ 80 w 114"/>
                <a:gd name="T21" fmla="*/ 4 h 114"/>
                <a:gd name="T22" fmla="*/ 98 w 114"/>
                <a:gd name="T23" fmla="*/ 16 h 114"/>
                <a:gd name="T24" fmla="*/ 110 w 114"/>
                <a:gd name="T25" fmla="*/ 34 h 114"/>
                <a:gd name="T26" fmla="*/ 114 w 114"/>
                <a:gd name="T27" fmla="*/ 56 h 114"/>
                <a:gd name="T28" fmla="*/ 114 w 114"/>
                <a:gd name="T29" fmla="*/ 68 h 114"/>
                <a:gd name="T30" fmla="*/ 104 w 114"/>
                <a:gd name="T31" fmla="*/ 90 h 114"/>
                <a:gd name="T32" fmla="*/ 90 w 114"/>
                <a:gd name="T33" fmla="*/ 104 h 114"/>
                <a:gd name="T34" fmla="*/ 68 w 114"/>
                <a:gd name="T35" fmla="*/ 114 h 114"/>
                <a:gd name="T36" fmla="*/ 56 w 114"/>
                <a:gd name="T37" fmla="*/ 114 h 114"/>
                <a:gd name="T38" fmla="*/ 56 w 114"/>
                <a:gd name="T39" fmla="*/ 18 h 114"/>
                <a:gd name="T40" fmla="*/ 42 w 114"/>
                <a:gd name="T41" fmla="*/ 20 h 114"/>
                <a:gd name="T42" fmla="*/ 28 w 114"/>
                <a:gd name="T43" fmla="*/ 28 h 114"/>
                <a:gd name="T44" fmla="*/ 20 w 114"/>
                <a:gd name="T45" fmla="*/ 42 h 114"/>
                <a:gd name="T46" fmla="*/ 18 w 114"/>
                <a:gd name="T47" fmla="*/ 56 h 114"/>
                <a:gd name="T48" fmla="*/ 18 w 114"/>
                <a:gd name="T49" fmla="*/ 64 h 114"/>
                <a:gd name="T50" fmla="*/ 24 w 114"/>
                <a:gd name="T51" fmla="*/ 80 h 114"/>
                <a:gd name="T52" fmla="*/ 34 w 114"/>
                <a:gd name="T53" fmla="*/ 90 h 114"/>
                <a:gd name="T54" fmla="*/ 48 w 114"/>
                <a:gd name="T55" fmla="*/ 96 h 114"/>
                <a:gd name="T56" fmla="*/ 56 w 114"/>
                <a:gd name="T57" fmla="*/ 96 h 114"/>
                <a:gd name="T58" fmla="*/ 72 w 114"/>
                <a:gd name="T59" fmla="*/ 94 h 114"/>
                <a:gd name="T60" fmla="*/ 86 w 114"/>
                <a:gd name="T61" fmla="*/ 86 h 114"/>
                <a:gd name="T62" fmla="*/ 94 w 114"/>
                <a:gd name="T63" fmla="*/ 72 h 114"/>
                <a:gd name="T64" fmla="*/ 96 w 114"/>
                <a:gd name="T65" fmla="*/ 56 h 114"/>
                <a:gd name="T66" fmla="*/ 96 w 114"/>
                <a:gd name="T67" fmla="*/ 48 h 114"/>
                <a:gd name="T68" fmla="*/ 90 w 114"/>
                <a:gd name="T69" fmla="*/ 34 h 114"/>
                <a:gd name="T70" fmla="*/ 80 w 114"/>
                <a:gd name="T71" fmla="*/ 24 h 114"/>
                <a:gd name="T72" fmla="*/ 64 w 114"/>
                <a:gd name="T73" fmla="*/ 18 h 114"/>
                <a:gd name="T74" fmla="*/ 56 w 114"/>
                <a:gd name="T75"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4">
                  <a:moveTo>
                    <a:pt x="56" y="114"/>
                  </a:moveTo>
                  <a:lnTo>
                    <a:pt x="56" y="114"/>
                  </a:lnTo>
                  <a:lnTo>
                    <a:pt x="46" y="114"/>
                  </a:lnTo>
                  <a:lnTo>
                    <a:pt x="34" y="110"/>
                  </a:lnTo>
                  <a:lnTo>
                    <a:pt x="24" y="104"/>
                  </a:lnTo>
                  <a:lnTo>
                    <a:pt x="16" y="98"/>
                  </a:lnTo>
                  <a:lnTo>
                    <a:pt x="10" y="90"/>
                  </a:lnTo>
                  <a:lnTo>
                    <a:pt x="4" y="80"/>
                  </a:lnTo>
                  <a:lnTo>
                    <a:pt x="0" y="68"/>
                  </a:lnTo>
                  <a:lnTo>
                    <a:pt x="0" y="56"/>
                  </a:lnTo>
                  <a:lnTo>
                    <a:pt x="0" y="56"/>
                  </a:lnTo>
                  <a:lnTo>
                    <a:pt x="0" y="46"/>
                  </a:lnTo>
                  <a:lnTo>
                    <a:pt x="4" y="34"/>
                  </a:lnTo>
                  <a:lnTo>
                    <a:pt x="10" y="24"/>
                  </a:lnTo>
                  <a:lnTo>
                    <a:pt x="16" y="16"/>
                  </a:lnTo>
                  <a:lnTo>
                    <a:pt x="24" y="10"/>
                  </a:lnTo>
                  <a:lnTo>
                    <a:pt x="34" y="4"/>
                  </a:lnTo>
                  <a:lnTo>
                    <a:pt x="46" y="0"/>
                  </a:lnTo>
                  <a:lnTo>
                    <a:pt x="56" y="0"/>
                  </a:lnTo>
                  <a:lnTo>
                    <a:pt x="56" y="0"/>
                  </a:lnTo>
                  <a:lnTo>
                    <a:pt x="68" y="0"/>
                  </a:lnTo>
                  <a:lnTo>
                    <a:pt x="80" y="4"/>
                  </a:lnTo>
                  <a:lnTo>
                    <a:pt x="90" y="10"/>
                  </a:lnTo>
                  <a:lnTo>
                    <a:pt x="98" y="16"/>
                  </a:lnTo>
                  <a:lnTo>
                    <a:pt x="104" y="24"/>
                  </a:lnTo>
                  <a:lnTo>
                    <a:pt x="110" y="34"/>
                  </a:lnTo>
                  <a:lnTo>
                    <a:pt x="114" y="46"/>
                  </a:lnTo>
                  <a:lnTo>
                    <a:pt x="114" y="56"/>
                  </a:lnTo>
                  <a:lnTo>
                    <a:pt x="114" y="56"/>
                  </a:lnTo>
                  <a:lnTo>
                    <a:pt x="114" y="68"/>
                  </a:lnTo>
                  <a:lnTo>
                    <a:pt x="110" y="80"/>
                  </a:lnTo>
                  <a:lnTo>
                    <a:pt x="104" y="90"/>
                  </a:lnTo>
                  <a:lnTo>
                    <a:pt x="98" y="98"/>
                  </a:lnTo>
                  <a:lnTo>
                    <a:pt x="90" y="104"/>
                  </a:lnTo>
                  <a:lnTo>
                    <a:pt x="80" y="110"/>
                  </a:lnTo>
                  <a:lnTo>
                    <a:pt x="68" y="114"/>
                  </a:lnTo>
                  <a:lnTo>
                    <a:pt x="56" y="114"/>
                  </a:lnTo>
                  <a:lnTo>
                    <a:pt x="56" y="114"/>
                  </a:lnTo>
                  <a:close/>
                  <a:moveTo>
                    <a:pt x="56" y="18"/>
                  </a:moveTo>
                  <a:lnTo>
                    <a:pt x="56" y="18"/>
                  </a:lnTo>
                  <a:lnTo>
                    <a:pt x="48" y="18"/>
                  </a:lnTo>
                  <a:lnTo>
                    <a:pt x="42" y="20"/>
                  </a:lnTo>
                  <a:lnTo>
                    <a:pt x="34" y="24"/>
                  </a:lnTo>
                  <a:lnTo>
                    <a:pt x="28" y="28"/>
                  </a:lnTo>
                  <a:lnTo>
                    <a:pt x="24" y="34"/>
                  </a:lnTo>
                  <a:lnTo>
                    <a:pt x="20" y="42"/>
                  </a:lnTo>
                  <a:lnTo>
                    <a:pt x="18" y="48"/>
                  </a:lnTo>
                  <a:lnTo>
                    <a:pt x="18" y="56"/>
                  </a:lnTo>
                  <a:lnTo>
                    <a:pt x="18" y="56"/>
                  </a:lnTo>
                  <a:lnTo>
                    <a:pt x="18" y="64"/>
                  </a:lnTo>
                  <a:lnTo>
                    <a:pt x="20" y="72"/>
                  </a:lnTo>
                  <a:lnTo>
                    <a:pt x="24" y="80"/>
                  </a:lnTo>
                  <a:lnTo>
                    <a:pt x="28" y="86"/>
                  </a:lnTo>
                  <a:lnTo>
                    <a:pt x="34" y="90"/>
                  </a:lnTo>
                  <a:lnTo>
                    <a:pt x="42" y="94"/>
                  </a:lnTo>
                  <a:lnTo>
                    <a:pt x="48" y="96"/>
                  </a:lnTo>
                  <a:lnTo>
                    <a:pt x="56" y="96"/>
                  </a:lnTo>
                  <a:lnTo>
                    <a:pt x="56" y="96"/>
                  </a:lnTo>
                  <a:lnTo>
                    <a:pt x="64" y="96"/>
                  </a:lnTo>
                  <a:lnTo>
                    <a:pt x="72" y="94"/>
                  </a:lnTo>
                  <a:lnTo>
                    <a:pt x="80" y="90"/>
                  </a:lnTo>
                  <a:lnTo>
                    <a:pt x="86" y="86"/>
                  </a:lnTo>
                  <a:lnTo>
                    <a:pt x="90" y="80"/>
                  </a:lnTo>
                  <a:lnTo>
                    <a:pt x="94" y="72"/>
                  </a:lnTo>
                  <a:lnTo>
                    <a:pt x="96" y="64"/>
                  </a:lnTo>
                  <a:lnTo>
                    <a:pt x="96" y="56"/>
                  </a:lnTo>
                  <a:lnTo>
                    <a:pt x="96" y="56"/>
                  </a:lnTo>
                  <a:lnTo>
                    <a:pt x="96" y="48"/>
                  </a:lnTo>
                  <a:lnTo>
                    <a:pt x="94" y="42"/>
                  </a:lnTo>
                  <a:lnTo>
                    <a:pt x="90" y="34"/>
                  </a:lnTo>
                  <a:lnTo>
                    <a:pt x="86" y="28"/>
                  </a:lnTo>
                  <a:lnTo>
                    <a:pt x="80" y="24"/>
                  </a:lnTo>
                  <a:lnTo>
                    <a:pt x="72" y="20"/>
                  </a:lnTo>
                  <a:lnTo>
                    <a:pt x="64" y="18"/>
                  </a:lnTo>
                  <a:lnTo>
                    <a:pt x="56" y="18"/>
                  </a:lnTo>
                  <a:lnTo>
                    <a:pt x="56" y="1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03" name="Freeform 105">
              <a:extLst>
                <a:ext uri="{FF2B5EF4-FFF2-40B4-BE49-F238E27FC236}">
                  <a16:creationId xmlns:a16="http://schemas.microsoft.com/office/drawing/2014/main" id="{45FEF575-89A6-4E0E-CFBB-F2A9F34776C8}"/>
                </a:ext>
              </a:extLst>
            </p:cNvPr>
            <p:cNvSpPr>
              <a:spLocks noEditPoints="1"/>
            </p:cNvSpPr>
            <p:nvPr/>
          </p:nvSpPr>
          <p:spPr bwMode="auto">
            <a:xfrm>
              <a:off x="5089" y="2030"/>
              <a:ext cx="116" cy="116"/>
            </a:xfrm>
            <a:custGeom>
              <a:avLst/>
              <a:gdLst>
                <a:gd name="T0" fmla="*/ 58 w 116"/>
                <a:gd name="T1" fmla="*/ 116 h 116"/>
                <a:gd name="T2" fmla="*/ 36 w 116"/>
                <a:gd name="T3" fmla="*/ 110 h 116"/>
                <a:gd name="T4" fmla="*/ 18 w 116"/>
                <a:gd name="T5" fmla="*/ 98 h 116"/>
                <a:gd name="T6" fmla="*/ 4 w 116"/>
                <a:gd name="T7" fmla="*/ 80 h 116"/>
                <a:gd name="T8" fmla="*/ 0 w 116"/>
                <a:gd name="T9" fmla="*/ 58 h 116"/>
                <a:gd name="T10" fmla="*/ 2 w 116"/>
                <a:gd name="T11" fmla="*/ 46 h 116"/>
                <a:gd name="T12" fmla="*/ 10 w 116"/>
                <a:gd name="T13" fmla="*/ 26 h 116"/>
                <a:gd name="T14" fmla="*/ 26 w 116"/>
                <a:gd name="T15" fmla="*/ 10 h 116"/>
                <a:gd name="T16" fmla="*/ 46 w 116"/>
                <a:gd name="T17" fmla="*/ 2 h 116"/>
                <a:gd name="T18" fmla="*/ 58 w 116"/>
                <a:gd name="T19" fmla="*/ 0 h 116"/>
                <a:gd name="T20" fmla="*/ 80 w 116"/>
                <a:gd name="T21" fmla="*/ 4 h 116"/>
                <a:gd name="T22" fmla="*/ 98 w 116"/>
                <a:gd name="T23" fmla="*/ 16 h 116"/>
                <a:gd name="T24" fmla="*/ 112 w 116"/>
                <a:gd name="T25" fmla="*/ 36 h 116"/>
                <a:gd name="T26" fmla="*/ 116 w 116"/>
                <a:gd name="T27" fmla="*/ 58 h 116"/>
                <a:gd name="T28" fmla="*/ 114 w 116"/>
                <a:gd name="T29" fmla="*/ 70 h 116"/>
                <a:gd name="T30" fmla="*/ 106 w 116"/>
                <a:gd name="T31" fmla="*/ 90 h 116"/>
                <a:gd name="T32" fmla="*/ 90 w 116"/>
                <a:gd name="T33" fmla="*/ 106 h 116"/>
                <a:gd name="T34" fmla="*/ 70 w 116"/>
                <a:gd name="T35" fmla="*/ 114 h 116"/>
                <a:gd name="T36" fmla="*/ 58 w 116"/>
                <a:gd name="T37" fmla="*/ 116 h 116"/>
                <a:gd name="T38" fmla="*/ 58 w 116"/>
                <a:gd name="T39" fmla="*/ 18 h 116"/>
                <a:gd name="T40" fmla="*/ 42 w 116"/>
                <a:gd name="T41" fmla="*/ 20 h 116"/>
                <a:gd name="T42" fmla="*/ 30 w 116"/>
                <a:gd name="T43" fmla="*/ 30 h 116"/>
                <a:gd name="T44" fmla="*/ 22 w 116"/>
                <a:gd name="T45" fmla="*/ 42 h 116"/>
                <a:gd name="T46" fmla="*/ 18 w 116"/>
                <a:gd name="T47" fmla="*/ 58 h 116"/>
                <a:gd name="T48" fmla="*/ 20 w 116"/>
                <a:gd name="T49" fmla="*/ 66 h 116"/>
                <a:gd name="T50" fmla="*/ 26 w 116"/>
                <a:gd name="T51" fmla="*/ 80 h 116"/>
                <a:gd name="T52" fmla="*/ 36 w 116"/>
                <a:gd name="T53" fmla="*/ 90 h 116"/>
                <a:gd name="T54" fmla="*/ 50 w 116"/>
                <a:gd name="T55" fmla="*/ 96 h 116"/>
                <a:gd name="T56" fmla="*/ 58 w 116"/>
                <a:gd name="T57" fmla="*/ 98 h 116"/>
                <a:gd name="T58" fmla="*/ 74 w 116"/>
                <a:gd name="T59" fmla="*/ 94 h 116"/>
                <a:gd name="T60" fmla="*/ 86 w 116"/>
                <a:gd name="T61" fmla="*/ 86 h 116"/>
                <a:gd name="T62" fmla="*/ 94 w 116"/>
                <a:gd name="T63" fmla="*/ 74 h 116"/>
                <a:gd name="T64" fmla="*/ 98 w 116"/>
                <a:gd name="T65" fmla="*/ 58 h 116"/>
                <a:gd name="T66" fmla="*/ 98 w 116"/>
                <a:gd name="T67" fmla="*/ 50 h 116"/>
                <a:gd name="T68" fmla="*/ 92 w 116"/>
                <a:gd name="T69" fmla="*/ 36 h 116"/>
                <a:gd name="T70" fmla="*/ 80 w 116"/>
                <a:gd name="T71" fmla="*/ 24 h 116"/>
                <a:gd name="T72" fmla="*/ 66 w 116"/>
                <a:gd name="T73" fmla="*/ 18 h 116"/>
                <a:gd name="T74" fmla="*/ 58 w 116"/>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0"/>
                  </a:lnTo>
                  <a:lnTo>
                    <a:pt x="26" y="106"/>
                  </a:lnTo>
                  <a:lnTo>
                    <a:pt x="18" y="98"/>
                  </a:lnTo>
                  <a:lnTo>
                    <a:pt x="10" y="90"/>
                  </a:lnTo>
                  <a:lnTo>
                    <a:pt x="4" y="80"/>
                  </a:lnTo>
                  <a:lnTo>
                    <a:pt x="2" y="70"/>
                  </a:lnTo>
                  <a:lnTo>
                    <a:pt x="0" y="58"/>
                  </a:lnTo>
                  <a:lnTo>
                    <a:pt x="0" y="58"/>
                  </a:lnTo>
                  <a:lnTo>
                    <a:pt x="2" y="46"/>
                  </a:lnTo>
                  <a:lnTo>
                    <a:pt x="4" y="36"/>
                  </a:lnTo>
                  <a:lnTo>
                    <a:pt x="10" y="26"/>
                  </a:lnTo>
                  <a:lnTo>
                    <a:pt x="18" y="16"/>
                  </a:lnTo>
                  <a:lnTo>
                    <a:pt x="26" y="10"/>
                  </a:lnTo>
                  <a:lnTo>
                    <a:pt x="36" y="4"/>
                  </a:lnTo>
                  <a:lnTo>
                    <a:pt x="46" y="2"/>
                  </a:lnTo>
                  <a:lnTo>
                    <a:pt x="58" y="0"/>
                  </a:lnTo>
                  <a:lnTo>
                    <a:pt x="58" y="0"/>
                  </a:lnTo>
                  <a:lnTo>
                    <a:pt x="70" y="2"/>
                  </a:lnTo>
                  <a:lnTo>
                    <a:pt x="80" y="4"/>
                  </a:lnTo>
                  <a:lnTo>
                    <a:pt x="90" y="10"/>
                  </a:lnTo>
                  <a:lnTo>
                    <a:pt x="98" y="16"/>
                  </a:lnTo>
                  <a:lnTo>
                    <a:pt x="106" y="26"/>
                  </a:lnTo>
                  <a:lnTo>
                    <a:pt x="112" y="36"/>
                  </a:lnTo>
                  <a:lnTo>
                    <a:pt x="114" y="46"/>
                  </a:lnTo>
                  <a:lnTo>
                    <a:pt x="116" y="58"/>
                  </a:lnTo>
                  <a:lnTo>
                    <a:pt x="116" y="58"/>
                  </a:lnTo>
                  <a:lnTo>
                    <a:pt x="114" y="70"/>
                  </a:lnTo>
                  <a:lnTo>
                    <a:pt x="112" y="80"/>
                  </a:lnTo>
                  <a:lnTo>
                    <a:pt x="106" y="90"/>
                  </a:lnTo>
                  <a:lnTo>
                    <a:pt x="98" y="98"/>
                  </a:lnTo>
                  <a:lnTo>
                    <a:pt x="90" y="106"/>
                  </a:lnTo>
                  <a:lnTo>
                    <a:pt x="80" y="110"/>
                  </a:lnTo>
                  <a:lnTo>
                    <a:pt x="70" y="114"/>
                  </a:lnTo>
                  <a:lnTo>
                    <a:pt x="58" y="116"/>
                  </a:lnTo>
                  <a:lnTo>
                    <a:pt x="58" y="116"/>
                  </a:lnTo>
                  <a:close/>
                  <a:moveTo>
                    <a:pt x="58" y="18"/>
                  </a:moveTo>
                  <a:lnTo>
                    <a:pt x="58" y="18"/>
                  </a:lnTo>
                  <a:lnTo>
                    <a:pt x="50" y="18"/>
                  </a:lnTo>
                  <a:lnTo>
                    <a:pt x="42" y="20"/>
                  </a:lnTo>
                  <a:lnTo>
                    <a:pt x="36" y="24"/>
                  </a:lnTo>
                  <a:lnTo>
                    <a:pt x="30" y="30"/>
                  </a:lnTo>
                  <a:lnTo>
                    <a:pt x="26" y="36"/>
                  </a:lnTo>
                  <a:lnTo>
                    <a:pt x="22" y="42"/>
                  </a:lnTo>
                  <a:lnTo>
                    <a:pt x="20" y="50"/>
                  </a:lnTo>
                  <a:lnTo>
                    <a:pt x="18" y="58"/>
                  </a:lnTo>
                  <a:lnTo>
                    <a:pt x="18" y="58"/>
                  </a:lnTo>
                  <a:lnTo>
                    <a:pt x="20" y="66"/>
                  </a:lnTo>
                  <a:lnTo>
                    <a:pt x="22" y="74"/>
                  </a:lnTo>
                  <a:lnTo>
                    <a:pt x="26" y="80"/>
                  </a:lnTo>
                  <a:lnTo>
                    <a:pt x="30" y="86"/>
                  </a:lnTo>
                  <a:lnTo>
                    <a:pt x="36" y="90"/>
                  </a:lnTo>
                  <a:lnTo>
                    <a:pt x="42" y="94"/>
                  </a:lnTo>
                  <a:lnTo>
                    <a:pt x="50" y="96"/>
                  </a:lnTo>
                  <a:lnTo>
                    <a:pt x="58" y="98"/>
                  </a:lnTo>
                  <a:lnTo>
                    <a:pt x="58" y="98"/>
                  </a:lnTo>
                  <a:lnTo>
                    <a:pt x="66" y="96"/>
                  </a:lnTo>
                  <a:lnTo>
                    <a:pt x="74" y="94"/>
                  </a:lnTo>
                  <a:lnTo>
                    <a:pt x="80" y="90"/>
                  </a:lnTo>
                  <a:lnTo>
                    <a:pt x="86" y="86"/>
                  </a:lnTo>
                  <a:lnTo>
                    <a:pt x="92" y="80"/>
                  </a:lnTo>
                  <a:lnTo>
                    <a:pt x="94" y="74"/>
                  </a:lnTo>
                  <a:lnTo>
                    <a:pt x="98" y="66"/>
                  </a:lnTo>
                  <a:lnTo>
                    <a:pt x="98" y="58"/>
                  </a:lnTo>
                  <a:lnTo>
                    <a:pt x="98" y="58"/>
                  </a:lnTo>
                  <a:lnTo>
                    <a:pt x="98" y="50"/>
                  </a:lnTo>
                  <a:lnTo>
                    <a:pt x="94" y="42"/>
                  </a:lnTo>
                  <a:lnTo>
                    <a:pt x="92" y="36"/>
                  </a:lnTo>
                  <a:lnTo>
                    <a:pt x="86" y="30"/>
                  </a:lnTo>
                  <a:lnTo>
                    <a:pt x="80" y="24"/>
                  </a:lnTo>
                  <a:lnTo>
                    <a:pt x="74" y="20"/>
                  </a:lnTo>
                  <a:lnTo>
                    <a:pt x="66" y="18"/>
                  </a:lnTo>
                  <a:lnTo>
                    <a:pt x="58" y="18"/>
                  </a:lnTo>
                  <a:lnTo>
                    <a:pt x="58" y="1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04" name="Freeform 106">
              <a:extLst>
                <a:ext uri="{FF2B5EF4-FFF2-40B4-BE49-F238E27FC236}">
                  <a16:creationId xmlns:a16="http://schemas.microsoft.com/office/drawing/2014/main" id="{8F12AE1F-5907-D2B5-3806-E708FE7A2000}"/>
                </a:ext>
              </a:extLst>
            </p:cNvPr>
            <p:cNvSpPr>
              <a:spLocks/>
            </p:cNvSpPr>
            <p:nvPr/>
          </p:nvSpPr>
          <p:spPr bwMode="auto">
            <a:xfrm>
              <a:off x="4409" y="2232"/>
              <a:ext cx="172" cy="226"/>
            </a:xfrm>
            <a:custGeom>
              <a:avLst/>
              <a:gdLst>
                <a:gd name="T0" fmla="*/ 172 w 172"/>
                <a:gd name="T1" fmla="*/ 226 h 226"/>
                <a:gd name="T2" fmla="*/ 66 w 172"/>
                <a:gd name="T3" fmla="*/ 226 h 226"/>
                <a:gd name="T4" fmla="*/ 66 w 172"/>
                <a:gd name="T5" fmla="*/ 226 h 226"/>
                <a:gd name="T6" fmla="*/ 52 w 172"/>
                <a:gd name="T7" fmla="*/ 224 h 226"/>
                <a:gd name="T8" fmla="*/ 40 w 172"/>
                <a:gd name="T9" fmla="*/ 220 h 226"/>
                <a:gd name="T10" fmla="*/ 30 w 172"/>
                <a:gd name="T11" fmla="*/ 214 h 226"/>
                <a:gd name="T12" fmla="*/ 20 w 172"/>
                <a:gd name="T13" fmla="*/ 206 h 226"/>
                <a:gd name="T14" fmla="*/ 12 w 172"/>
                <a:gd name="T15" fmla="*/ 198 h 226"/>
                <a:gd name="T16" fmla="*/ 6 w 172"/>
                <a:gd name="T17" fmla="*/ 186 h 226"/>
                <a:gd name="T18" fmla="*/ 2 w 172"/>
                <a:gd name="T19" fmla="*/ 174 h 226"/>
                <a:gd name="T20" fmla="*/ 0 w 172"/>
                <a:gd name="T21" fmla="*/ 160 h 226"/>
                <a:gd name="T22" fmla="*/ 0 w 172"/>
                <a:gd name="T23" fmla="*/ 0 h 226"/>
                <a:gd name="T24" fmla="*/ 18 w 172"/>
                <a:gd name="T25" fmla="*/ 0 h 226"/>
                <a:gd name="T26" fmla="*/ 18 w 172"/>
                <a:gd name="T27" fmla="*/ 160 h 226"/>
                <a:gd name="T28" fmla="*/ 18 w 172"/>
                <a:gd name="T29" fmla="*/ 160 h 226"/>
                <a:gd name="T30" fmla="*/ 20 w 172"/>
                <a:gd name="T31" fmla="*/ 170 h 226"/>
                <a:gd name="T32" fmla="*/ 22 w 172"/>
                <a:gd name="T33" fmla="*/ 178 h 226"/>
                <a:gd name="T34" fmla="*/ 26 w 172"/>
                <a:gd name="T35" fmla="*/ 186 h 226"/>
                <a:gd name="T36" fmla="*/ 32 w 172"/>
                <a:gd name="T37" fmla="*/ 194 h 226"/>
                <a:gd name="T38" fmla="*/ 40 w 172"/>
                <a:gd name="T39" fmla="*/ 200 h 226"/>
                <a:gd name="T40" fmla="*/ 48 w 172"/>
                <a:gd name="T41" fmla="*/ 204 h 226"/>
                <a:gd name="T42" fmla="*/ 56 w 172"/>
                <a:gd name="T43" fmla="*/ 206 h 226"/>
                <a:gd name="T44" fmla="*/ 66 w 172"/>
                <a:gd name="T45" fmla="*/ 208 h 226"/>
                <a:gd name="T46" fmla="*/ 172 w 172"/>
                <a:gd name="T47" fmla="*/ 208 h 226"/>
                <a:gd name="T48" fmla="*/ 172 w 172"/>
                <a:gd name="T4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226">
                  <a:moveTo>
                    <a:pt x="172" y="226"/>
                  </a:moveTo>
                  <a:lnTo>
                    <a:pt x="66" y="226"/>
                  </a:lnTo>
                  <a:lnTo>
                    <a:pt x="66" y="226"/>
                  </a:lnTo>
                  <a:lnTo>
                    <a:pt x="52" y="224"/>
                  </a:lnTo>
                  <a:lnTo>
                    <a:pt x="40" y="220"/>
                  </a:lnTo>
                  <a:lnTo>
                    <a:pt x="30" y="214"/>
                  </a:lnTo>
                  <a:lnTo>
                    <a:pt x="20" y="206"/>
                  </a:lnTo>
                  <a:lnTo>
                    <a:pt x="12" y="198"/>
                  </a:lnTo>
                  <a:lnTo>
                    <a:pt x="6" y="186"/>
                  </a:lnTo>
                  <a:lnTo>
                    <a:pt x="2" y="174"/>
                  </a:lnTo>
                  <a:lnTo>
                    <a:pt x="0" y="160"/>
                  </a:lnTo>
                  <a:lnTo>
                    <a:pt x="0" y="0"/>
                  </a:lnTo>
                  <a:lnTo>
                    <a:pt x="18" y="0"/>
                  </a:lnTo>
                  <a:lnTo>
                    <a:pt x="18" y="160"/>
                  </a:lnTo>
                  <a:lnTo>
                    <a:pt x="18" y="160"/>
                  </a:lnTo>
                  <a:lnTo>
                    <a:pt x="20" y="170"/>
                  </a:lnTo>
                  <a:lnTo>
                    <a:pt x="22" y="178"/>
                  </a:lnTo>
                  <a:lnTo>
                    <a:pt x="26" y="186"/>
                  </a:lnTo>
                  <a:lnTo>
                    <a:pt x="32" y="194"/>
                  </a:lnTo>
                  <a:lnTo>
                    <a:pt x="40" y="200"/>
                  </a:lnTo>
                  <a:lnTo>
                    <a:pt x="48" y="204"/>
                  </a:lnTo>
                  <a:lnTo>
                    <a:pt x="56" y="206"/>
                  </a:lnTo>
                  <a:lnTo>
                    <a:pt x="66" y="208"/>
                  </a:lnTo>
                  <a:lnTo>
                    <a:pt x="172" y="208"/>
                  </a:lnTo>
                  <a:lnTo>
                    <a:pt x="172" y="22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05" name="Rectangle 107">
              <a:extLst>
                <a:ext uri="{FF2B5EF4-FFF2-40B4-BE49-F238E27FC236}">
                  <a16:creationId xmlns:a16="http://schemas.microsoft.com/office/drawing/2014/main" id="{25F80FAA-523F-8B44-551B-95AF749AD3D2}"/>
                </a:ext>
              </a:extLst>
            </p:cNvPr>
            <p:cNvSpPr>
              <a:spLocks noChangeArrowheads="1"/>
            </p:cNvSpPr>
            <p:nvPr/>
          </p:nvSpPr>
          <p:spPr bwMode="auto">
            <a:xfrm>
              <a:off x="4499" y="2448"/>
              <a:ext cx="18" cy="128"/>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06" name="Rectangle 108">
              <a:extLst>
                <a:ext uri="{FF2B5EF4-FFF2-40B4-BE49-F238E27FC236}">
                  <a16:creationId xmlns:a16="http://schemas.microsoft.com/office/drawing/2014/main" id="{04EE83ED-E226-E10E-48DA-D96A0D7AC8D2}"/>
                </a:ext>
              </a:extLst>
            </p:cNvPr>
            <p:cNvSpPr>
              <a:spLocks noChangeArrowheads="1"/>
            </p:cNvSpPr>
            <p:nvPr/>
          </p:nvSpPr>
          <p:spPr bwMode="auto">
            <a:xfrm>
              <a:off x="4449" y="2568"/>
              <a:ext cx="118" cy="18"/>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07" name="Freeform 109">
              <a:extLst>
                <a:ext uri="{FF2B5EF4-FFF2-40B4-BE49-F238E27FC236}">
                  <a16:creationId xmlns:a16="http://schemas.microsoft.com/office/drawing/2014/main" id="{424F850A-6933-4F30-468C-5EC960CA8C69}"/>
                </a:ext>
              </a:extLst>
            </p:cNvPr>
            <p:cNvSpPr>
              <a:spLocks/>
            </p:cNvSpPr>
            <p:nvPr/>
          </p:nvSpPr>
          <p:spPr bwMode="auto">
            <a:xfrm>
              <a:off x="5071" y="2232"/>
              <a:ext cx="174" cy="226"/>
            </a:xfrm>
            <a:custGeom>
              <a:avLst/>
              <a:gdLst>
                <a:gd name="T0" fmla="*/ 108 w 174"/>
                <a:gd name="T1" fmla="*/ 226 h 226"/>
                <a:gd name="T2" fmla="*/ 0 w 174"/>
                <a:gd name="T3" fmla="*/ 226 h 226"/>
                <a:gd name="T4" fmla="*/ 0 w 174"/>
                <a:gd name="T5" fmla="*/ 208 h 226"/>
                <a:gd name="T6" fmla="*/ 108 w 174"/>
                <a:gd name="T7" fmla="*/ 208 h 226"/>
                <a:gd name="T8" fmla="*/ 108 w 174"/>
                <a:gd name="T9" fmla="*/ 208 h 226"/>
                <a:gd name="T10" fmla="*/ 118 w 174"/>
                <a:gd name="T11" fmla="*/ 206 h 226"/>
                <a:gd name="T12" fmla="*/ 126 w 174"/>
                <a:gd name="T13" fmla="*/ 204 h 226"/>
                <a:gd name="T14" fmla="*/ 134 w 174"/>
                <a:gd name="T15" fmla="*/ 200 h 226"/>
                <a:gd name="T16" fmla="*/ 142 w 174"/>
                <a:gd name="T17" fmla="*/ 194 h 226"/>
                <a:gd name="T18" fmla="*/ 148 w 174"/>
                <a:gd name="T19" fmla="*/ 186 h 226"/>
                <a:gd name="T20" fmla="*/ 152 w 174"/>
                <a:gd name="T21" fmla="*/ 178 h 226"/>
                <a:gd name="T22" fmla="*/ 154 w 174"/>
                <a:gd name="T23" fmla="*/ 170 h 226"/>
                <a:gd name="T24" fmla="*/ 156 w 174"/>
                <a:gd name="T25" fmla="*/ 160 h 226"/>
                <a:gd name="T26" fmla="*/ 156 w 174"/>
                <a:gd name="T27" fmla="*/ 0 h 226"/>
                <a:gd name="T28" fmla="*/ 174 w 174"/>
                <a:gd name="T29" fmla="*/ 0 h 226"/>
                <a:gd name="T30" fmla="*/ 174 w 174"/>
                <a:gd name="T31" fmla="*/ 160 h 226"/>
                <a:gd name="T32" fmla="*/ 174 w 174"/>
                <a:gd name="T33" fmla="*/ 160 h 226"/>
                <a:gd name="T34" fmla="*/ 172 w 174"/>
                <a:gd name="T35" fmla="*/ 174 h 226"/>
                <a:gd name="T36" fmla="*/ 168 w 174"/>
                <a:gd name="T37" fmla="*/ 186 h 226"/>
                <a:gd name="T38" fmla="*/ 162 w 174"/>
                <a:gd name="T39" fmla="*/ 198 h 226"/>
                <a:gd name="T40" fmla="*/ 154 w 174"/>
                <a:gd name="T41" fmla="*/ 206 h 226"/>
                <a:gd name="T42" fmla="*/ 144 w 174"/>
                <a:gd name="T43" fmla="*/ 214 h 226"/>
                <a:gd name="T44" fmla="*/ 134 w 174"/>
                <a:gd name="T45" fmla="*/ 220 h 226"/>
                <a:gd name="T46" fmla="*/ 122 w 174"/>
                <a:gd name="T47" fmla="*/ 224 h 226"/>
                <a:gd name="T48" fmla="*/ 108 w 174"/>
                <a:gd name="T49" fmla="*/ 226 h 226"/>
                <a:gd name="T50" fmla="*/ 108 w 174"/>
                <a:gd name="T5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4" h="226">
                  <a:moveTo>
                    <a:pt x="108" y="226"/>
                  </a:moveTo>
                  <a:lnTo>
                    <a:pt x="0" y="226"/>
                  </a:lnTo>
                  <a:lnTo>
                    <a:pt x="0" y="208"/>
                  </a:lnTo>
                  <a:lnTo>
                    <a:pt x="108" y="208"/>
                  </a:lnTo>
                  <a:lnTo>
                    <a:pt x="108" y="208"/>
                  </a:lnTo>
                  <a:lnTo>
                    <a:pt x="118" y="206"/>
                  </a:lnTo>
                  <a:lnTo>
                    <a:pt x="126" y="204"/>
                  </a:lnTo>
                  <a:lnTo>
                    <a:pt x="134" y="200"/>
                  </a:lnTo>
                  <a:lnTo>
                    <a:pt x="142" y="194"/>
                  </a:lnTo>
                  <a:lnTo>
                    <a:pt x="148" y="186"/>
                  </a:lnTo>
                  <a:lnTo>
                    <a:pt x="152" y="178"/>
                  </a:lnTo>
                  <a:lnTo>
                    <a:pt x="154" y="170"/>
                  </a:lnTo>
                  <a:lnTo>
                    <a:pt x="156" y="160"/>
                  </a:lnTo>
                  <a:lnTo>
                    <a:pt x="156" y="0"/>
                  </a:lnTo>
                  <a:lnTo>
                    <a:pt x="174" y="0"/>
                  </a:lnTo>
                  <a:lnTo>
                    <a:pt x="174" y="160"/>
                  </a:lnTo>
                  <a:lnTo>
                    <a:pt x="174" y="160"/>
                  </a:lnTo>
                  <a:lnTo>
                    <a:pt x="172" y="174"/>
                  </a:lnTo>
                  <a:lnTo>
                    <a:pt x="168" y="186"/>
                  </a:lnTo>
                  <a:lnTo>
                    <a:pt x="162" y="198"/>
                  </a:lnTo>
                  <a:lnTo>
                    <a:pt x="154" y="206"/>
                  </a:lnTo>
                  <a:lnTo>
                    <a:pt x="144" y="214"/>
                  </a:lnTo>
                  <a:lnTo>
                    <a:pt x="134" y="220"/>
                  </a:lnTo>
                  <a:lnTo>
                    <a:pt x="122" y="224"/>
                  </a:lnTo>
                  <a:lnTo>
                    <a:pt x="108" y="226"/>
                  </a:lnTo>
                  <a:lnTo>
                    <a:pt x="108" y="22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08" name="Rectangle 110">
              <a:extLst>
                <a:ext uri="{FF2B5EF4-FFF2-40B4-BE49-F238E27FC236}">
                  <a16:creationId xmlns:a16="http://schemas.microsoft.com/office/drawing/2014/main" id="{40E77043-7A9D-88AD-C8BD-1521D56A03A3}"/>
                </a:ext>
              </a:extLst>
            </p:cNvPr>
            <p:cNvSpPr>
              <a:spLocks noChangeArrowheads="1"/>
            </p:cNvSpPr>
            <p:nvPr/>
          </p:nvSpPr>
          <p:spPr bwMode="auto">
            <a:xfrm>
              <a:off x="5137" y="2448"/>
              <a:ext cx="18" cy="128"/>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209" name="Rectangle 111">
              <a:extLst>
                <a:ext uri="{FF2B5EF4-FFF2-40B4-BE49-F238E27FC236}">
                  <a16:creationId xmlns:a16="http://schemas.microsoft.com/office/drawing/2014/main" id="{C0E6CB0E-AF9D-AE48-8DAB-7D21EA617280}"/>
                </a:ext>
              </a:extLst>
            </p:cNvPr>
            <p:cNvSpPr>
              <a:spLocks noChangeArrowheads="1"/>
            </p:cNvSpPr>
            <p:nvPr/>
          </p:nvSpPr>
          <p:spPr bwMode="auto">
            <a:xfrm>
              <a:off x="5087" y="2568"/>
              <a:ext cx="118" cy="18"/>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grpSp>
      <p:grpSp>
        <p:nvGrpSpPr>
          <p:cNvPr id="2182" name="Group 105">
            <a:extLst>
              <a:ext uri="{FF2B5EF4-FFF2-40B4-BE49-F238E27FC236}">
                <a16:creationId xmlns:a16="http://schemas.microsoft.com/office/drawing/2014/main" id="{4388B4F5-4EFD-5D37-281E-66EC18DD642F}"/>
              </a:ext>
            </a:extLst>
          </p:cNvPr>
          <p:cNvGrpSpPr>
            <a:grpSpLocks noChangeAspect="1"/>
          </p:cNvGrpSpPr>
          <p:nvPr/>
        </p:nvGrpSpPr>
        <p:grpSpPr bwMode="auto">
          <a:xfrm>
            <a:off x="10241860" y="4202362"/>
            <a:ext cx="392818" cy="326624"/>
            <a:chOff x="3164" y="2973"/>
            <a:chExt cx="750" cy="750"/>
          </a:xfrm>
          <a:solidFill>
            <a:srgbClr val="2C2C2D"/>
          </a:solidFill>
        </p:grpSpPr>
        <p:sp>
          <p:nvSpPr>
            <p:cNvPr id="2183" name="Freeform 106">
              <a:extLst>
                <a:ext uri="{FF2B5EF4-FFF2-40B4-BE49-F238E27FC236}">
                  <a16:creationId xmlns:a16="http://schemas.microsoft.com/office/drawing/2014/main" id="{6436A084-D021-F655-7666-C100EB0BDA41}"/>
                </a:ext>
              </a:extLst>
            </p:cNvPr>
            <p:cNvSpPr>
              <a:spLocks noEditPoints="1"/>
            </p:cNvSpPr>
            <p:nvPr/>
          </p:nvSpPr>
          <p:spPr bwMode="auto">
            <a:xfrm>
              <a:off x="3708" y="2973"/>
              <a:ext cx="206" cy="206"/>
            </a:xfrm>
            <a:custGeom>
              <a:avLst/>
              <a:gdLst>
                <a:gd name="T0" fmla="*/ 92 w 206"/>
                <a:gd name="T1" fmla="*/ 206 h 206"/>
                <a:gd name="T2" fmla="*/ 6 w 206"/>
                <a:gd name="T3" fmla="*/ 202 h 206"/>
                <a:gd name="T4" fmla="*/ 0 w 206"/>
                <a:gd name="T5" fmla="*/ 116 h 206"/>
                <a:gd name="T6" fmla="*/ 116 w 206"/>
                <a:gd name="T7" fmla="*/ 0 h 206"/>
                <a:gd name="T8" fmla="*/ 110 w 206"/>
                <a:gd name="T9" fmla="*/ 96 h 206"/>
                <a:gd name="T10" fmla="*/ 206 w 206"/>
                <a:gd name="T11" fmla="*/ 92 h 206"/>
                <a:gd name="T12" fmla="*/ 92 w 206"/>
                <a:gd name="T13" fmla="*/ 206 h 206"/>
                <a:gd name="T14" fmla="*/ 22 w 206"/>
                <a:gd name="T15" fmla="*/ 184 h 206"/>
                <a:gd name="T16" fmla="*/ 84 w 206"/>
                <a:gd name="T17" fmla="*/ 188 h 206"/>
                <a:gd name="T18" fmla="*/ 160 w 206"/>
                <a:gd name="T19" fmla="*/ 112 h 206"/>
                <a:gd name="T20" fmla="*/ 92 w 206"/>
                <a:gd name="T21" fmla="*/ 116 h 206"/>
                <a:gd name="T22" fmla="*/ 96 w 206"/>
                <a:gd name="T23" fmla="*/ 46 h 206"/>
                <a:gd name="T24" fmla="*/ 20 w 206"/>
                <a:gd name="T25" fmla="*/ 122 h 206"/>
                <a:gd name="T26" fmla="*/ 22 w 206"/>
                <a:gd name="T27" fmla="*/ 18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06">
                  <a:moveTo>
                    <a:pt x="92" y="206"/>
                  </a:moveTo>
                  <a:lnTo>
                    <a:pt x="6" y="202"/>
                  </a:lnTo>
                  <a:lnTo>
                    <a:pt x="0" y="116"/>
                  </a:lnTo>
                  <a:lnTo>
                    <a:pt x="116" y="0"/>
                  </a:lnTo>
                  <a:lnTo>
                    <a:pt x="110" y="96"/>
                  </a:lnTo>
                  <a:lnTo>
                    <a:pt x="206" y="92"/>
                  </a:lnTo>
                  <a:lnTo>
                    <a:pt x="92" y="206"/>
                  </a:lnTo>
                  <a:close/>
                  <a:moveTo>
                    <a:pt x="22" y="184"/>
                  </a:moveTo>
                  <a:lnTo>
                    <a:pt x="84" y="188"/>
                  </a:lnTo>
                  <a:lnTo>
                    <a:pt x="160" y="112"/>
                  </a:lnTo>
                  <a:lnTo>
                    <a:pt x="92" y="116"/>
                  </a:lnTo>
                  <a:lnTo>
                    <a:pt x="96" y="46"/>
                  </a:lnTo>
                  <a:lnTo>
                    <a:pt x="20" y="122"/>
                  </a:lnTo>
                  <a:lnTo>
                    <a:pt x="22" y="184"/>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84" name="Freeform 107">
              <a:extLst>
                <a:ext uri="{FF2B5EF4-FFF2-40B4-BE49-F238E27FC236}">
                  <a16:creationId xmlns:a16="http://schemas.microsoft.com/office/drawing/2014/main" id="{0790D738-05FC-F44F-AA13-43EEF22E941B}"/>
                </a:ext>
              </a:extLst>
            </p:cNvPr>
            <p:cNvSpPr>
              <a:spLocks/>
            </p:cNvSpPr>
            <p:nvPr/>
          </p:nvSpPr>
          <p:spPr bwMode="auto">
            <a:xfrm>
              <a:off x="3512" y="3041"/>
              <a:ext cx="336" cy="334"/>
            </a:xfrm>
            <a:custGeom>
              <a:avLst/>
              <a:gdLst>
                <a:gd name="T0" fmla="*/ 14 w 336"/>
                <a:gd name="T1" fmla="*/ 334 h 334"/>
                <a:gd name="T2" fmla="*/ 0 w 336"/>
                <a:gd name="T3" fmla="*/ 322 h 334"/>
                <a:gd name="T4" fmla="*/ 324 w 336"/>
                <a:gd name="T5" fmla="*/ 0 h 334"/>
                <a:gd name="T6" fmla="*/ 336 w 336"/>
                <a:gd name="T7" fmla="*/ 12 h 334"/>
                <a:gd name="T8" fmla="*/ 14 w 336"/>
                <a:gd name="T9" fmla="*/ 334 h 334"/>
              </a:gdLst>
              <a:ahLst/>
              <a:cxnLst>
                <a:cxn ang="0">
                  <a:pos x="T0" y="T1"/>
                </a:cxn>
                <a:cxn ang="0">
                  <a:pos x="T2" y="T3"/>
                </a:cxn>
                <a:cxn ang="0">
                  <a:pos x="T4" y="T5"/>
                </a:cxn>
                <a:cxn ang="0">
                  <a:pos x="T6" y="T7"/>
                </a:cxn>
                <a:cxn ang="0">
                  <a:pos x="T8" y="T9"/>
                </a:cxn>
              </a:cxnLst>
              <a:rect l="0" t="0" r="r" b="b"/>
              <a:pathLst>
                <a:path w="336" h="334">
                  <a:moveTo>
                    <a:pt x="14" y="334"/>
                  </a:moveTo>
                  <a:lnTo>
                    <a:pt x="0" y="322"/>
                  </a:lnTo>
                  <a:lnTo>
                    <a:pt x="324" y="0"/>
                  </a:lnTo>
                  <a:lnTo>
                    <a:pt x="336" y="12"/>
                  </a:lnTo>
                  <a:lnTo>
                    <a:pt x="14" y="334"/>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85" name="Freeform 108">
              <a:extLst>
                <a:ext uri="{FF2B5EF4-FFF2-40B4-BE49-F238E27FC236}">
                  <a16:creationId xmlns:a16="http://schemas.microsoft.com/office/drawing/2014/main" id="{3E37C12D-91E8-1693-7F51-2588C3E4EAA0}"/>
                </a:ext>
              </a:extLst>
            </p:cNvPr>
            <p:cNvSpPr>
              <a:spLocks noEditPoints="1"/>
            </p:cNvSpPr>
            <p:nvPr/>
          </p:nvSpPr>
          <p:spPr bwMode="auto">
            <a:xfrm>
              <a:off x="3476" y="3349"/>
              <a:ext cx="64" cy="64"/>
            </a:xfrm>
            <a:custGeom>
              <a:avLst/>
              <a:gdLst>
                <a:gd name="T0" fmla="*/ 32 w 64"/>
                <a:gd name="T1" fmla="*/ 64 h 64"/>
                <a:gd name="T2" fmla="*/ 20 w 64"/>
                <a:gd name="T3" fmla="*/ 60 h 64"/>
                <a:gd name="T4" fmla="*/ 10 w 64"/>
                <a:gd name="T5" fmla="*/ 54 h 64"/>
                <a:gd name="T6" fmla="*/ 4 w 64"/>
                <a:gd name="T7" fmla="*/ 50 h 64"/>
                <a:gd name="T8" fmla="*/ 0 w 64"/>
                <a:gd name="T9" fmla="*/ 38 h 64"/>
                <a:gd name="T10" fmla="*/ 0 w 64"/>
                <a:gd name="T11" fmla="*/ 32 h 64"/>
                <a:gd name="T12" fmla="*/ 2 w 64"/>
                <a:gd name="T13" fmla="*/ 20 h 64"/>
                <a:gd name="T14" fmla="*/ 10 w 64"/>
                <a:gd name="T15" fmla="*/ 8 h 64"/>
                <a:gd name="T16" fmla="*/ 14 w 64"/>
                <a:gd name="T17" fmla="*/ 4 h 64"/>
                <a:gd name="T18" fmla="*/ 32 w 64"/>
                <a:gd name="T19" fmla="*/ 0 h 64"/>
                <a:gd name="T20" fmla="*/ 50 w 64"/>
                <a:gd name="T21" fmla="*/ 4 h 64"/>
                <a:gd name="T22" fmla="*/ 54 w 64"/>
                <a:gd name="T23" fmla="*/ 8 h 64"/>
                <a:gd name="T24" fmla="*/ 62 w 64"/>
                <a:gd name="T25" fmla="*/ 20 h 64"/>
                <a:gd name="T26" fmla="*/ 64 w 64"/>
                <a:gd name="T27" fmla="*/ 32 h 64"/>
                <a:gd name="T28" fmla="*/ 62 w 64"/>
                <a:gd name="T29" fmla="*/ 38 h 64"/>
                <a:gd name="T30" fmla="*/ 58 w 64"/>
                <a:gd name="T31" fmla="*/ 50 h 64"/>
                <a:gd name="T32" fmla="*/ 54 w 64"/>
                <a:gd name="T33" fmla="*/ 54 h 64"/>
                <a:gd name="T34" fmla="*/ 54 w 64"/>
                <a:gd name="T35" fmla="*/ 54 h 64"/>
                <a:gd name="T36" fmla="*/ 50 w 64"/>
                <a:gd name="T37" fmla="*/ 58 h 64"/>
                <a:gd name="T38" fmla="*/ 38 w 64"/>
                <a:gd name="T39" fmla="*/ 62 h 64"/>
                <a:gd name="T40" fmla="*/ 32 w 64"/>
                <a:gd name="T41" fmla="*/ 64 h 64"/>
                <a:gd name="T42" fmla="*/ 32 w 64"/>
                <a:gd name="T43" fmla="*/ 18 h 64"/>
                <a:gd name="T44" fmla="*/ 22 w 64"/>
                <a:gd name="T45" fmla="*/ 22 h 64"/>
                <a:gd name="T46" fmla="*/ 18 w 64"/>
                <a:gd name="T47" fmla="*/ 26 h 64"/>
                <a:gd name="T48" fmla="*/ 18 w 64"/>
                <a:gd name="T49" fmla="*/ 32 h 64"/>
                <a:gd name="T50" fmla="*/ 22 w 64"/>
                <a:gd name="T51" fmla="*/ 42 h 64"/>
                <a:gd name="T52" fmla="*/ 26 w 64"/>
                <a:gd name="T53" fmla="*/ 44 h 64"/>
                <a:gd name="T54" fmla="*/ 36 w 64"/>
                <a:gd name="T55" fmla="*/ 44 h 64"/>
                <a:gd name="T56" fmla="*/ 42 w 64"/>
                <a:gd name="T57" fmla="*/ 42 h 64"/>
                <a:gd name="T58" fmla="*/ 44 w 64"/>
                <a:gd name="T59" fmla="*/ 36 h 64"/>
                <a:gd name="T60" fmla="*/ 46 w 64"/>
                <a:gd name="T61" fmla="*/ 32 h 64"/>
                <a:gd name="T62" fmla="*/ 42 w 64"/>
                <a:gd name="T63" fmla="*/ 22 h 64"/>
                <a:gd name="T64" fmla="*/ 36 w 64"/>
                <a:gd name="T65" fmla="*/ 18 h 64"/>
                <a:gd name="T66" fmla="*/ 32 w 64"/>
                <a:gd name="T67" fmla="*/ 1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4">
                  <a:moveTo>
                    <a:pt x="32" y="64"/>
                  </a:moveTo>
                  <a:lnTo>
                    <a:pt x="32" y="64"/>
                  </a:lnTo>
                  <a:lnTo>
                    <a:pt x="26" y="62"/>
                  </a:lnTo>
                  <a:lnTo>
                    <a:pt x="20" y="60"/>
                  </a:lnTo>
                  <a:lnTo>
                    <a:pt x="14" y="58"/>
                  </a:lnTo>
                  <a:lnTo>
                    <a:pt x="10" y="54"/>
                  </a:lnTo>
                  <a:lnTo>
                    <a:pt x="10" y="54"/>
                  </a:lnTo>
                  <a:lnTo>
                    <a:pt x="4" y="50"/>
                  </a:lnTo>
                  <a:lnTo>
                    <a:pt x="2" y="44"/>
                  </a:lnTo>
                  <a:lnTo>
                    <a:pt x="0" y="38"/>
                  </a:lnTo>
                  <a:lnTo>
                    <a:pt x="0" y="32"/>
                  </a:lnTo>
                  <a:lnTo>
                    <a:pt x="0" y="32"/>
                  </a:lnTo>
                  <a:lnTo>
                    <a:pt x="0" y="26"/>
                  </a:lnTo>
                  <a:lnTo>
                    <a:pt x="2" y="20"/>
                  </a:lnTo>
                  <a:lnTo>
                    <a:pt x="4" y="14"/>
                  </a:lnTo>
                  <a:lnTo>
                    <a:pt x="10" y="8"/>
                  </a:lnTo>
                  <a:lnTo>
                    <a:pt x="10" y="8"/>
                  </a:lnTo>
                  <a:lnTo>
                    <a:pt x="14" y="4"/>
                  </a:lnTo>
                  <a:lnTo>
                    <a:pt x="20" y="2"/>
                  </a:lnTo>
                  <a:lnTo>
                    <a:pt x="32" y="0"/>
                  </a:lnTo>
                  <a:lnTo>
                    <a:pt x="44" y="2"/>
                  </a:lnTo>
                  <a:lnTo>
                    <a:pt x="50" y="4"/>
                  </a:lnTo>
                  <a:lnTo>
                    <a:pt x="54" y="8"/>
                  </a:lnTo>
                  <a:lnTo>
                    <a:pt x="54" y="8"/>
                  </a:lnTo>
                  <a:lnTo>
                    <a:pt x="58" y="14"/>
                  </a:lnTo>
                  <a:lnTo>
                    <a:pt x="62" y="20"/>
                  </a:lnTo>
                  <a:lnTo>
                    <a:pt x="62" y="26"/>
                  </a:lnTo>
                  <a:lnTo>
                    <a:pt x="64" y="32"/>
                  </a:lnTo>
                  <a:lnTo>
                    <a:pt x="64" y="32"/>
                  </a:lnTo>
                  <a:lnTo>
                    <a:pt x="62" y="38"/>
                  </a:lnTo>
                  <a:lnTo>
                    <a:pt x="62" y="44"/>
                  </a:lnTo>
                  <a:lnTo>
                    <a:pt x="58" y="50"/>
                  </a:lnTo>
                  <a:lnTo>
                    <a:pt x="54" y="54"/>
                  </a:lnTo>
                  <a:lnTo>
                    <a:pt x="54" y="54"/>
                  </a:lnTo>
                  <a:lnTo>
                    <a:pt x="54" y="54"/>
                  </a:lnTo>
                  <a:lnTo>
                    <a:pt x="54" y="54"/>
                  </a:lnTo>
                  <a:lnTo>
                    <a:pt x="54" y="54"/>
                  </a:lnTo>
                  <a:lnTo>
                    <a:pt x="50" y="58"/>
                  </a:lnTo>
                  <a:lnTo>
                    <a:pt x="44" y="60"/>
                  </a:lnTo>
                  <a:lnTo>
                    <a:pt x="38" y="62"/>
                  </a:lnTo>
                  <a:lnTo>
                    <a:pt x="32" y="64"/>
                  </a:lnTo>
                  <a:lnTo>
                    <a:pt x="32" y="64"/>
                  </a:lnTo>
                  <a:close/>
                  <a:moveTo>
                    <a:pt x="32" y="18"/>
                  </a:moveTo>
                  <a:lnTo>
                    <a:pt x="32" y="18"/>
                  </a:lnTo>
                  <a:lnTo>
                    <a:pt x="26" y="18"/>
                  </a:lnTo>
                  <a:lnTo>
                    <a:pt x="22" y="22"/>
                  </a:lnTo>
                  <a:lnTo>
                    <a:pt x="22" y="22"/>
                  </a:lnTo>
                  <a:lnTo>
                    <a:pt x="18" y="26"/>
                  </a:lnTo>
                  <a:lnTo>
                    <a:pt x="18" y="32"/>
                  </a:lnTo>
                  <a:lnTo>
                    <a:pt x="18" y="32"/>
                  </a:lnTo>
                  <a:lnTo>
                    <a:pt x="18" y="36"/>
                  </a:lnTo>
                  <a:lnTo>
                    <a:pt x="22" y="42"/>
                  </a:lnTo>
                  <a:lnTo>
                    <a:pt x="22" y="42"/>
                  </a:lnTo>
                  <a:lnTo>
                    <a:pt x="26" y="44"/>
                  </a:lnTo>
                  <a:lnTo>
                    <a:pt x="32" y="46"/>
                  </a:lnTo>
                  <a:lnTo>
                    <a:pt x="36" y="44"/>
                  </a:lnTo>
                  <a:lnTo>
                    <a:pt x="42" y="42"/>
                  </a:lnTo>
                  <a:lnTo>
                    <a:pt x="42" y="42"/>
                  </a:lnTo>
                  <a:lnTo>
                    <a:pt x="42" y="42"/>
                  </a:lnTo>
                  <a:lnTo>
                    <a:pt x="44" y="36"/>
                  </a:lnTo>
                  <a:lnTo>
                    <a:pt x="46" y="32"/>
                  </a:lnTo>
                  <a:lnTo>
                    <a:pt x="46" y="32"/>
                  </a:lnTo>
                  <a:lnTo>
                    <a:pt x="44" y="26"/>
                  </a:lnTo>
                  <a:lnTo>
                    <a:pt x="42" y="22"/>
                  </a:lnTo>
                  <a:lnTo>
                    <a:pt x="42" y="22"/>
                  </a:lnTo>
                  <a:lnTo>
                    <a:pt x="36" y="18"/>
                  </a:lnTo>
                  <a:lnTo>
                    <a:pt x="32" y="18"/>
                  </a:lnTo>
                  <a:lnTo>
                    <a:pt x="32" y="18"/>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86" name="Freeform 109">
              <a:extLst>
                <a:ext uri="{FF2B5EF4-FFF2-40B4-BE49-F238E27FC236}">
                  <a16:creationId xmlns:a16="http://schemas.microsoft.com/office/drawing/2014/main" id="{618DE9EC-7E41-E01B-3375-E0A8FF3D5C87}"/>
                </a:ext>
              </a:extLst>
            </p:cNvPr>
            <p:cNvSpPr>
              <a:spLocks/>
            </p:cNvSpPr>
            <p:nvPr/>
          </p:nvSpPr>
          <p:spPr bwMode="auto">
            <a:xfrm>
              <a:off x="3752" y="3069"/>
              <a:ext cx="30" cy="30"/>
            </a:xfrm>
            <a:custGeom>
              <a:avLst/>
              <a:gdLst>
                <a:gd name="T0" fmla="*/ 14 w 30"/>
                <a:gd name="T1" fmla="*/ 30 h 30"/>
                <a:gd name="T2" fmla="*/ 0 w 30"/>
                <a:gd name="T3" fmla="*/ 16 h 30"/>
                <a:gd name="T4" fmla="*/ 16 w 30"/>
                <a:gd name="T5" fmla="*/ 0 h 30"/>
                <a:gd name="T6" fmla="*/ 30 w 30"/>
                <a:gd name="T7" fmla="*/ 14 h 30"/>
                <a:gd name="T8" fmla="*/ 14 w 30"/>
                <a:gd name="T9" fmla="*/ 30 h 30"/>
              </a:gdLst>
              <a:ahLst/>
              <a:cxnLst>
                <a:cxn ang="0">
                  <a:pos x="T0" y="T1"/>
                </a:cxn>
                <a:cxn ang="0">
                  <a:pos x="T2" y="T3"/>
                </a:cxn>
                <a:cxn ang="0">
                  <a:pos x="T4" y="T5"/>
                </a:cxn>
                <a:cxn ang="0">
                  <a:pos x="T6" y="T7"/>
                </a:cxn>
                <a:cxn ang="0">
                  <a:pos x="T8" y="T9"/>
                </a:cxn>
              </a:cxnLst>
              <a:rect l="0" t="0" r="r" b="b"/>
              <a:pathLst>
                <a:path w="30" h="30">
                  <a:moveTo>
                    <a:pt x="14" y="30"/>
                  </a:moveTo>
                  <a:lnTo>
                    <a:pt x="0" y="16"/>
                  </a:lnTo>
                  <a:lnTo>
                    <a:pt x="16" y="0"/>
                  </a:lnTo>
                  <a:lnTo>
                    <a:pt x="30" y="14"/>
                  </a:lnTo>
                  <a:lnTo>
                    <a:pt x="14" y="30"/>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87" name="Freeform 110">
              <a:extLst>
                <a:ext uri="{FF2B5EF4-FFF2-40B4-BE49-F238E27FC236}">
                  <a16:creationId xmlns:a16="http://schemas.microsoft.com/office/drawing/2014/main" id="{CA7B1603-E06F-59C2-BA55-DCD44E30EE7E}"/>
                </a:ext>
              </a:extLst>
            </p:cNvPr>
            <p:cNvSpPr>
              <a:spLocks/>
            </p:cNvSpPr>
            <p:nvPr/>
          </p:nvSpPr>
          <p:spPr bwMode="auto">
            <a:xfrm>
              <a:off x="3792" y="3109"/>
              <a:ext cx="28" cy="28"/>
            </a:xfrm>
            <a:custGeom>
              <a:avLst/>
              <a:gdLst>
                <a:gd name="T0" fmla="*/ 12 w 28"/>
                <a:gd name="T1" fmla="*/ 28 h 28"/>
                <a:gd name="T2" fmla="*/ 0 w 28"/>
                <a:gd name="T3" fmla="*/ 16 h 28"/>
                <a:gd name="T4" fmla="*/ 16 w 28"/>
                <a:gd name="T5" fmla="*/ 0 h 28"/>
                <a:gd name="T6" fmla="*/ 28 w 28"/>
                <a:gd name="T7" fmla="*/ 12 h 28"/>
                <a:gd name="T8" fmla="*/ 12 w 28"/>
                <a:gd name="T9" fmla="*/ 28 h 28"/>
              </a:gdLst>
              <a:ahLst/>
              <a:cxnLst>
                <a:cxn ang="0">
                  <a:pos x="T0" y="T1"/>
                </a:cxn>
                <a:cxn ang="0">
                  <a:pos x="T2" y="T3"/>
                </a:cxn>
                <a:cxn ang="0">
                  <a:pos x="T4" y="T5"/>
                </a:cxn>
                <a:cxn ang="0">
                  <a:pos x="T6" y="T7"/>
                </a:cxn>
                <a:cxn ang="0">
                  <a:pos x="T8" y="T9"/>
                </a:cxn>
              </a:cxnLst>
              <a:rect l="0" t="0" r="r" b="b"/>
              <a:pathLst>
                <a:path w="28" h="28">
                  <a:moveTo>
                    <a:pt x="12" y="28"/>
                  </a:moveTo>
                  <a:lnTo>
                    <a:pt x="0" y="16"/>
                  </a:lnTo>
                  <a:lnTo>
                    <a:pt x="16" y="0"/>
                  </a:lnTo>
                  <a:lnTo>
                    <a:pt x="28" y="12"/>
                  </a:lnTo>
                  <a:lnTo>
                    <a:pt x="12" y="28"/>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88" name="Freeform 111">
              <a:extLst>
                <a:ext uri="{FF2B5EF4-FFF2-40B4-BE49-F238E27FC236}">
                  <a16:creationId xmlns:a16="http://schemas.microsoft.com/office/drawing/2014/main" id="{52181E9A-20C4-B246-95B5-94F95EFF97B3}"/>
                </a:ext>
              </a:extLst>
            </p:cNvPr>
            <p:cNvSpPr>
              <a:spLocks/>
            </p:cNvSpPr>
            <p:nvPr/>
          </p:nvSpPr>
          <p:spPr bwMode="auto">
            <a:xfrm>
              <a:off x="3164" y="3037"/>
              <a:ext cx="688" cy="686"/>
            </a:xfrm>
            <a:custGeom>
              <a:avLst/>
              <a:gdLst>
                <a:gd name="T0" fmla="*/ 310 w 688"/>
                <a:gd name="T1" fmla="*/ 686 h 686"/>
                <a:gd name="T2" fmla="*/ 214 w 688"/>
                <a:gd name="T3" fmla="*/ 662 h 686"/>
                <a:gd name="T4" fmla="*/ 126 w 688"/>
                <a:gd name="T5" fmla="*/ 610 h 686"/>
                <a:gd name="T6" fmla="*/ 78 w 688"/>
                <a:gd name="T7" fmla="*/ 560 h 686"/>
                <a:gd name="T8" fmla="*/ 26 w 688"/>
                <a:gd name="T9" fmla="*/ 472 h 686"/>
                <a:gd name="T10" fmla="*/ 2 w 688"/>
                <a:gd name="T11" fmla="*/ 376 h 686"/>
                <a:gd name="T12" fmla="*/ 6 w 688"/>
                <a:gd name="T13" fmla="*/ 278 h 686"/>
                <a:gd name="T14" fmla="*/ 40 w 688"/>
                <a:gd name="T15" fmla="*/ 184 h 686"/>
                <a:gd name="T16" fmla="*/ 100 w 688"/>
                <a:gd name="T17" fmla="*/ 100 h 686"/>
                <a:gd name="T18" fmla="*/ 146 w 688"/>
                <a:gd name="T19" fmla="*/ 62 h 686"/>
                <a:gd name="T20" fmla="*/ 224 w 688"/>
                <a:gd name="T21" fmla="*/ 22 h 686"/>
                <a:gd name="T22" fmla="*/ 308 w 688"/>
                <a:gd name="T23" fmla="*/ 2 h 686"/>
                <a:gd name="T24" fmla="*/ 396 w 688"/>
                <a:gd name="T25" fmla="*/ 4 h 686"/>
                <a:gd name="T26" fmla="*/ 480 w 688"/>
                <a:gd name="T27" fmla="*/ 28 h 686"/>
                <a:gd name="T28" fmla="*/ 540 w 688"/>
                <a:gd name="T29" fmla="*/ 60 h 686"/>
                <a:gd name="T30" fmla="*/ 522 w 688"/>
                <a:gd name="T31" fmla="*/ 72 h 686"/>
                <a:gd name="T32" fmla="*/ 446 w 688"/>
                <a:gd name="T33" fmla="*/ 34 h 686"/>
                <a:gd name="T34" fmla="*/ 366 w 688"/>
                <a:gd name="T35" fmla="*/ 18 h 686"/>
                <a:gd name="T36" fmla="*/ 284 w 688"/>
                <a:gd name="T37" fmla="*/ 24 h 686"/>
                <a:gd name="T38" fmla="*/ 206 w 688"/>
                <a:gd name="T39" fmla="*/ 48 h 686"/>
                <a:gd name="T40" fmla="*/ 134 w 688"/>
                <a:gd name="T41" fmla="*/ 94 h 686"/>
                <a:gd name="T42" fmla="*/ 90 w 688"/>
                <a:gd name="T43" fmla="*/ 138 h 686"/>
                <a:gd name="T44" fmla="*/ 42 w 688"/>
                <a:gd name="T45" fmla="*/ 220 h 686"/>
                <a:gd name="T46" fmla="*/ 20 w 688"/>
                <a:gd name="T47" fmla="*/ 312 h 686"/>
                <a:gd name="T48" fmla="*/ 24 w 688"/>
                <a:gd name="T49" fmla="*/ 406 h 686"/>
                <a:gd name="T50" fmla="*/ 56 w 688"/>
                <a:gd name="T51" fmla="*/ 494 h 686"/>
                <a:gd name="T52" fmla="*/ 114 w 688"/>
                <a:gd name="T53" fmla="*/ 574 h 686"/>
                <a:gd name="T54" fmla="*/ 164 w 688"/>
                <a:gd name="T55" fmla="*/ 616 h 686"/>
                <a:gd name="T56" fmla="*/ 250 w 688"/>
                <a:gd name="T57" fmla="*/ 656 h 686"/>
                <a:gd name="T58" fmla="*/ 344 w 688"/>
                <a:gd name="T59" fmla="*/ 668 h 686"/>
                <a:gd name="T60" fmla="*/ 436 w 688"/>
                <a:gd name="T61" fmla="*/ 656 h 686"/>
                <a:gd name="T62" fmla="*/ 522 w 688"/>
                <a:gd name="T63" fmla="*/ 616 h 686"/>
                <a:gd name="T64" fmla="*/ 574 w 688"/>
                <a:gd name="T65" fmla="*/ 574 h 686"/>
                <a:gd name="T66" fmla="*/ 626 w 688"/>
                <a:gd name="T67" fmla="*/ 506 h 686"/>
                <a:gd name="T68" fmla="*/ 658 w 688"/>
                <a:gd name="T69" fmla="*/ 428 h 686"/>
                <a:gd name="T70" fmla="*/ 670 w 688"/>
                <a:gd name="T71" fmla="*/ 346 h 686"/>
                <a:gd name="T72" fmla="*/ 660 w 688"/>
                <a:gd name="T73" fmla="*/ 262 h 686"/>
                <a:gd name="T74" fmla="*/ 628 w 688"/>
                <a:gd name="T75" fmla="*/ 184 h 686"/>
                <a:gd name="T76" fmla="*/ 622 w 688"/>
                <a:gd name="T77" fmla="*/ 142 h 686"/>
                <a:gd name="T78" fmla="*/ 642 w 688"/>
                <a:gd name="T79" fmla="*/ 174 h 686"/>
                <a:gd name="T80" fmla="*/ 676 w 688"/>
                <a:gd name="T81" fmla="*/ 258 h 686"/>
                <a:gd name="T82" fmla="*/ 688 w 688"/>
                <a:gd name="T83" fmla="*/ 346 h 686"/>
                <a:gd name="T84" fmla="*/ 676 w 688"/>
                <a:gd name="T85" fmla="*/ 432 h 686"/>
                <a:gd name="T86" fmla="*/ 642 w 688"/>
                <a:gd name="T87" fmla="*/ 514 h 686"/>
                <a:gd name="T88" fmla="*/ 586 w 688"/>
                <a:gd name="T89" fmla="*/ 586 h 686"/>
                <a:gd name="T90" fmla="*/ 532 w 688"/>
                <a:gd name="T91" fmla="*/ 630 h 686"/>
                <a:gd name="T92" fmla="*/ 442 w 688"/>
                <a:gd name="T93" fmla="*/ 672 h 686"/>
                <a:gd name="T94" fmla="*/ 344 w 688"/>
                <a:gd name="T95" fmla="*/ 686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8" h="686">
                  <a:moveTo>
                    <a:pt x="344" y="686"/>
                  </a:moveTo>
                  <a:lnTo>
                    <a:pt x="344" y="686"/>
                  </a:lnTo>
                  <a:lnTo>
                    <a:pt x="310" y="686"/>
                  </a:lnTo>
                  <a:lnTo>
                    <a:pt x="278" y="680"/>
                  </a:lnTo>
                  <a:lnTo>
                    <a:pt x="246" y="672"/>
                  </a:lnTo>
                  <a:lnTo>
                    <a:pt x="214" y="662"/>
                  </a:lnTo>
                  <a:lnTo>
                    <a:pt x="184" y="648"/>
                  </a:lnTo>
                  <a:lnTo>
                    <a:pt x="154" y="630"/>
                  </a:lnTo>
                  <a:lnTo>
                    <a:pt x="126" y="610"/>
                  </a:lnTo>
                  <a:lnTo>
                    <a:pt x="100" y="586"/>
                  </a:lnTo>
                  <a:lnTo>
                    <a:pt x="100" y="586"/>
                  </a:lnTo>
                  <a:lnTo>
                    <a:pt x="78" y="560"/>
                  </a:lnTo>
                  <a:lnTo>
                    <a:pt x="56" y="532"/>
                  </a:lnTo>
                  <a:lnTo>
                    <a:pt x="40" y="504"/>
                  </a:lnTo>
                  <a:lnTo>
                    <a:pt x="26" y="472"/>
                  </a:lnTo>
                  <a:lnTo>
                    <a:pt x="14" y="442"/>
                  </a:lnTo>
                  <a:lnTo>
                    <a:pt x="6" y="410"/>
                  </a:lnTo>
                  <a:lnTo>
                    <a:pt x="2" y="376"/>
                  </a:lnTo>
                  <a:lnTo>
                    <a:pt x="0" y="344"/>
                  </a:lnTo>
                  <a:lnTo>
                    <a:pt x="2" y="310"/>
                  </a:lnTo>
                  <a:lnTo>
                    <a:pt x="6" y="278"/>
                  </a:lnTo>
                  <a:lnTo>
                    <a:pt x="14" y="246"/>
                  </a:lnTo>
                  <a:lnTo>
                    <a:pt x="26" y="214"/>
                  </a:lnTo>
                  <a:lnTo>
                    <a:pt x="40" y="184"/>
                  </a:lnTo>
                  <a:lnTo>
                    <a:pt x="56" y="154"/>
                  </a:lnTo>
                  <a:lnTo>
                    <a:pt x="78" y="126"/>
                  </a:lnTo>
                  <a:lnTo>
                    <a:pt x="100" y="100"/>
                  </a:lnTo>
                  <a:lnTo>
                    <a:pt x="100" y="100"/>
                  </a:lnTo>
                  <a:lnTo>
                    <a:pt x="122" y="80"/>
                  </a:lnTo>
                  <a:lnTo>
                    <a:pt x="146" y="62"/>
                  </a:lnTo>
                  <a:lnTo>
                    <a:pt x="172" y="46"/>
                  </a:lnTo>
                  <a:lnTo>
                    <a:pt x="198" y="32"/>
                  </a:lnTo>
                  <a:lnTo>
                    <a:pt x="224" y="22"/>
                  </a:lnTo>
                  <a:lnTo>
                    <a:pt x="252" y="12"/>
                  </a:lnTo>
                  <a:lnTo>
                    <a:pt x="280" y="6"/>
                  </a:lnTo>
                  <a:lnTo>
                    <a:pt x="308" y="2"/>
                  </a:lnTo>
                  <a:lnTo>
                    <a:pt x="338" y="0"/>
                  </a:lnTo>
                  <a:lnTo>
                    <a:pt x="366" y="0"/>
                  </a:lnTo>
                  <a:lnTo>
                    <a:pt x="396" y="4"/>
                  </a:lnTo>
                  <a:lnTo>
                    <a:pt x="424" y="10"/>
                  </a:lnTo>
                  <a:lnTo>
                    <a:pt x="452" y="18"/>
                  </a:lnTo>
                  <a:lnTo>
                    <a:pt x="480" y="28"/>
                  </a:lnTo>
                  <a:lnTo>
                    <a:pt x="506" y="40"/>
                  </a:lnTo>
                  <a:lnTo>
                    <a:pt x="532" y="56"/>
                  </a:lnTo>
                  <a:lnTo>
                    <a:pt x="540" y="60"/>
                  </a:lnTo>
                  <a:lnTo>
                    <a:pt x="530" y="76"/>
                  </a:lnTo>
                  <a:lnTo>
                    <a:pt x="522" y="72"/>
                  </a:lnTo>
                  <a:lnTo>
                    <a:pt x="522" y="72"/>
                  </a:lnTo>
                  <a:lnTo>
                    <a:pt x="498" y="56"/>
                  </a:lnTo>
                  <a:lnTo>
                    <a:pt x="472" y="44"/>
                  </a:lnTo>
                  <a:lnTo>
                    <a:pt x="446" y="34"/>
                  </a:lnTo>
                  <a:lnTo>
                    <a:pt x="420" y="26"/>
                  </a:lnTo>
                  <a:lnTo>
                    <a:pt x="392" y="22"/>
                  </a:lnTo>
                  <a:lnTo>
                    <a:pt x="366" y="18"/>
                  </a:lnTo>
                  <a:lnTo>
                    <a:pt x="338" y="18"/>
                  </a:lnTo>
                  <a:lnTo>
                    <a:pt x="310" y="20"/>
                  </a:lnTo>
                  <a:lnTo>
                    <a:pt x="284" y="24"/>
                  </a:lnTo>
                  <a:lnTo>
                    <a:pt x="256" y="30"/>
                  </a:lnTo>
                  <a:lnTo>
                    <a:pt x="230" y="38"/>
                  </a:lnTo>
                  <a:lnTo>
                    <a:pt x="206" y="48"/>
                  </a:lnTo>
                  <a:lnTo>
                    <a:pt x="180" y="62"/>
                  </a:lnTo>
                  <a:lnTo>
                    <a:pt x="156" y="76"/>
                  </a:lnTo>
                  <a:lnTo>
                    <a:pt x="134" y="94"/>
                  </a:lnTo>
                  <a:lnTo>
                    <a:pt x="114" y="114"/>
                  </a:lnTo>
                  <a:lnTo>
                    <a:pt x="114" y="114"/>
                  </a:lnTo>
                  <a:lnTo>
                    <a:pt x="90" y="138"/>
                  </a:lnTo>
                  <a:lnTo>
                    <a:pt x="72" y="164"/>
                  </a:lnTo>
                  <a:lnTo>
                    <a:pt x="56" y="192"/>
                  </a:lnTo>
                  <a:lnTo>
                    <a:pt x="42" y="220"/>
                  </a:lnTo>
                  <a:lnTo>
                    <a:pt x="32" y="250"/>
                  </a:lnTo>
                  <a:lnTo>
                    <a:pt x="24" y="282"/>
                  </a:lnTo>
                  <a:lnTo>
                    <a:pt x="20" y="312"/>
                  </a:lnTo>
                  <a:lnTo>
                    <a:pt x="18" y="344"/>
                  </a:lnTo>
                  <a:lnTo>
                    <a:pt x="20" y="374"/>
                  </a:lnTo>
                  <a:lnTo>
                    <a:pt x="24" y="406"/>
                  </a:lnTo>
                  <a:lnTo>
                    <a:pt x="32" y="436"/>
                  </a:lnTo>
                  <a:lnTo>
                    <a:pt x="42" y="466"/>
                  </a:lnTo>
                  <a:lnTo>
                    <a:pt x="56" y="494"/>
                  </a:lnTo>
                  <a:lnTo>
                    <a:pt x="72" y="522"/>
                  </a:lnTo>
                  <a:lnTo>
                    <a:pt x="90" y="548"/>
                  </a:lnTo>
                  <a:lnTo>
                    <a:pt x="114" y="574"/>
                  </a:lnTo>
                  <a:lnTo>
                    <a:pt x="114" y="574"/>
                  </a:lnTo>
                  <a:lnTo>
                    <a:pt x="138" y="596"/>
                  </a:lnTo>
                  <a:lnTo>
                    <a:pt x="164" y="616"/>
                  </a:lnTo>
                  <a:lnTo>
                    <a:pt x="192" y="632"/>
                  </a:lnTo>
                  <a:lnTo>
                    <a:pt x="220" y="646"/>
                  </a:lnTo>
                  <a:lnTo>
                    <a:pt x="250" y="656"/>
                  </a:lnTo>
                  <a:lnTo>
                    <a:pt x="282" y="662"/>
                  </a:lnTo>
                  <a:lnTo>
                    <a:pt x="312" y="668"/>
                  </a:lnTo>
                  <a:lnTo>
                    <a:pt x="344" y="668"/>
                  </a:lnTo>
                  <a:lnTo>
                    <a:pt x="374" y="668"/>
                  </a:lnTo>
                  <a:lnTo>
                    <a:pt x="406" y="662"/>
                  </a:lnTo>
                  <a:lnTo>
                    <a:pt x="436" y="656"/>
                  </a:lnTo>
                  <a:lnTo>
                    <a:pt x="466" y="646"/>
                  </a:lnTo>
                  <a:lnTo>
                    <a:pt x="496" y="632"/>
                  </a:lnTo>
                  <a:lnTo>
                    <a:pt x="522" y="616"/>
                  </a:lnTo>
                  <a:lnTo>
                    <a:pt x="550" y="596"/>
                  </a:lnTo>
                  <a:lnTo>
                    <a:pt x="574" y="574"/>
                  </a:lnTo>
                  <a:lnTo>
                    <a:pt x="574" y="574"/>
                  </a:lnTo>
                  <a:lnTo>
                    <a:pt x="594" y="552"/>
                  </a:lnTo>
                  <a:lnTo>
                    <a:pt x="610" y="530"/>
                  </a:lnTo>
                  <a:lnTo>
                    <a:pt x="626" y="506"/>
                  </a:lnTo>
                  <a:lnTo>
                    <a:pt x="640" y="480"/>
                  </a:lnTo>
                  <a:lnTo>
                    <a:pt x="650" y="454"/>
                  </a:lnTo>
                  <a:lnTo>
                    <a:pt x="658" y="428"/>
                  </a:lnTo>
                  <a:lnTo>
                    <a:pt x="664" y="400"/>
                  </a:lnTo>
                  <a:lnTo>
                    <a:pt x="668" y="374"/>
                  </a:lnTo>
                  <a:lnTo>
                    <a:pt x="670" y="346"/>
                  </a:lnTo>
                  <a:lnTo>
                    <a:pt x="668" y="318"/>
                  </a:lnTo>
                  <a:lnTo>
                    <a:pt x="664" y="290"/>
                  </a:lnTo>
                  <a:lnTo>
                    <a:pt x="660" y="262"/>
                  </a:lnTo>
                  <a:lnTo>
                    <a:pt x="650" y="236"/>
                  </a:lnTo>
                  <a:lnTo>
                    <a:pt x="640" y="210"/>
                  </a:lnTo>
                  <a:lnTo>
                    <a:pt x="628" y="184"/>
                  </a:lnTo>
                  <a:lnTo>
                    <a:pt x="612" y="158"/>
                  </a:lnTo>
                  <a:lnTo>
                    <a:pt x="606" y="152"/>
                  </a:lnTo>
                  <a:lnTo>
                    <a:pt x="622" y="142"/>
                  </a:lnTo>
                  <a:lnTo>
                    <a:pt x="626" y="148"/>
                  </a:lnTo>
                  <a:lnTo>
                    <a:pt x="626" y="148"/>
                  </a:lnTo>
                  <a:lnTo>
                    <a:pt x="642" y="174"/>
                  </a:lnTo>
                  <a:lnTo>
                    <a:pt x="656" y="202"/>
                  </a:lnTo>
                  <a:lnTo>
                    <a:pt x="668" y="230"/>
                  </a:lnTo>
                  <a:lnTo>
                    <a:pt x="676" y="258"/>
                  </a:lnTo>
                  <a:lnTo>
                    <a:pt x="682" y="288"/>
                  </a:lnTo>
                  <a:lnTo>
                    <a:pt x="686" y="316"/>
                  </a:lnTo>
                  <a:lnTo>
                    <a:pt x="688" y="346"/>
                  </a:lnTo>
                  <a:lnTo>
                    <a:pt x="686" y="374"/>
                  </a:lnTo>
                  <a:lnTo>
                    <a:pt x="682" y="404"/>
                  </a:lnTo>
                  <a:lnTo>
                    <a:pt x="676" y="432"/>
                  </a:lnTo>
                  <a:lnTo>
                    <a:pt x="666" y="460"/>
                  </a:lnTo>
                  <a:lnTo>
                    <a:pt x="656" y="488"/>
                  </a:lnTo>
                  <a:lnTo>
                    <a:pt x="642" y="514"/>
                  </a:lnTo>
                  <a:lnTo>
                    <a:pt x="626" y="540"/>
                  </a:lnTo>
                  <a:lnTo>
                    <a:pt x="608" y="564"/>
                  </a:lnTo>
                  <a:lnTo>
                    <a:pt x="586" y="586"/>
                  </a:lnTo>
                  <a:lnTo>
                    <a:pt x="586" y="586"/>
                  </a:lnTo>
                  <a:lnTo>
                    <a:pt x="560" y="610"/>
                  </a:lnTo>
                  <a:lnTo>
                    <a:pt x="532" y="630"/>
                  </a:lnTo>
                  <a:lnTo>
                    <a:pt x="504" y="648"/>
                  </a:lnTo>
                  <a:lnTo>
                    <a:pt x="472" y="662"/>
                  </a:lnTo>
                  <a:lnTo>
                    <a:pt x="442" y="672"/>
                  </a:lnTo>
                  <a:lnTo>
                    <a:pt x="410" y="680"/>
                  </a:lnTo>
                  <a:lnTo>
                    <a:pt x="376" y="686"/>
                  </a:lnTo>
                  <a:lnTo>
                    <a:pt x="344" y="686"/>
                  </a:lnTo>
                  <a:lnTo>
                    <a:pt x="344" y="686"/>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89" name="Freeform 112">
              <a:extLst>
                <a:ext uri="{FF2B5EF4-FFF2-40B4-BE49-F238E27FC236}">
                  <a16:creationId xmlns:a16="http://schemas.microsoft.com/office/drawing/2014/main" id="{1F1AD5AF-BF4E-8123-D908-B8B714663E99}"/>
                </a:ext>
              </a:extLst>
            </p:cNvPr>
            <p:cNvSpPr>
              <a:spLocks/>
            </p:cNvSpPr>
            <p:nvPr/>
          </p:nvSpPr>
          <p:spPr bwMode="auto">
            <a:xfrm>
              <a:off x="3220" y="3093"/>
              <a:ext cx="574" cy="576"/>
            </a:xfrm>
            <a:custGeom>
              <a:avLst/>
              <a:gdLst>
                <a:gd name="T0" fmla="*/ 258 w 574"/>
                <a:gd name="T1" fmla="*/ 574 h 576"/>
                <a:gd name="T2" fmla="*/ 178 w 574"/>
                <a:gd name="T3" fmla="*/ 554 h 576"/>
                <a:gd name="T4" fmla="*/ 106 w 574"/>
                <a:gd name="T5" fmla="*/ 510 h 576"/>
                <a:gd name="T6" fmla="*/ 64 w 574"/>
                <a:gd name="T7" fmla="*/ 470 h 576"/>
                <a:gd name="T8" fmla="*/ 22 w 574"/>
                <a:gd name="T9" fmla="*/ 396 h 576"/>
                <a:gd name="T10" fmla="*/ 2 w 574"/>
                <a:gd name="T11" fmla="*/ 314 h 576"/>
                <a:gd name="T12" fmla="*/ 6 w 574"/>
                <a:gd name="T13" fmla="*/ 232 h 576"/>
                <a:gd name="T14" fmla="*/ 32 w 574"/>
                <a:gd name="T15" fmla="*/ 154 h 576"/>
                <a:gd name="T16" fmla="*/ 84 w 574"/>
                <a:gd name="T17" fmla="*/ 84 h 576"/>
                <a:gd name="T18" fmla="*/ 124 w 574"/>
                <a:gd name="T19" fmla="*/ 50 h 576"/>
                <a:gd name="T20" fmla="*/ 194 w 574"/>
                <a:gd name="T21" fmla="*/ 16 h 576"/>
                <a:gd name="T22" fmla="*/ 268 w 574"/>
                <a:gd name="T23" fmla="*/ 0 h 576"/>
                <a:gd name="T24" fmla="*/ 344 w 574"/>
                <a:gd name="T25" fmla="*/ 6 h 576"/>
                <a:gd name="T26" fmla="*/ 416 w 574"/>
                <a:gd name="T27" fmla="*/ 30 h 576"/>
                <a:gd name="T28" fmla="*/ 468 w 574"/>
                <a:gd name="T29" fmla="*/ 64 h 576"/>
                <a:gd name="T30" fmla="*/ 450 w 574"/>
                <a:gd name="T31" fmla="*/ 72 h 576"/>
                <a:gd name="T32" fmla="*/ 386 w 574"/>
                <a:gd name="T33" fmla="*/ 36 h 576"/>
                <a:gd name="T34" fmla="*/ 316 w 574"/>
                <a:gd name="T35" fmla="*/ 20 h 576"/>
                <a:gd name="T36" fmla="*/ 246 w 574"/>
                <a:gd name="T37" fmla="*/ 22 h 576"/>
                <a:gd name="T38" fmla="*/ 176 w 574"/>
                <a:gd name="T39" fmla="*/ 42 h 576"/>
                <a:gd name="T40" fmla="*/ 116 w 574"/>
                <a:gd name="T41" fmla="*/ 80 h 576"/>
                <a:gd name="T42" fmla="*/ 78 w 574"/>
                <a:gd name="T43" fmla="*/ 118 h 576"/>
                <a:gd name="T44" fmla="*/ 38 w 574"/>
                <a:gd name="T45" fmla="*/ 186 h 576"/>
                <a:gd name="T46" fmla="*/ 20 w 574"/>
                <a:gd name="T47" fmla="*/ 262 h 576"/>
                <a:gd name="T48" fmla="*/ 22 w 574"/>
                <a:gd name="T49" fmla="*/ 338 h 576"/>
                <a:gd name="T50" fmla="*/ 48 w 574"/>
                <a:gd name="T51" fmla="*/ 412 h 576"/>
                <a:gd name="T52" fmla="*/ 96 w 574"/>
                <a:gd name="T53" fmla="*/ 478 h 576"/>
                <a:gd name="T54" fmla="*/ 138 w 574"/>
                <a:gd name="T55" fmla="*/ 512 h 576"/>
                <a:gd name="T56" fmla="*/ 208 w 574"/>
                <a:gd name="T57" fmla="*/ 546 h 576"/>
                <a:gd name="T58" fmla="*/ 288 w 574"/>
                <a:gd name="T59" fmla="*/ 558 h 576"/>
                <a:gd name="T60" fmla="*/ 340 w 574"/>
                <a:gd name="T61" fmla="*/ 552 h 576"/>
                <a:gd name="T62" fmla="*/ 414 w 574"/>
                <a:gd name="T63" fmla="*/ 526 h 576"/>
                <a:gd name="T64" fmla="*/ 478 w 574"/>
                <a:gd name="T65" fmla="*/ 478 h 576"/>
                <a:gd name="T66" fmla="*/ 510 w 574"/>
                <a:gd name="T67" fmla="*/ 440 h 576"/>
                <a:gd name="T68" fmla="*/ 542 w 574"/>
                <a:gd name="T69" fmla="*/ 374 h 576"/>
                <a:gd name="T70" fmla="*/ 556 w 574"/>
                <a:gd name="T71" fmla="*/ 304 h 576"/>
                <a:gd name="T72" fmla="*/ 552 w 574"/>
                <a:gd name="T73" fmla="*/ 232 h 576"/>
                <a:gd name="T74" fmla="*/ 528 w 574"/>
                <a:gd name="T75" fmla="*/ 164 h 576"/>
                <a:gd name="T76" fmla="*/ 496 w 574"/>
                <a:gd name="T77" fmla="*/ 116 h 576"/>
                <a:gd name="T78" fmla="*/ 514 w 574"/>
                <a:gd name="T79" fmla="*/ 112 h 576"/>
                <a:gd name="T80" fmla="*/ 554 w 574"/>
                <a:gd name="T81" fmla="*/ 180 h 576"/>
                <a:gd name="T82" fmla="*/ 574 w 574"/>
                <a:gd name="T83" fmla="*/ 254 h 576"/>
                <a:gd name="T84" fmla="*/ 572 w 574"/>
                <a:gd name="T85" fmla="*/ 330 h 576"/>
                <a:gd name="T86" fmla="*/ 550 w 574"/>
                <a:gd name="T87" fmla="*/ 404 h 576"/>
                <a:gd name="T88" fmla="*/ 510 w 574"/>
                <a:gd name="T89" fmla="*/ 470 h 576"/>
                <a:gd name="T90" fmla="*/ 470 w 574"/>
                <a:gd name="T91" fmla="*/ 510 h 576"/>
                <a:gd name="T92" fmla="*/ 398 w 574"/>
                <a:gd name="T93" fmla="*/ 554 h 576"/>
                <a:gd name="T94" fmla="*/ 316 w 574"/>
                <a:gd name="T95" fmla="*/ 57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576">
                  <a:moveTo>
                    <a:pt x="288" y="576"/>
                  </a:moveTo>
                  <a:lnTo>
                    <a:pt x="288" y="576"/>
                  </a:lnTo>
                  <a:lnTo>
                    <a:pt x="258" y="574"/>
                  </a:lnTo>
                  <a:lnTo>
                    <a:pt x="232" y="570"/>
                  </a:lnTo>
                  <a:lnTo>
                    <a:pt x="204" y="562"/>
                  </a:lnTo>
                  <a:lnTo>
                    <a:pt x="178" y="554"/>
                  </a:lnTo>
                  <a:lnTo>
                    <a:pt x="152" y="542"/>
                  </a:lnTo>
                  <a:lnTo>
                    <a:pt x="128" y="526"/>
                  </a:lnTo>
                  <a:lnTo>
                    <a:pt x="106" y="510"/>
                  </a:lnTo>
                  <a:lnTo>
                    <a:pt x="84" y="490"/>
                  </a:lnTo>
                  <a:lnTo>
                    <a:pt x="84" y="490"/>
                  </a:lnTo>
                  <a:lnTo>
                    <a:pt x="64" y="470"/>
                  </a:lnTo>
                  <a:lnTo>
                    <a:pt x="48" y="446"/>
                  </a:lnTo>
                  <a:lnTo>
                    <a:pt x="32" y="422"/>
                  </a:lnTo>
                  <a:lnTo>
                    <a:pt x="22" y="396"/>
                  </a:lnTo>
                  <a:lnTo>
                    <a:pt x="12" y="370"/>
                  </a:lnTo>
                  <a:lnTo>
                    <a:pt x="6" y="342"/>
                  </a:lnTo>
                  <a:lnTo>
                    <a:pt x="2" y="314"/>
                  </a:lnTo>
                  <a:lnTo>
                    <a:pt x="0" y="288"/>
                  </a:lnTo>
                  <a:lnTo>
                    <a:pt x="2" y="260"/>
                  </a:lnTo>
                  <a:lnTo>
                    <a:pt x="6" y="232"/>
                  </a:lnTo>
                  <a:lnTo>
                    <a:pt x="12" y="206"/>
                  </a:lnTo>
                  <a:lnTo>
                    <a:pt x="22" y="180"/>
                  </a:lnTo>
                  <a:lnTo>
                    <a:pt x="32" y="154"/>
                  </a:lnTo>
                  <a:lnTo>
                    <a:pt x="48" y="130"/>
                  </a:lnTo>
                  <a:lnTo>
                    <a:pt x="64" y="106"/>
                  </a:lnTo>
                  <a:lnTo>
                    <a:pt x="84" y="84"/>
                  </a:lnTo>
                  <a:lnTo>
                    <a:pt x="84" y="84"/>
                  </a:lnTo>
                  <a:lnTo>
                    <a:pt x="104" y="66"/>
                  </a:lnTo>
                  <a:lnTo>
                    <a:pt x="124" y="50"/>
                  </a:lnTo>
                  <a:lnTo>
                    <a:pt x="146" y="36"/>
                  </a:lnTo>
                  <a:lnTo>
                    <a:pt x="170" y="26"/>
                  </a:lnTo>
                  <a:lnTo>
                    <a:pt x="194" y="16"/>
                  </a:lnTo>
                  <a:lnTo>
                    <a:pt x="218" y="8"/>
                  </a:lnTo>
                  <a:lnTo>
                    <a:pt x="242" y="4"/>
                  </a:lnTo>
                  <a:lnTo>
                    <a:pt x="268" y="0"/>
                  </a:lnTo>
                  <a:lnTo>
                    <a:pt x="292" y="0"/>
                  </a:lnTo>
                  <a:lnTo>
                    <a:pt x="318" y="2"/>
                  </a:lnTo>
                  <a:lnTo>
                    <a:pt x="344" y="6"/>
                  </a:lnTo>
                  <a:lnTo>
                    <a:pt x="368" y="12"/>
                  </a:lnTo>
                  <a:lnTo>
                    <a:pt x="392" y="20"/>
                  </a:lnTo>
                  <a:lnTo>
                    <a:pt x="416" y="30"/>
                  </a:lnTo>
                  <a:lnTo>
                    <a:pt x="438" y="42"/>
                  </a:lnTo>
                  <a:lnTo>
                    <a:pt x="460" y="58"/>
                  </a:lnTo>
                  <a:lnTo>
                    <a:pt x="468" y="64"/>
                  </a:lnTo>
                  <a:lnTo>
                    <a:pt x="456" y="78"/>
                  </a:lnTo>
                  <a:lnTo>
                    <a:pt x="450" y="72"/>
                  </a:lnTo>
                  <a:lnTo>
                    <a:pt x="450" y="72"/>
                  </a:lnTo>
                  <a:lnTo>
                    <a:pt x="430" y="58"/>
                  </a:lnTo>
                  <a:lnTo>
                    <a:pt x="408" y="46"/>
                  </a:lnTo>
                  <a:lnTo>
                    <a:pt x="386" y="36"/>
                  </a:lnTo>
                  <a:lnTo>
                    <a:pt x="362" y="28"/>
                  </a:lnTo>
                  <a:lnTo>
                    <a:pt x="340" y="24"/>
                  </a:lnTo>
                  <a:lnTo>
                    <a:pt x="316" y="20"/>
                  </a:lnTo>
                  <a:lnTo>
                    <a:pt x="292" y="18"/>
                  </a:lnTo>
                  <a:lnTo>
                    <a:pt x="268" y="18"/>
                  </a:lnTo>
                  <a:lnTo>
                    <a:pt x="246" y="22"/>
                  </a:lnTo>
                  <a:lnTo>
                    <a:pt x="222" y="26"/>
                  </a:lnTo>
                  <a:lnTo>
                    <a:pt x="200" y="32"/>
                  </a:lnTo>
                  <a:lnTo>
                    <a:pt x="176" y="42"/>
                  </a:lnTo>
                  <a:lnTo>
                    <a:pt x="156" y="52"/>
                  </a:lnTo>
                  <a:lnTo>
                    <a:pt x="134" y="66"/>
                  </a:lnTo>
                  <a:lnTo>
                    <a:pt x="116" y="80"/>
                  </a:lnTo>
                  <a:lnTo>
                    <a:pt x="96" y="96"/>
                  </a:lnTo>
                  <a:lnTo>
                    <a:pt x="96" y="96"/>
                  </a:lnTo>
                  <a:lnTo>
                    <a:pt x="78" y="118"/>
                  </a:lnTo>
                  <a:lnTo>
                    <a:pt x="62" y="138"/>
                  </a:lnTo>
                  <a:lnTo>
                    <a:pt x="48" y="162"/>
                  </a:lnTo>
                  <a:lnTo>
                    <a:pt x="38" y="186"/>
                  </a:lnTo>
                  <a:lnTo>
                    <a:pt x="30" y="210"/>
                  </a:lnTo>
                  <a:lnTo>
                    <a:pt x="22" y="236"/>
                  </a:lnTo>
                  <a:lnTo>
                    <a:pt x="20" y="262"/>
                  </a:lnTo>
                  <a:lnTo>
                    <a:pt x="18" y="288"/>
                  </a:lnTo>
                  <a:lnTo>
                    <a:pt x="20" y="314"/>
                  </a:lnTo>
                  <a:lnTo>
                    <a:pt x="22" y="338"/>
                  </a:lnTo>
                  <a:lnTo>
                    <a:pt x="30" y="364"/>
                  </a:lnTo>
                  <a:lnTo>
                    <a:pt x="38" y="388"/>
                  </a:lnTo>
                  <a:lnTo>
                    <a:pt x="48" y="412"/>
                  </a:lnTo>
                  <a:lnTo>
                    <a:pt x="62" y="436"/>
                  </a:lnTo>
                  <a:lnTo>
                    <a:pt x="78" y="458"/>
                  </a:lnTo>
                  <a:lnTo>
                    <a:pt x="96" y="478"/>
                  </a:lnTo>
                  <a:lnTo>
                    <a:pt x="96" y="478"/>
                  </a:lnTo>
                  <a:lnTo>
                    <a:pt x="116" y="496"/>
                  </a:lnTo>
                  <a:lnTo>
                    <a:pt x="138" y="512"/>
                  </a:lnTo>
                  <a:lnTo>
                    <a:pt x="160" y="526"/>
                  </a:lnTo>
                  <a:lnTo>
                    <a:pt x="184" y="536"/>
                  </a:lnTo>
                  <a:lnTo>
                    <a:pt x="208" y="546"/>
                  </a:lnTo>
                  <a:lnTo>
                    <a:pt x="234" y="552"/>
                  </a:lnTo>
                  <a:lnTo>
                    <a:pt x="260" y="556"/>
                  </a:lnTo>
                  <a:lnTo>
                    <a:pt x="288" y="558"/>
                  </a:lnTo>
                  <a:lnTo>
                    <a:pt x="288" y="558"/>
                  </a:lnTo>
                  <a:lnTo>
                    <a:pt x="314" y="556"/>
                  </a:lnTo>
                  <a:lnTo>
                    <a:pt x="340" y="552"/>
                  </a:lnTo>
                  <a:lnTo>
                    <a:pt x="366" y="546"/>
                  </a:lnTo>
                  <a:lnTo>
                    <a:pt x="390" y="536"/>
                  </a:lnTo>
                  <a:lnTo>
                    <a:pt x="414" y="526"/>
                  </a:lnTo>
                  <a:lnTo>
                    <a:pt x="438" y="512"/>
                  </a:lnTo>
                  <a:lnTo>
                    <a:pt x="458" y="496"/>
                  </a:lnTo>
                  <a:lnTo>
                    <a:pt x="478" y="478"/>
                  </a:lnTo>
                  <a:lnTo>
                    <a:pt x="478" y="478"/>
                  </a:lnTo>
                  <a:lnTo>
                    <a:pt x="496" y="460"/>
                  </a:lnTo>
                  <a:lnTo>
                    <a:pt x="510" y="440"/>
                  </a:lnTo>
                  <a:lnTo>
                    <a:pt x="524" y="418"/>
                  </a:lnTo>
                  <a:lnTo>
                    <a:pt x="534" y="398"/>
                  </a:lnTo>
                  <a:lnTo>
                    <a:pt x="542" y="374"/>
                  </a:lnTo>
                  <a:lnTo>
                    <a:pt x="550" y="352"/>
                  </a:lnTo>
                  <a:lnTo>
                    <a:pt x="554" y="328"/>
                  </a:lnTo>
                  <a:lnTo>
                    <a:pt x="556" y="304"/>
                  </a:lnTo>
                  <a:lnTo>
                    <a:pt x="556" y="280"/>
                  </a:lnTo>
                  <a:lnTo>
                    <a:pt x="556" y="256"/>
                  </a:lnTo>
                  <a:lnTo>
                    <a:pt x="552" y="232"/>
                  </a:lnTo>
                  <a:lnTo>
                    <a:pt x="546" y="210"/>
                  </a:lnTo>
                  <a:lnTo>
                    <a:pt x="538" y="186"/>
                  </a:lnTo>
                  <a:lnTo>
                    <a:pt x="528" y="164"/>
                  </a:lnTo>
                  <a:lnTo>
                    <a:pt x="516" y="142"/>
                  </a:lnTo>
                  <a:lnTo>
                    <a:pt x="500" y="122"/>
                  </a:lnTo>
                  <a:lnTo>
                    <a:pt x="496" y="116"/>
                  </a:lnTo>
                  <a:lnTo>
                    <a:pt x="510" y="104"/>
                  </a:lnTo>
                  <a:lnTo>
                    <a:pt x="514" y="112"/>
                  </a:lnTo>
                  <a:lnTo>
                    <a:pt x="514" y="112"/>
                  </a:lnTo>
                  <a:lnTo>
                    <a:pt x="530" y="134"/>
                  </a:lnTo>
                  <a:lnTo>
                    <a:pt x="544" y="156"/>
                  </a:lnTo>
                  <a:lnTo>
                    <a:pt x="554" y="180"/>
                  </a:lnTo>
                  <a:lnTo>
                    <a:pt x="562" y="204"/>
                  </a:lnTo>
                  <a:lnTo>
                    <a:pt x="570" y="230"/>
                  </a:lnTo>
                  <a:lnTo>
                    <a:pt x="574" y="254"/>
                  </a:lnTo>
                  <a:lnTo>
                    <a:pt x="574" y="280"/>
                  </a:lnTo>
                  <a:lnTo>
                    <a:pt x="574" y="306"/>
                  </a:lnTo>
                  <a:lnTo>
                    <a:pt x="572" y="330"/>
                  </a:lnTo>
                  <a:lnTo>
                    <a:pt x="566" y="356"/>
                  </a:lnTo>
                  <a:lnTo>
                    <a:pt x="560" y="380"/>
                  </a:lnTo>
                  <a:lnTo>
                    <a:pt x="550" y="404"/>
                  </a:lnTo>
                  <a:lnTo>
                    <a:pt x="538" y="428"/>
                  </a:lnTo>
                  <a:lnTo>
                    <a:pt x="526" y="450"/>
                  </a:lnTo>
                  <a:lnTo>
                    <a:pt x="510" y="470"/>
                  </a:lnTo>
                  <a:lnTo>
                    <a:pt x="492" y="490"/>
                  </a:lnTo>
                  <a:lnTo>
                    <a:pt x="492" y="490"/>
                  </a:lnTo>
                  <a:lnTo>
                    <a:pt x="470" y="510"/>
                  </a:lnTo>
                  <a:lnTo>
                    <a:pt x="448" y="526"/>
                  </a:lnTo>
                  <a:lnTo>
                    <a:pt x="424" y="542"/>
                  </a:lnTo>
                  <a:lnTo>
                    <a:pt x="398" y="554"/>
                  </a:lnTo>
                  <a:lnTo>
                    <a:pt x="372" y="562"/>
                  </a:lnTo>
                  <a:lnTo>
                    <a:pt x="344" y="570"/>
                  </a:lnTo>
                  <a:lnTo>
                    <a:pt x="316" y="574"/>
                  </a:lnTo>
                  <a:lnTo>
                    <a:pt x="288" y="576"/>
                  </a:lnTo>
                  <a:lnTo>
                    <a:pt x="288" y="576"/>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90" name="Freeform 113">
              <a:extLst>
                <a:ext uri="{FF2B5EF4-FFF2-40B4-BE49-F238E27FC236}">
                  <a16:creationId xmlns:a16="http://schemas.microsoft.com/office/drawing/2014/main" id="{E0E9BC82-CA2F-82B4-7055-9422EE78FDBA}"/>
                </a:ext>
              </a:extLst>
            </p:cNvPr>
            <p:cNvSpPr>
              <a:spLocks/>
            </p:cNvSpPr>
            <p:nvPr/>
          </p:nvSpPr>
          <p:spPr bwMode="auto">
            <a:xfrm>
              <a:off x="3276" y="3149"/>
              <a:ext cx="462" cy="462"/>
            </a:xfrm>
            <a:custGeom>
              <a:avLst/>
              <a:gdLst>
                <a:gd name="T0" fmla="*/ 210 w 462"/>
                <a:gd name="T1" fmla="*/ 462 h 462"/>
                <a:gd name="T2" fmla="*/ 144 w 462"/>
                <a:gd name="T3" fmla="*/ 446 h 462"/>
                <a:gd name="T4" fmla="*/ 86 w 462"/>
                <a:gd name="T5" fmla="*/ 410 h 462"/>
                <a:gd name="T6" fmla="*/ 52 w 462"/>
                <a:gd name="T7" fmla="*/ 378 h 462"/>
                <a:gd name="T8" fmla="*/ 18 w 462"/>
                <a:gd name="T9" fmla="*/ 318 h 462"/>
                <a:gd name="T10" fmla="*/ 2 w 462"/>
                <a:gd name="T11" fmla="*/ 254 h 462"/>
                <a:gd name="T12" fmla="*/ 4 w 462"/>
                <a:gd name="T13" fmla="*/ 188 h 462"/>
                <a:gd name="T14" fmla="*/ 28 w 462"/>
                <a:gd name="T15" fmla="*/ 124 h 462"/>
                <a:gd name="T16" fmla="*/ 68 w 462"/>
                <a:gd name="T17" fmla="*/ 68 h 462"/>
                <a:gd name="T18" fmla="*/ 100 w 462"/>
                <a:gd name="T19" fmla="*/ 42 h 462"/>
                <a:gd name="T20" fmla="*/ 154 w 462"/>
                <a:gd name="T21" fmla="*/ 14 h 462"/>
                <a:gd name="T22" fmla="*/ 212 w 462"/>
                <a:gd name="T23" fmla="*/ 2 h 462"/>
                <a:gd name="T24" fmla="*/ 270 w 462"/>
                <a:gd name="T25" fmla="*/ 4 h 462"/>
                <a:gd name="T26" fmla="*/ 328 w 462"/>
                <a:gd name="T27" fmla="*/ 22 h 462"/>
                <a:gd name="T28" fmla="*/ 372 w 462"/>
                <a:gd name="T29" fmla="*/ 48 h 462"/>
                <a:gd name="T30" fmla="*/ 354 w 462"/>
                <a:gd name="T31" fmla="*/ 56 h 462"/>
                <a:gd name="T32" fmla="*/ 304 w 462"/>
                <a:gd name="T33" fmla="*/ 30 h 462"/>
                <a:gd name="T34" fmla="*/ 250 w 462"/>
                <a:gd name="T35" fmla="*/ 20 h 462"/>
                <a:gd name="T36" fmla="*/ 194 w 462"/>
                <a:gd name="T37" fmla="*/ 22 h 462"/>
                <a:gd name="T38" fmla="*/ 142 w 462"/>
                <a:gd name="T39" fmla="*/ 38 h 462"/>
                <a:gd name="T40" fmla="*/ 96 w 462"/>
                <a:gd name="T41" fmla="*/ 68 h 462"/>
                <a:gd name="T42" fmla="*/ 66 w 462"/>
                <a:gd name="T43" fmla="*/ 96 h 462"/>
                <a:gd name="T44" fmla="*/ 34 w 462"/>
                <a:gd name="T45" fmla="*/ 152 h 462"/>
                <a:gd name="T46" fmla="*/ 20 w 462"/>
                <a:gd name="T47" fmla="*/ 210 h 462"/>
                <a:gd name="T48" fmla="*/ 22 w 462"/>
                <a:gd name="T49" fmla="*/ 272 h 462"/>
                <a:gd name="T50" fmla="*/ 44 w 462"/>
                <a:gd name="T51" fmla="*/ 330 h 462"/>
                <a:gd name="T52" fmla="*/ 80 w 462"/>
                <a:gd name="T53" fmla="*/ 382 h 462"/>
                <a:gd name="T54" fmla="*/ 114 w 462"/>
                <a:gd name="T55" fmla="*/ 410 h 462"/>
                <a:gd name="T56" fmla="*/ 170 w 462"/>
                <a:gd name="T57" fmla="*/ 436 h 462"/>
                <a:gd name="T58" fmla="*/ 232 w 462"/>
                <a:gd name="T59" fmla="*/ 444 h 462"/>
                <a:gd name="T60" fmla="*/ 292 w 462"/>
                <a:gd name="T61" fmla="*/ 436 h 462"/>
                <a:gd name="T62" fmla="*/ 348 w 462"/>
                <a:gd name="T63" fmla="*/ 410 h 462"/>
                <a:gd name="T64" fmla="*/ 382 w 462"/>
                <a:gd name="T65" fmla="*/ 382 h 462"/>
                <a:gd name="T66" fmla="*/ 418 w 462"/>
                <a:gd name="T67" fmla="*/ 336 h 462"/>
                <a:gd name="T68" fmla="*/ 438 w 462"/>
                <a:gd name="T69" fmla="*/ 284 h 462"/>
                <a:gd name="T70" fmla="*/ 444 w 462"/>
                <a:gd name="T71" fmla="*/ 230 h 462"/>
                <a:gd name="T72" fmla="*/ 438 w 462"/>
                <a:gd name="T73" fmla="*/ 176 h 462"/>
                <a:gd name="T74" fmla="*/ 414 w 462"/>
                <a:gd name="T75" fmla="*/ 122 h 462"/>
                <a:gd name="T76" fmla="*/ 414 w 462"/>
                <a:gd name="T77" fmla="*/ 88 h 462"/>
                <a:gd name="T78" fmla="*/ 430 w 462"/>
                <a:gd name="T79" fmla="*/ 114 h 462"/>
                <a:gd name="T80" fmla="*/ 454 w 462"/>
                <a:gd name="T81" fmla="*/ 170 h 462"/>
                <a:gd name="T82" fmla="*/ 462 w 462"/>
                <a:gd name="T83" fmla="*/ 230 h 462"/>
                <a:gd name="T84" fmla="*/ 456 w 462"/>
                <a:gd name="T85" fmla="*/ 290 h 462"/>
                <a:gd name="T86" fmla="*/ 432 w 462"/>
                <a:gd name="T87" fmla="*/ 346 h 462"/>
                <a:gd name="T88" fmla="*/ 394 w 462"/>
                <a:gd name="T89" fmla="*/ 394 h 462"/>
                <a:gd name="T90" fmla="*/ 358 w 462"/>
                <a:gd name="T91" fmla="*/ 424 h 462"/>
                <a:gd name="T92" fmla="*/ 298 w 462"/>
                <a:gd name="T93" fmla="*/ 452 h 462"/>
                <a:gd name="T94" fmla="*/ 232 w 462"/>
                <a:gd name="T95" fmla="*/ 46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2" h="462">
                  <a:moveTo>
                    <a:pt x="232" y="462"/>
                  </a:moveTo>
                  <a:lnTo>
                    <a:pt x="232" y="462"/>
                  </a:lnTo>
                  <a:lnTo>
                    <a:pt x="210" y="462"/>
                  </a:lnTo>
                  <a:lnTo>
                    <a:pt x="188" y="458"/>
                  </a:lnTo>
                  <a:lnTo>
                    <a:pt x="166" y="452"/>
                  </a:lnTo>
                  <a:lnTo>
                    <a:pt x="144" y="446"/>
                  </a:lnTo>
                  <a:lnTo>
                    <a:pt x="124" y="436"/>
                  </a:lnTo>
                  <a:lnTo>
                    <a:pt x="104" y="424"/>
                  </a:lnTo>
                  <a:lnTo>
                    <a:pt x="86" y="410"/>
                  </a:lnTo>
                  <a:lnTo>
                    <a:pt x="68" y="394"/>
                  </a:lnTo>
                  <a:lnTo>
                    <a:pt x="68" y="394"/>
                  </a:lnTo>
                  <a:lnTo>
                    <a:pt x="52" y="378"/>
                  </a:lnTo>
                  <a:lnTo>
                    <a:pt x="38" y="358"/>
                  </a:lnTo>
                  <a:lnTo>
                    <a:pt x="28" y="338"/>
                  </a:lnTo>
                  <a:lnTo>
                    <a:pt x="18" y="318"/>
                  </a:lnTo>
                  <a:lnTo>
                    <a:pt x="10" y="298"/>
                  </a:lnTo>
                  <a:lnTo>
                    <a:pt x="4" y="276"/>
                  </a:lnTo>
                  <a:lnTo>
                    <a:pt x="2" y="254"/>
                  </a:lnTo>
                  <a:lnTo>
                    <a:pt x="0" y="232"/>
                  </a:lnTo>
                  <a:lnTo>
                    <a:pt x="2" y="210"/>
                  </a:lnTo>
                  <a:lnTo>
                    <a:pt x="4" y="188"/>
                  </a:lnTo>
                  <a:lnTo>
                    <a:pt x="10" y="166"/>
                  </a:lnTo>
                  <a:lnTo>
                    <a:pt x="18" y="144"/>
                  </a:lnTo>
                  <a:lnTo>
                    <a:pt x="28" y="124"/>
                  </a:lnTo>
                  <a:lnTo>
                    <a:pt x="38" y="104"/>
                  </a:lnTo>
                  <a:lnTo>
                    <a:pt x="52" y="86"/>
                  </a:lnTo>
                  <a:lnTo>
                    <a:pt x="68" y="68"/>
                  </a:lnTo>
                  <a:lnTo>
                    <a:pt x="68" y="68"/>
                  </a:lnTo>
                  <a:lnTo>
                    <a:pt x="84" y="54"/>
                  </a:lnTo>
                  <a:lnTo>
                    <a:pt x="100" y="42"/>
                  </a:lnTo>
                  <a:lnTo>
                    <a:pt x="118" y="30"/>
                  </a:lnTo>
                  <a:lnTo>
                    <a:pt x="134" y="22"/>
                  </a:lnTo>
                  <a:lnTo>
                    <a:pt x="154" y="14"/>
                  </a:lnTo>
                  <a:lnTo>
                    <a:pt x="172" y="8"/>
                  </a:lnTo>
                  <a:lnTo>
                    <a:pt x="192" y="4"/>
                  </a:lnTo>
                  <a:lnTo>
                    <a:pt x="212" y="2"/>
                  </a:lnTo>
                  <a:lnTo>
                    <a:pt x="230" y="0"/>
                  </a:lnTo>
                  <a:lnTo>
                    <a:pt x="250" y="2"/>
                  </a:lnTo>
                  <a:lnTo>
                    <a:pt x="270" y="4"/>
                  </a:lnTo>
                  <a:lnTo>
                    <a:pt x="290" y="8"/>
                  </a:lnTo>
                  <a:lnTo>
                    <a:pt x="310" y="14"/>
                  </a:lnTo>
                  <a:lnTo>
                    <a:pt x="328" y="22"/>
                  </a:lnTo>
                  <a:lnTo>
                    <a:pt x="346" y="30"/>
                  </a:lnTo>
                  <a:lnTo>
                    <a:pt x="364" y="42"/>
                  </a:lnTo>
                  <a:lnTo>
                    <a:pt x="372" y="48"/>
                  </a:lnTo>
                  <a:lnTo>
                    <a:pt x="360" y="62"/>
                  </a:lnTo>
                  <a:lnTo>
                    <a:pt x="354" y="56"/>
                  </a:lnTo>
                  <a:lnTo>
                    <a:pt x="354" y="56"/>
                  </a:lnTo>
                  <a:lnTo>
                    <a:pt x="338" y="46"/>
                  </a:lnTo>
                  <a:lnTo>
                    <a:pt x="320" y="38"/>
                  </a:lnTo>
                  <a:lnTo>
                    <a:pt x="304" y="30"/>
                  </a:lnTo>
                  <a:lnTo>
                    <a:pt x="286" y="26"/>
                  </a:lnTo>
                  <a:lnTo>
                    <a:pt x="268" y="22"/>
                  </a:lnTo>
                  <a:lnTo>
                    <a:pt x="250" y="20"/>
                  </a:lnTo>
                  <a:lnTo>
                    <a:pt x="232" y="18"/>
                  </a:lnTo>
                  <a:lnTo>
                    <a:pt x="212" y="20"/>
                  </a:lnTo>
                  <a:lnTo>
                    <a:pt x="194" y="22"/>
                  </a:lnTo>
                  <a:lnTo>
                    <a:pt x="176" y="26"/>
                  </a:lnTo>
                  <a:lnTo>
                    <a:pt x="160" y="30"/>
                  </a:lnTo>
                  <a:lnTo>
                    <a:pt x="142" y="38"/>
                  </a:lnTo>
                  <a:lnTo>
                    <a:pt x="126" y="46"/>
                  </a:lnTo>
                  <a:lnTo>
                    <a:pt x="110" y="56"/>
                  </a:lnTo>
                  <a:lnTo>
                    <a:pt x="96" y="68"/>
                  </a:lnTo>
                  <a:lnTo>
                    <a:pt x="80" y="80"/>
                  </a:lnTo>
                  <a:lnTo>
                    <a:pt x="80" y="80"/>
                  </a:lnTo>
                  <a:lnTo>
                    <a:pt x="66" y="96"/>
                  </a:lnTo>
                  <a:lnTo>
                    <a:pt x="54" y="114"/>
                  </a:lnTo>
                  <a:lnTo>
                    <a:pt x="44" y="132"/>
                  </a:lnTo>
                  <a:lnTo>
                    <a:pt x="34" y="152"/>
                  </a:lnTo>
                  <a:lnTo>
                    <a:pt x="28" y="170"/>
                  </a:lnTo>
                  <a:lnTo>
                    <a:pt x="22" y="190"/>
                  </a:lnTo>
                  <a:lnTo>
                    <a:pt x="20" y="210"/>
                  </a:lnTo>
                  <a:lnTo>
                    <a:pt x="18" y="232"/>
                  </a:lnTo>
                  <a:lnTo>
                    <a:pt x="20" y="252"/>
                  </a:lnTo>
                  <a:lnTo>
                    <a:pt x="22" y="272"/>
                  </a:lnTo>
                  <a:lnTo>
                    <a:pt x="28" y="292"/>
                  </a:lnTo>
                  <a:lnTo>
                    <a:pt x="34" y="312"/>
                  </a:lnTo>
                  <a:lnTo>
                    <a:pt x="44" y="330"/>
                  </a:lnTo>
                  <a:lnTo>
                    <a:pt x="54" y="348"/>
                  </a:lnTo>
                  <a:lnTo>
                    <a:pt x="66" y="366"/>
                  </a:lnTo>
                  <a:lnTo>
                    <a:pt x="80" y="382"/>
                  </a:lnTo>
                  <a:lnTo>
                    <a:pt x="80" y="382"/>
                  </a:lnTo>
                  <a:lnTo>
                    <a:pt x="98" y="396"/>
                  </a:lnTo>
                  <a:lnTo>
                    <a:pt x="114" y="410"/>
                  </a:lnTo>
                  <a:lnTo>
                    <a:pt x="132" y="420"/>
                  </a:lnTo>
                  <a:lnTo>
                    <a:pt x="152" y="428"/>
                  </a:lnTo>
                  <a:lnTo>
                    <a:pt x="170" y="436"/>
                  </a:lnTo>
                  <a:lnTo>
                    <a:pt x="190" y="440"/>
                  </a:lnTo>
                  <a:lnTo>
                    <a:pt x="212" y="444"/>
                  </a:lnTo>
                  <a:lnTo>
                    <a:pt x="232" y="444"/>
                  </a:lnTo>
                  <a:lnTo>
                    <a:pt x="252" y="444"/>
                  </a:lnTo>
                  <a:lnTo>
                    <a:pt x="272" y="440"/>
                  </a:lnTo>
                  <a:lnTo>
                    <a:pt x="292" y="436"/>
                  </a:lnTo>
                  <a:lnTo>
                    <a:pt x="312" y="428"/>
                  </a:lnTo>
                  <a:lnTo>
                    <a:pt x="330" y="420"/>
                  </a:lnTo>
                  <a:lnTo>
                    <a:pt x="348" y="410"/>
                  </a:lnTo>
                  <a:lnTo>
                    <a:pt x="366" y="396"/>
                  </a:lnTo>
                  <a:lnTo>
                    <a:pt x="382" y="382"/>
                  </a:lnTo>
                  <a:lnTo>
                    <a:pt x="382" y="382"/>
                  </a:lnTo>
                  <a:lnTo>
                    <a:pt x="396" y="368"/>
                  </a:lnTo>
                  <a:lnTo>
                    <a:pt x="406" y="352"/>
                  </a:lnTo>
                  <a:lnTo>
                    <a:pt x="418" y="336"/>
                  </a:lnTo>
                  <a:lnTo>
                    <a:pt x="426" y="320"/>
                  </a:lnTo>
                  <a:lnTo>
                    <a:pt x="432" y="302"/>
                  </a:lnTo>
                  <a:lnTo>
                    <a:pt x="438" y="284"/>
                  </a:lnTo>
                  <a:lnTo>
                    <a:pt x="442" y="266"/>
                  </a:lnTo>
                  <a:lnTo>
                    <a:pt x="444" y="248"/>
                  </a:lnTo>
                  <a:lnTo>
                    <a:pt x="444" y="230"/>
                  </a:lnTo>
                  <a:lnTo>
                    <a:pt x="444" y="212"/>
                  </a:lnTo>
                  <a:lnTo>
                    <a:pt x="442" y="194"/>
                  </a:lnTo>
                  <a:lnTo>
                    <a:pt x="438" y="176"/>
                  </a:lnTo>
                  <a:lnTo>
                    <a:pt x="432" y="158"/>
                  </a:lnTo>
                  <a:lnTo>
                    <a:pt x="424" y="140"/>
                  </a:lnTo>
                  <a:lnTo>
                    <a:pt x="414" y="122"/>
                  </a:lnTo>
                  <a:lnTo>
                    <a:pt x="404" y="106"/>
                  </a:lnTo>
                  <a:lnTo>
                    <a:pt x="398" y="100"/>
                  </a:lnTo>
                  <a:lnTo>
                    <a:pt x="414" y="88"/>
                  </a:lnTo>
                  <a:lnTo>
                    <a:pt x="418" y="96"/>
                  </a:lnTo>
                  <a:lnTo>
                    <a:pt x="418" y="96"/>
                  </a:lnTo>
                  <a:lnTo>
                    <a:pt x="430" y="114"/>
                  </a:lnTo>
                  <a:lnTo>
                    <a:pt x="440" y="132"/>
                  </a:lnTo>
                  <a:lnTo>
                    <a:pt x="448" y="152"/>
                  </a:lnTo>
                  <a:lnTo>
                    <a:pt x="454" y="170"/>
                  </a:lnTo>
                  <a:lnTo>
                    <a:pt x="458" y="190"/>
                  </a:lnTo>
                  <a:lnTo>
                    <a:pt x="462" y="210"/>
                  </a:lnTo>
                  <a:lnTo>
                    <a:pt x="462" y="230"/>
                  </a:lnTo>
                  <a:lnTo>
                    <a:pt x="462" y="250"/>
                  </a:lnTo>
                  <a:lnTo>
                    <a:pt x="460" y="270"/>
                  </a:lnTo>
                  <a:lnTo>
                    <a:pt x="456" y="290"/>
                  </a:lnTo>
                  <a:lnTo>
                    <a:pt x="450" y="308"/>
                  </a:lnTo>
                  <a:lnTo>
                    <a:pt x="442" y="326"/>
                  </a:lnTo>
                  <a:lnTo>
                    <a:pt x="432" y="346"/>
                  </a:lnTo>
                  <a:lnTo>
                    <a:pt x="422" y="362"/>
                  </a:lnTo>
                  <a:lnTo>
                    <a:pt x="410" y="380"/>
                  </a:lnTo>
                  <a:lnTo>
                    <a:pt x="394" y="394"/>
                  </a:lnTo>
                  <a:lnTo>
                    <a:pt x="394" y="394"/>
                  </a:lnTo>
                  <a:lnTo>
                    <a:pt x="378" y="410"/>
                  </a:lnTo>
                  <a:lnTo>
                    <a:pt x="358" y="424"/>
                  </a:lnTo>
                  <a:lnTo>
                    <a:pt x="340" y="436"/>
                  </a:lnTo>
                  <a:lnTo>
                    <a:pt x="318" y="446"/>
                  </a:lnTo>
                  <a:lnTo>
                    <a:pt x="298" y="452"/>
                  </a:lnTo>
                  <a:lnTo>
                    <a:pt x="276" y="458"/>
                  </a:lnTo>
                  <a:lnTo>
                    <a:pt x="254" y="462"/>
                  </a:lnTo>
                  <a:lnTo>
                    <a:pt x="232" y="462"/>
                  </a:lnTo>
                  <a:lnTo>
                    <a:pt x="232" y="462"/>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91" name="Freeform 114">
              <a:extLst>
                <a:ext uri="{FF2B5EF4-FFF2-40B4-BE49-F238E27FC236}">
                  <a16:creationId xmlns:a16="http://schemas.microsoft.com/office/drawing/2014/main" id="{93E2E6A9-2493-13FA-39FA-26161AAB5CBD}"/>
                </a:ext>
              </a:extLst>
            </p:cNvPr>
            <p:cNvSpPr>
              <a:spLocks/>
            </p:cNvSpPr>
            <p:nvPr/>
          </p:nvSpPr>
          <p:spPr bwMode="auto">
            <a:xfrm>
              <a:off x="3334" y="3207"/>
              <a:ext cx="348" cy="348"/>
            </a:xfrm>
            <a:custGeom>
              <a:avLst/>
              <a:gdLst>
                <a:gd name="T0" fmla="*/ 174 w 348"/>
                <a:gd name="T1" fmla="*/ 348 h 348"/>
                <a:gd name="T2" fmla="*/ 140 w 348"/>
                <a:gd name="T3" fmla="*/ 344 h 348"/>
                <a:gd name="T4" fmla="*/ 108 w 348"/>
                <a:gd name="T5" fmla="*/ 334 h 348"/>
                <a:gd name="T6" fmla="*/ 78 w 348"/>
                <a:gd name="T7" fmla="*/ 318 h 348"/>
                <a:gd name="T8" fmla="*/ 50 w 348"/>
                <a:gd name="T9" fmla="*/ 296 h 348"/>
                <a:gd name="T10" fmla="*/ 38 w 348"/>
                <a:gd name="T11" fmla="*/ 284 h 348"/>
                <a:gd name="T12" fmla="*/ 20 w 348"/>
                <a:gd name="T13" fmla="*/ 254 h 348"/>
                <a:gd name="T14" fmla="*/ 6 w 348"/>
                <a:gd name="T15" fmla="*/ 222 h 348"/>
                <a:gd name="T16" fmla="*/ 0 w 348"/>
                <a:gd name="T17" fmla="*/ 190 h 348"/>
                <a:gd name="T18" fmla="*/ 0 w 348"/>
                <a:gd name="T19" fmla="*/ 156 h 348"/>
                <a:gd name="T20" fmla="*/ 6 w 348"/>
                <a:gd name="T21" fmla="*/ 124 h 348"/>
                <a:gd name="T22" fmla="*/ 20 w 348"/>
                <a:gd name="T23" fmla="*/ 92 h 348"/>
                <a:gd name="T24" fmla="*/ 38 w 348"/>
                <a:gd name="T25" fmla="*/ 64 h 348"/>
                <a:gd name="T26" fmla="*/ 50 w 348"/>
                <a:gd name="T27" fmla="*/ 50 h 348"/>
                <a:gd name="T28" fmla="*/ 74 w 348"/>
                <a:gd name="T29" fmla="*/ 32 h 348"/>
                <a:gd name="T30" fmla="*/ 98 w 348"/>
                <a:gd name="T31" fmla="*/ 16 h 348"/>
                <a:gd name="T32" fmla="*/ 152 w 348"/>
                <a:gd name="T33" fmla="*/ 0 h 348"/>
                <a:gd name="T34" fmla="*/ 210 w 348"/>
                <a:gd name="T35" fmla="*/ 4 h 348"/>
                <a:gd name="T36" fmla="*/ 238 w 348"/>
                <a:gd name="T37" fmla="*/ 12 h 348"/>
                <a:gd name="T38" fmla="*/ 264 w 348"/>
                <a:gd name="T39" fmla="*/ 26 h 348"/>
                <a:gd name="T40" fmla="*/ 262 w 348"/>
                <a:gd name="T41" fmla="*/ 46 h 348"/>
                <a:gd name="T42" fmla="*/ 254 w 348"/>
                <a:gd name="T43" fmla="*/ 40 h 348"/>
                <a:gd name="T44" fmla="*/ 206 w 348"/>
                <a:gd name="T45" fmla="*/ 20 h 348"/>
                <a:gd name="T46" fmla="*/ 156 w 348"/>
                <a:gd name="T47" fmla="*/ 18 h 348"/>
                <a:gd name="T48" fmla="*/ 106 w 348"/>
                <a:gd name="T49" fmla="*/ 32 h 348"/>
                <a:gd name="T50" fmla="*/ 64 w 348"/>
                <a:gd name="T51" fmla="*/ 64 h 348"/>
                <a:gd name="T52" fmla="*/ 52 w 348"/>
                <a:gd name="T53" fmla="*/ 74 h 348"/>
                <a:gd name="T54" fmla="*/ 36 w 348"/>
                <a:gd name="T55" fmla="*/ 100 h 348"/>
                <a:gd name="T56" fmla="*/ 24 w 348"/>
                <a:gd name="T57" fmla="*/ 128 h 348"/>
                <a:gd name="T58" fmla="*/ 18 w 348"/>
                <a:gd name="T59" fmla="*/ 158 h 348"/>
                <a:gd name="T60" fmla="*/ 18 w 348"/>
                <a:gd name="T61" fmla="*/ 188 h 348"/>
                <a:gd name="T62" fmla="*/ 24 w 348"/>
                <a:gd name="T63" fmla="*/ 218 h 348"/>
                <a:gd name="T64" fmla="*/ 36 w 348"/>
                <a:gd name="T65" fmla="*/ 246 h 348"/>
                <a:gd name="T66" fmla="*/ 52 w 348"/>
                <a:gd name="T67" fmla="*/ 272 h 348"/>
                <a:gd name="T68" fmla="*/ 64 w 348"/>
                <a:gd name="T69" fmla="*/ 284 h 348"/>
                <a:gd name="T70" fmla="*/ 88 w 348"/>
                <a:gd name="T71" fmla="*/ 304 h 348"/>
                <a:gd name="T72" fmla="*/ 114 w 348"/>
                <a:gd name="T73" fmla="*/ 318 h 348"/>
                <a:gd name="T74" fmla="*/ 144 w 348"/>
                <a:gd name="T75" fmla="*/ 326 h 348"/>
                <a:gd name="T76" fmla="*/ 174 w 348"/>
                <a:gd name="T77" fmla="*/ 330 h 348"/>
                <a:gd name="T78" fmla="*/ 204 w 348"/>
                <a:gd name="T79" fmla="*/ 326 h 348"/>
                <a:gd name="T80" fmla="*/ 232 w 348"/>
                <a:gd name="T81" fmla="*/ 318 h 348"/>
                <a:gd name="T82" fmla="*/ 260 w 348"/>
                <a:gd name="T83" fmla="*/ 304 h 348"/>
                <a:gd name="T84" fmla="*/ 284 w 348"/>
                <a:gd name="T85" fmla="*/ 284 h 348"/>
                <a:gd name="T86" fmla="*/ 302 w 348"/>
                <a:gd name="T87" fmla="*/ 264 h 348"/>
                <a:gd name="T88" fmla="*/ 324 w 348"/>
                <a:gd name="T89" fmla="*/ 216 h 348"/>
                <a:gd name="T90" fmla="*/ 330 w 348"/>
                <a:gd name="T91" fmla="*/ 164 h 348"/>
                <a:gd name="T92" fmla="*/ 318 w 348"/>
                <a:gd name="T93" fmla="*/ 112 h 348"/>
                <a:gd name="T94" fmla="*/ 300 w 348"/>
                <a:gd name="T95" fmla="*/ 82 h 348"/>
                <a:gd name="T96" fmla="*/ 320 w 348"/>
                <a:gd name="T97" fmla="*/ 80 h 348"/>
                <a:gd name="T98" fmla="*/ 328 w 348"/>
                <a:gd name="T99" fmla="*/ 92 h 348"/>
                <a:gd name="T100" fmla="*/ 338 w 348"/>
                <a:gd name="T101" fmla="*/ 120 h 348"/>
                <a:gd name="T102" fmla="*/ 346 w 348"/>
                <a:gd name="T103" fmla="*/ 148 h 348"/>
                <a:gd name="T104" fmla="*/ 348 w 348"/>
                <a:gd name="T105" fmla="*/ 178 h 348"/>
                <a:gd name="T106" fmla="*/ 344 w 348"/>
                <a:gd name="T107" fmla="*/ 206 h 348"/>
                <a:gd name="T108" fmla="*/ 336 w 348"/>
                <a:gd name="T109" fmla="*/ 234 h 348"/>
                <a:gd name="T110" fmla="*/ 324 w 348"/>
                <a:gd name="T111" fmla="*/ 260 h 348"/>
                <a:gd name="T112" fmla="*/ 306 w 348"/>
                <a:gd name="T113" fmla="*/ 286 h 348"/>
                <a:gd name="T114" fmla="*/ 296 w 348"/>
                <a:gd name="T115" fmla="*/ 296 h 348"/>
                <a:gd name="T116" fmla="*/ 270 w 348"/>
                <a:gd name="T117" fmla="*/ 318 h 348"/>
                <a:gd name="T118" fmla="*/ 240 w 348"/>
                <a:gd name="T119" fmla="*/ 334 h 348"/>
                <a:gd name="T120" fmla="*/ 206 w 348"/>
                <a:gd name="T121" fmla="*/ 344 h 348"/>
                <a:gd name="T122" fmla="*/ 174 w 348"/>
                <a:gd name="T1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8" h="348">
                  <a:moveTo>
                    <a:pt x="174" y="348"/>
                  </a:moveTo>
                  <a:lnTo>
                    <a:pt x="174" y="348"/>
                  </a:lnTo>
                  <a:lnTo>
                    <a:pt x="156" y="346"/>
                  </a:lnTo>
                  <a:lnTo>
                    <a:pt x="140" y="344"/>
                  </a:lnTo>
                  <a:lnTo>
                    <a:pt x="124" y="340"/>
                  </a:lnTo>
                  <a:lnTo>
                    <a:pt x="108" y="334"/>
                  </a:lnTo>
                  <a:lnTo>
                    <a:pt x="92" y="328"/>
                  </a:lnTo>
                  <a:lnTo>
                    <a:pt x="78" y="318"/>
                  </a:lnTo>
                  <a:lnTo>
                    <a:pt x="64" y="308"/>
                  </a:lnTo>
                  <a:lnTo>
                    <a:pt x="50" y="296"/>
                  </a:lnTo>
                  <a:lnTo>
                    <a:pt x="50" y="296"/>
                  </a:lnTo>
                  <a:lnTo>
                    <a:pt x="38" y="284"/>
                  </a:lnTo>
                  <a:lnTo>
                    <a:pt x="28" y="270"/>
                  </a:lnTo>
                  <a:lnTo>
                    <a:pt x="20" y="254"/>
                  </a:lnTo>
                  <a:lnTo>
                    <a:pt x="12" y="238"/>
                  </a:lnTo>
                  <a:lnTo>
                    <a:pt x="6" y="222"/>
                  </a:lnTo>
                  <a:lnTo>
                    <a:pt x="2" y="206"/>
                  </a:lnTo>
                  <a:lnTo>
                    <a:pt x="0" y="190"/>
                  </a:lnTo>
                  <a:lnTo>
                    <a:pt x="0" y="174"/>
                  </a:lnTo>
                  <a:lnTo>
                    <a:pt x="0" y="156"/>
                  </a:lnTo>
                  <a:lnTo>
                    <a:pt x="2" y="140"/>
                  </a:lnTo>
                  <a:lnTo>
                    <a:pt x="6" y="124"/>
                  </a:lnTo>
                  <a:lnTo>
                    <a:pt x="12" y="108"/>
                  </a:lnTo>
                  <a:lnTo>
                    <a:pt x="20" y="92"/>
                  </a:lnTo>
                  <a:lnTo>
                    <a:pt x="28" y="78"/>
                  </a:lnTo>
                  <a:lnTo>
                    <a:pt x="38" y="64"/>
                  </a:lnTo>
                  <a:lnTo>
                    <a:pt x="50" y="50"/>
                  </a:lnTo>
                  <a:lnTo>
                    <a:pt x="50" y="50"/>
                  </a:lnTo>
                  <a:lnTo>
                    <a:pt x="62" y="40"/>
                  </a:lnTo>
                  <a:lnTo>
                    <a:pt x="74" y="32"/>
                  </a:lnTo>
                  <a:lnTo>
                    <a:pt x="86" y="24"/>
                  </a:lnTo>
                  <a:lnTo>
                    <a:pt x="98" y="16"/>
                  </a:lnTo>
                  <a:lnTo>
                    <a:pt x="126" y="6"/>
                  </a:lnTo>
                  <a:lnTo>
                    <a:pt x="152" y="0"/>
                  </a:lnTo>
                  <a:lnTo>
                    <a:pt x="182" y="0"/>
                  </a:lnTo>
                  <a:lnTo>
                    <a:pt x="210" y="4"/>
                  </a:lnTo>
                  <a:lnTo>
                    <a:pt x="224" y="6"/>
                  </a:lnTo>
                  <a:lnTo>
                    <a:pt x="238" y="12"/>
                  </a:lnTo>
                  <a:lnTo>
                    <a:pt x="250" y="18"/>
                  </a:lnTo>
                  <a:lnTo>
                    <a:pt x="264" y="26"/>
                  </a:lnTo>
                  <a:lnTo>
                    <a:pt x="272" y="30"/>
                  </a:lnTo>
                  <a:lnTo>
                    <a:pt x="262" y="46"/>
                  </a:lnTo>
                  <a:lnTo>
                    <a:pt x="254" y="40"/>
                  </a:lnTo>
                  <a:lnTo>
                    <a:pt x="254" y="40"/>
                  </a:lnTo>
                  <a:lnTo>
                    <a:pt x="230" y="28"/>
                  </a:lnTo>
                  <a:lnTo>
                    <a:pt x="206" y="20"/>
                  </a:lnTo>
                  <a:lnTo>
                    <a:pt x="180" y="18"/>
                  </a:lnTo>
                  <a:lnTo>
                    <a:pt x="156" y="18"/>
                  </a:lnTo>
                  <a:lnTo>
                    <a:pt x="130" y="24"/>
                  </a:lnTo>
                  <a:lnTo>
                    <a:pt x="106" y="32"/>
                  </a:lnTo>
                  <a:lnTo>
                    <a:pt x="84" y="46"/>
                  </a:lnTo>
                  <a:lnTo>
                    <a:pt x="64" y="64"/>
                  </a:lnTo>
                  <a:lnTo>
                    <a:pt x="64" y="64"/>
                  </a:lnTo>
                  <a:lnTo>
                    <a:pt x="52" y="74"/>
                  </a:lnTo>
                  <a:lnTo>
                    <a:pt x="44" y="88"/>
                  </a:lnTo>
                  <a:lnTo>
                    <a:pt x="36" y="100"/>
                  </a:lnTo>
                  <a:lnTo>
                    <a:pt x="30" y="114"/>
                  </a:lnTo>
                  <a:lnTo>
                    <a:pt x="24" y="128"/>
                  </a:lnTo>
                  <a:lnTo>
                    <a:pt x="20" y="144"/>
                  </a:lnTo>
                  <a:lnTo>
                    <a:pt x="18" y="158"/>
                  </a:lnTo>
                  <a:lnTo>
                    <a:pt x="18" y="174"/>
                  </a:lnTo>
                  <a:lnTo>
                    <a:pt x="18" y="188"/>
                  </a:lnTo>
                  <a:lnTo>
                    <a:pt x="20" y="204"/>
                  </a:lnTo>
                  <a:lnTo>
                    <a:pt x="24" y="218"/>
                  </a:lnTo>
                  <a:lnTo>
                    <a:pt x="30" y="232"/>
                  </a:lnTo>
                  <a:lnTo>
                    <a:pt x="36" y="246"/>
                  </a:lnTo>
                  <a:lnTo>
                    <a:pt x="44" y="260"/>
                  </a:lnTo>
                  <a:lnTo>
                    <a:pt x="52" y="272"/>
                  </a:lnTo>
                  <a:lnTo>
                    <a:pt x="64" y="284"/>
                  </a:lnTo>
                  <a:lnTo>
                    <a:pt x="64" y="284"/>
                  </a:lnTo>
                  <a:lnTo>
                    <a:pt x="76" y="294"/>
                  </a:lnTo>
                  <a:lnTo>
                    <a:pt x="88" y="304"/>
                  </a:lnTo>
                  <a:lnTo>
                    <a:pt x="102" y="312"/>
                  </a:lnTo>
                  <a:lnTo>
                    <a:pt x="114" y="318"/>
                  </a:lnTo>
                  <a:lnTo>
                    <a:pt x="130" y="322"/>
                  </a:lnTo>
                  <a:lnTo>
                    <a:pt x="144" y="326"/>
                  </a:lnTo>
                  <a:lnTo>
                    <a:pt x="158" y="328"/>
                  </a:lnTo>
                  <a:lnTo>
                    <a:pt x="174" y="330"/>
                  </a:lnTo>
                  <a:lnTo>
                    <a:pt x="188" y="328"/>
                  </a:lnTo>
                  <a:lnTo>
                    <a:pt x="204" y="326"/>
                  </a:lnTo>
                  <a:lnTo>
                    <a:pt x="218" y="322"/>
                  </a:lnTo>
                  <a:lnTo>
                    <a:pt x="232" y="318"/>
                  </a:lnTo>
                  <a:lnTo>
                    <a:pt x="246" y="312"/>
                  </a:lnTo>
                  <a:lnTo>
                    <a:pt x="260" y="304"/>
                  </a:lnTo>
                  <a:lnTo>
                    <a:pt x="272" y="294"/>
                  </a:lnTo>
                  <a:lnTo>
                    <a:pt x="284" y="284"/>
                  </a:lnTo>
                  <a:lnTo>
                    <a:pt x="284" y="284"/>
                  </a:lnTo>
                  <a:lnTo>
                    <a:pt x="302" y="264"/>
                  </a:lnTo>
                  <a:lnTo>
                    <a:pt x="314" y="240"/>
                  </a:lnTo>
                  <a:lnTo>
                    <a:pt x="324" y="216"/>
                  </a:lnTo>
                  <a:lnTo>
                    <a:pt x="328" y="190"/>
                  </a:lnTo>
                  <a:lnTo>
                    <a:pt x="330" y="164"/>
                  </a:lnTo>
                  <a:lnTo>
                    <a:pt x="326" y="138"/>
                  </a:lnTo>
                  <a:lnTo>
                    <a:pt x="318" y="112"/>
                  </a:lnTo>
                  <a:lnTo>
                    <a:pt x="304" y="90"/>
                  </a:lnTo>
                  <a:lnTo>
                    <a:pt x="300" y="82"/>
                  </a:lnTo>
                  <a:lnTo>
                    <a:pt x="314" y="72"/>
                  </a:lnTo>
                  <a:lnTo>
                    <a:pt x="320" y="80"/>
                  </a:lnTo>
                  <a:lnTo>
                    <a:pt x="320" y="80"/>
                  </a:lnTo>
                  <a:lnTo>
                    <a:pt x="328" y="92"/>
                  </a:lnTo>
                  <a:lnTo>
                    <a:pt x="334" y="106"/>
                  </a:lnTo>
                  <a:lnTo>
                    <a:pt x="338" y="120"/>
                  </a:lnTo>
                  <a:lnTo>
                    <a:pt x="342" y="134"/>
                  </a:lnTo>
                  <a:lnTo>
                    <a:pt x="346" y="148"/>
                  </a:lnTo>
                  <a:lnTo>
                    <a:pt x="346" y="162"/>
                  </a:lnTo>
                  <a:lnTo>
                    <a:pt x="348" y="178"/>
                  </a:lnTo>
                  <a:lnTo>
                    <a:pt x="346" y="192"/>
                  </a:lnTo>
                  <a:lnTo>
                    <a:pt x="344" y="206"/>
                  </a:lnTo>
                  <a:lnTo>
                    <a:pt x="340" y="220"/>
                  </a:lnTo>
                  <a:lnTo>
                    <a:pt x="336" y="234"/>
                  </a:lnTo>
                  <a:lnTo>
                    <a:pt x="330" y="248"/>
                  </a:lnTo>
                  <a:lnTo>
                    <a:pt x="324" y="260"/>
                  </a:lnTo>
                  <a:lnTo>
                    <a:pt x="316" y="274"/>
                  </a:lnTo>
                  <a:lnTo>
                    <a:pt x="306" y="286"/>
                  </a:lnTo>
                  <a:lnTo>
                    <a:pt x="296" y="296"/>
                  </a:lnTo>
                  <a:lnTo>
                    <a:pt x="296" y="296"/>
                  </a:lnTo>
                  <a:lnTo>
                    <a:pt x="284" y="308"/>
                  </a:lnTo>
                  <a:lnTo>
                    <a:pt x="270" y="318"/>
                  </a:lnTo>
                  <a:lnTo>
                    <a:pt x="254" y="328"/>
                  </a:lnTo>
                  <a:lnTo>
                    <a:pt x="240" y="334"/>
                  </a:lnTo>
                  <a:lnTo>
                    <a:pt x="224" y="340"/>
                  </a:lnTo>
                  <a:lnTo>
                    <a:pt x="206" y="344"/>
                  </a:lnTo>
                  <a:lnTo>
                    <a:pt x="190" y="346"/>
                  </a:lnTo>
                  <a:lnTo>
                    <a:pt x="174" y="348"/>
                  </a:lnTo>
                  <a:lnTo>
                    <a:pt x="174" y="348"/>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92" name="Freeform 115">
              <a:extLst>
                <a:ext uri="{FF2B5EF4-FFF2-40B4-BE49-F238E27FC236}">
                  <a16:creationId xmlns:a16="http://schemas.microsoft.com/office/drawing/2014/main" id="{0F228F3C-C7D2-8973-F2EE-B16E21A3CBC0}"/>
                </a:ext>
              </a:extLst>
            </p:cNvPr>
            <p:cNvSpPr>
              <a:spLocks/>
            </p:cNvSpPr>
            <p:nvPr/>
          </p:nvSpPr>
          <p:spPr bwMode="auto">
            <a:xfrm>
              <a:off x="3396" y="3269"/>
              <a:ext cx="224" cy="224"/>
            </a:xfrm>
            <a:custGeom>
              <a:avLst/>
              <a:gdLst>
                <a:gd name="T0" fmla="*/ 112 w 224"/>
                <a:gd name="T1" fmla="*/ 224 h 224"/>
                <a:gd name="T2" fmla="*/ 68 w 224"/>
                <a:gd name="T3" fmla="*/ 214 h 224"/>
                <a:gd name="T4" fmla="*/ 32 w 224"/>
                <a:gd name="T5" fmla="*/ 190 h 224"/>
                <a:gd name="T6" fmla="*/ 18 w 224"/>
                <a:gd name="T7" fmla="*/ 174 h 224"/>
                <a:gd name="T8" fmla="*/ 2 w 224"/>
                <a:gd name="T9" fmla="*/ 134 h 224"/>
                <a:gd name="T10" fmla="*/ 0 w 224"/>
                <a:gd name="T11" fmla="*/ 112 h 224"/>
                <a:gd name="T12" fmla="*/ 8 w 224"/>
                <a:gd name="T13" fmla="*/ 68 h 224"/>
                <a:gd name="T14" fmla="*/ 32 w 224"/>
                <a:gd name="T15" fmla="*/ 32 h 224"/>
                <a:gd name="T16" fmla="*/ 46 w 224"/>
                <a:gd name="T17" fmla="*/ 22 h 224"/>
                <a:gd name="T18" fmla="*/ 74 w 224"/>
                <a:gd name="T19" fmla="*/ 6 h 224"/>
                <a:gd name="T20" fmla="*/ 106 w 224"/>
                <a:gd name="T21" fmla="*/ 0 h 224"/>
                <a:gd name="T22" fmla="*/ 138 w 224"/>
                <a:gd name="T23" fmla="*/ 4 h 224"/>
                <a:gd name="T24" fmla="*/ 164 w 224"/>
                <a:gd name="T25" fmla="*/ 12 h 224"/>
                <a:gd name="T26" fmla="*/ 148 w 224"/>
                <a:gd name="T27" fmla="*/ 26 h 224"/>
                <a:gd name="T28" fmla="*/ 134 w 224"/>
                <a:gd name="T29" fmla="*/ 20 h 224"/>
                <a:gd name="T30" fmla="*/ 108 w 224"/>
                <a:gd name="T31" fmla="*/ 18 h 224"/>
                <a:gd name="T32" fmla="*/ 80 w 224"/>
                <a:gd name="T33" fmla="*/ 22 h 224"/>
                <a:gd name="T34" fmla="*/ 56 w 224"/>
                <a:gd name="T35" fmla="*/ 36 h 224"/>
                <a:gd name="T36" fmla="*/ 46 w 224"/>
                <a:gd name="T37" fmla="*/ 46 h 224"/>
                <a:gd name="T38" fmla="*/ 24 w 224"/>
                <a:gd name="T39" fmla="*/ 76 h 224"/>
                <a:gd name="T40" fmla="*/ 18 w 224"/>
                <a:gd name="T41" fmla="*/ 112 h 224"/>
                <a:gd name="T42" fmla="*/ 20 w 224"/>
                <a:gd name="T43" fmla="*/ 130 h 224"/>
                <a:gd name="T44" fmla="*/ 34 w 224"/>
                <a:gd name="T45" fmla="*/ 164 h 224"/>
                <a:gd name="T46" fmla="*/ 46 w 224"/>
                <a:gd name="T47" fmla="*/ 178 h 224"/>
                <a:gd name="T48" fmla="*/ 76 w 224"/>
                <a:gd name="T49" fmla="*/ 198 h 224"/>
                <a:gd name="T50" fmla="*/ 112 w 224"/>
                <a:gd name="T51" fmla="*/ 206 h 224"/>
                <a:gd name="T52" fmla="*/ 130 w 224"/>
                <a:gd name="T53" fmla="*/ 204 h 224"/>
                <a:gd name="T54" fmla="*/ 164 w 224"/>
                <a:gd name="T55" fmla="*/ 190 h 224"/>
                <a:gd name="T56" fmla="*/ 178 w 224"/>
                <a:gd name="T57" fmla="*/ 178 h 224"/>
                <a:gd name="T58" fmla="*/ 194 w 224"/>
                <a:gd name="T59" fmla="*/ 154 h 224"/>
                <a:gd name="T60" fmla="*/ 204 w 224"/>
                <a:gd name="T61" fmla="*/ 128 h 224"/>
                <a:gd name="T62" fmla="*/ 204 w 224"/>
                <a:gd name="T63" fmla="*/ 100 h 224"/>
                <a:gd name="T64" fmla="*/ 196 w 224"/>
                <a:gd name="T65" fmla="*/ 72 h 224"/>
                <a:gd name="T66" fmla="*/ 208 w 224"/>
                <a:gd name="T67" fmla="*/ 56 h 224"/>
                <a:gd name="T68" fmla="*/ 212 w 224"/>
                <a:gd name="T69" fmla="*/ 64 h 224"/>
                <a:gd name="T70" fmla="*/ 222 w 224"/>
                <a:gd name="T71" fmla="*/ 98 h 224"/>
                <a:gd name="T72" fmla="*/ 222 w 224"/>
                <a:gd name="T73" fmla="*/ 130 h 224"/>
                <a:gd name="T74" fmla="*/ 210 w 224"/>
                <a:gd name="T75" fmla="*/ 162 h 224"/>
                <a:gd name="T76" fmla="*/ 190 w 224"/>
                <a:gd name="T77" fmla="*/ 190 h 224"/>
                <a:gd name="T78" fmla="*/ 174 w 224"/>
                <a:gd name="T79" fmla="*/ 204 h 224"/>
                <a:gd name="T80" fmla="*/ 134 w 224"/>
                <a:gd name="T81" fmla="*/ 220 h 224"/>
                <a:gd name="T82" fmla="*/ 112 w 224"/>
                <a:gd name="T8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4" h="224">
                  <a:moveTo>
                    <a:pt x="112" y="224"/>
                  </a:moveTo>
                  <a:lnTo>
                    <a:pt x="112" y="224"/>
                  </a:lnTo>
                  <a:lnTo>
                    <a:pt x="90" y="220"/>
                  </a:lnTo>
                  <a:lnTo>
                    <a:pt x="68" y="214"/>
                  </a:lnTo>
                  <a:lnTo>
                    <a:pt x="50" y="204"/>
                  </a:lnTo>
                  <a:lnTo>
                    <a:pt x="32" y="190"/>
                  </a:lnTo>
                  <a:lnTo>
                    <a:pt x="32" y="190"/>
                  </a:lnTo>
                  <a:lnTo>
                    <a:pt x="18" y="174"/>
                  </a:lnTo>
                  <a:lnTo>
                    <a:pt x="8" y="154"/>
                  </a:lnTo>
                  <a:lnTo>
                    <a:pt x="2" y="134"/>
                  </a:lnTo>
                  <a:lnTo>
                    <a:pt x="0" y="112"/>
                  </a:lnTo>
                  <a:lnTo>
                    <a:pt x="0" y="112"/>
                  </a:lnTo>
                  <a:lnTo>
                    <a:pt x="2" y="90"/>
                  </a:lnTo>
                  <a:lnTo>
                    <a:pt x="8" y="68"/>
                  </a:lnTo>
                  <a:lnTo>
                    <a:pt x="18" y="50"/>
                  </a:lnTo>
                  <a:lnTo>
                    <a:pt x="32" y="32"/>
                  </a:lnTo>
                  <a:lnTo>
                    <a:pt x="32" y="32"/>
                  </a:lnTo>
                  <a:lnTo>
                    <a:pt x="46" y="22"/>
                  </a:lnTo>
                  <a:lnTo>
                    <a:pt x="60" y="12"/>
                  </a:lnTo>
                  <a:lnTo>
                    <a:pt x="74" y="6"/>
                  </a:lnTo>
                  <a:lnTo>
                    <a:pt x="90" y="2"/>
                  </a:lnTo>
                  <a:lnTo>
                    <a:pt x="106" y="0"/>
                  </a:lnTo>
                  <a:lnTo>
                    <a:pt x="122" y="0"/>
                  </a:lnTo>
                  <a:lnTo>
                    <a:pt x="138" y="4"/>
                  </a:lnTo>
                  <a:lnTo>
                    <a:pt x="154" y="8"/>
                  </a:lnTo>
                  <a:lnTo>
                    <a:pt x="164" y="12"/>
                  </a:lnTo>
                  <a:lnTo>
                    <a:pt x="156" y="28"/>
                  </a:lnTo>
                  <a:lnTo>
                    <a:pt x="148" y="26"/>
                  </a:lnTo>
                  <a:lnTo>
                    <a:pt x="148" y="26"/>
                  </a:lnTo>
                  <a:lnTo>
                    <a:pt x="134" y="20"/>
                  </a:lnTo>
                  <a:lnTo>
                    <a:pt x="120" y="18"/>
                  </a:lnTo>
                  <a:lnTo>
                    <a:pt x="108" y="18"/>
                  </a:lnTo>
                  <a:lnTo>
                    <a:pt x="94" y="20"/>
                  </a:lnTo>
                  <a:lnTo>
                    <a:pt x="80" y="22"/>
                  </a:lnTo>
                  <a:lnTo>
                    <a:pt x="68" y="28"/>
                  </a:lnTo>
                  <a:lnTo>
                    <a:pt x="56" y="36"/>
                  </a:lnTo>
                  <a:lnTo>
                    <a:pt x="46" y="46"/>
                  </a:lnTo>
                  <a:lnTo>
                    <a:pt x="46" y="46"/>
                  </a:lnTo>
                  <a:lnTo>
                    <a:pt x="34" y="60"/>
                  </a:lnTo>
                  <a:lnTo>
                    <a:pt x="24" y="76"/>
                  </a:lnTo>
                  <a:lnTo>
                    <a:pt x="20" y="92"/>
                  </a:lnTo>
                  <a:lnTo>
                    <a:pt x="18" y="112"/>
                  </a:lnTo>
                  <a:lnTo>
                    <a:pt x="18" y="112"/>
                  </a:lnTo>
                  <a:lnTo>
                    <a:pt x="20" y="130"/>
                  </a:lnTo>
                  <a:lnTo>
                    <a:pt x="24" y="148"/>
                  </a:lnTo>
                  <a:lnTo>
                    <a:pt x="34" y="164"/>
                  </a:lnTo>
                  <a:lnTo>
                    <a:pt x="46" y="178"/>
                  </a:lnTo>
                  <a:lnTo>
                    <a:pt x="46" y="178"/>
                  </a:lnTo>
                  <a:lnTo>
                    <a:pt x="60" y="190"/>
                  </a:lnTo>
                  <a:lnTo>
                    <a:pt x="76" y="198"/>
                  </a:lnTo>
                  <a:lnTo>
                    <a:pt x="94" y="204"/>
                  </a:lnTo>
                  <a:lnTo>
                    <a:pt x="112" y="206"/>
                  </a:lnTo>
                  <a:lnTo>
                    <a:pt x="112" y="206"/>
                  </a:lnTo>
                  <a:lnTo>
                    <a:pt x="130" y="204"/>
                  </a:lnTo>
                  <a:lnTo>
                    <a:pt x="148" y="198"/>
                  </a:lnTo>
                  <a:lnTo>
                    <a:pt x="164" y="190"/>
                  </a:lnTo>
                  <a:lnTo>
                    <a:pt x="178" y="178"/>
                  </a:lnTo>
                  <a:lnTo>
                    <a:pt x="178" y="178"/>
                  </a:lnTo>
                  <a:lnTo>
                    <a:pt x="188" y="166"/>
                  </a:lnTo>
                  <a:lnTo>
                    <a:pt x="194" y="154"/>
                  </a:lnTo>
                  <a:lnTo>
                    <a:pt x="200" y="142"/>
                  </a:lnTo>
                  <a:lnTo>
                    <a:pt x="204" y="128"/>
                  </a:lnTo>
                  <a:lnTo>
                    <a:pt x="206" y="114"/>
                  </a:lnTo>
                  <a:lnTo>
                    <a:pt x="204" y="100"/>
                  </a:lnTo>
                  <a:lnTo>
                    <a:pt x="202" y="86"/>
                  </a:lnTo>
                  <a:lnTo>
                    <a:pt x="196" y="72"/>
                  </a:lnTo>
                  <a:lnTo>
                    <a:pt x="192" y="64"/>
                  </a:lnTo>
                  <a:lnTo>
                    <a:pt x="208" y="56"/>
                  </a:lnTo>
                  <a:lnTo>
                    <a:pt x="212" y="64"/>
                  </a:lnTo>
                  <a:lnTo>
                    <a:pt x="212" y="64"/>
                  </a:lnTo>
                  <a:lnTo>
                    <a:pt x="218" y="80"/>
                  </a:lnTo>
                  <a:lnTo>
                    <a:pt x="222" y="98"/>
                  </a:lnTo>
                  <a:lnTo>
                    <a:pt x="224" y="114"/>
                  </a:lnTo>
                  <a:lnTo>
                    <a:pt x="222" y="130"/>
                  </a:lnTo>
                  <a:lnTo>
                    <a:pt x="218" y="148"/>
                  </a:lnTo>
                  <a:lnTo>
                    <a:pt x="210" y="162"/>
                  </a:lnTo>
                  <a:lnTo>
                    <a:pt x="202" y="178"/>
                  </a:lnTo>
                  <a:lnTo>
                    <a:pt x="190" y="190"/>
                  </a:lnTo>
                  <a:lnTo>
                    <a:pt x="190" y="190"/>
                  </a:lnTo>
                  <a:lnTo>
                    <a:pt x="174" y="204"/>
                  </a:lnTo>
                  <a:lnTo>
                    <a:pt x="154" y="214"/>
                  </a:lnTo>
                  <a:lnTo>
                    <a:pt x="134" y="220"/>
                  </a:lnTo>
                  <a:lnTo>
                    <a:pt x="112" y="224"/>
                  </a:lnTo>
                  <a:lnTo>
                    <a:pt x="112" y="224"/>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93" name="Freeform 116">
              <a:extLst>
                <a:ext uri="{FF2B5EF4-FFF2-40B4-BE49-F238E27FC236}">
                  <a16:creationId xmlns:a16="http://schemas.microsoft.com/office/drawing/2014/main" id="{6CCF485F-774F-4CC5-C6B3-C222BF97E5A6}"/>
                </a:ext>
              </a:extLst>
            </p:cNvPr>
            <p:cNvSpPr>
              <a:spLocks/>
            </p:cNvSpPr>
            <p:nvPr/>
          </p:nvSpPr>
          <p:spPr bwMode="auto">
            <a:xfrm>
              <a:off x="3164" y="3605"/>
              <a:ext cx="120" cy="118"/>
            </a:xfrm>
            <a:custGeom>
              <a:avLst/>
              <a:gdLst>
                <a:gd name="T0" fmla="*/ 12 w 120"/>
                <a:gd name="T1" fmla="*/ 118 h 118"/>
                <a:gd name="T2" fmla="*/ 0 w 120"/>
                <a:gd name="T3" fmla="*/ 106 h 118"/>
                <a:gd name="T4" fmla="*/ 106 w 120"/>
                <a:gd name="T5" fmla="*/ 0 h 118"/>
                <a:gd name="T6" fmla="*/ 120 w 120"/>
                <a:gd name="T7" fmla="*/ 12 h 118"/>
                <a:gd name="T8" fmla="*/ 12 w 120"/>
                <a:gd name="T9" fmla="*/ 118 h 118"/>
              </a:gdLst>
              <a:ahLst/>
              <a:cxnLst>
                <a:cxn ang="0">
                  <a:pos x="T0" y="T1"/>
                </a:cxn>
                <a:cxn ang="0">
                  <a:pos x="T2" y="T3"/>
                </a:cxn>
                <a:cxn ang="0">
                  <a:pos x="T4" y="T5"/>
                </a:cxn>
                <a:cxn ang="0">
                  <a:pos x="T6" y="T7"/>
                </a:cxn>
                <a:cxn ang="0">
                  <a:pos x="T8" y="T9"/>
                </a:cxn>
              </a:cxnLst>
              <a:rect l="0" t="0" r="r" b="b"/>
              <a:pathLst>
                <a:path w="120" h="118">
                  <a:moveTo>
                    <a:pt x="12" y="118"/>
                  </a:moveTo>
                  <a:lnTo>
                    <a:pt x="0" y="106"/>
                  </a:lnTo>
                  <a:lnTo>
                    <a:pt x="106" y="0"/>
                  </a:lnTo>
                  <a:lnTo>
                    <a:pt x="120" y="12"/>
                  </a:lnTo>
                  <a:lnTo>
                    <a:pt x="12" y="118"/>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194" name="Freeform 117">
              <a:extLst>
                <a:ext uri="{FF2B5EF4-FFF2-40B4-BE49-F238E27FC236}">
                  <a16:creationId xmlns:a16="http://schemas.microsoft.com/office/drawing/2014/main" id="{86D4A774-7F8F-3F73-A870-44E013E9E41C}"/>
                </a:ext>
              </a:extLst>
            </p:cNvPr>
            <p:cNvSpPr>
              <a:spLocks/>
            </p:cNvSpPr>
            <p:nvPr/>
          </p:nvSpPr>
          <p:spPr bwMode="auto">
            <a:xfrm>
              <a:off x="3734" y="3601"/>
              <a:ext cx="120" cy="120"/>
            </a:xfrm>
            <a:custGeom>
              <a:avLst/>
              <a:gdLst>
                <a:gd name="T0" fmla="*/ 106 w 120"/>
                <a:gd name="T1" fmla="*/ 120 h 120"/>
                <a:gd name="T2" fmla="*/ 0 w 120"/>
                <a:gd name="T3" fmla="*/ 14 h 120"/>
                <a:gd name="T4" fmla="*/ 12 w 120"/>
                <a:gd name="T5" fmla="*/ 0 h 120"/>
                <a:gd name="T6" fmla="*/ 120 w 120"/>
                <a:gd name="T7" fmla="*/ 108 h 120"/>
                <a:gd name="T8" fmla="*/ 106 w 120"/>
                <a:gd name="T9" fmla="*/ 120 h 120"/>
              </a:gdLst>
              <a:ahLst/>
              <a:cxnLst>
                <a:cxn ang="0">
                  <a:pos x="T0" y="T1"/>
                </a:cxn>
                <a:cxn ang="0">
                  <a:pos x="T2" y="T3"/>
                </a:cxn>
                <a:cxn ang="0">
                  <a:pos x="T4" y="T5"/>
                </a:cxn>
                <a:cxn ang="0">
                  <a:pos x="T6" y="T7"/>
                </a:cxn>
                <a:cxn ang="0">
                  <a:pos x="T8" y="T9"/>
                </a:cxn>
              </a:cxnLst>
              <a:rect l="0" t="0" r="r" b="b"/>
              <a:pathLst>
                <a:path w="120" h="120">
                  <a:moveTo>
                    <a:pt x="106" y="120"/>
                  </a:moveTo>
                  <a:lnTo>
                    <a:pt x="0" y="14"/>
                  </a:lnTo>
                  <a:lnTo>
                    <a:pt x="12" y="0"/>
                  </a:lnTo>
                  <a:lnTo>
                    <a:pt x="120" y="108"/>
                  </a:lnTo>
                  <a:lnTo>
                    <a:pt x="106" y="120"/>
                  </a:lnTo>
                  <a:close/>
                </a:path>
              </a:pathLst>
            </a:custGeom>
            <a:grpFill/>
            <a:ln w="9525">
              <a:solidFill>
                <a:srgbClr val="2C2C2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grpSp>
    </p:spTree>
    <p:extLst>
      <p:ext uri="{BB962C8B-B14F-4D97-AF65-F5344CB8AC3E}">
        <p14:creationId xmlns:p14="http://schemas.microsoft.com/office/powerpoint/2010/main" val="24279028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F09EF4-86D6-9E03-B2A5-F97B5B5F14FD}"/>
              </a:ext>
            </a:extLst>
          </p:cNvPr>
          <p:cNvSpPr txBox="1"/>
          <p:nvPr/>
        </p:nvSpPr>
        <p:spPr>
          <a:xfrm>
            <a:off x="609599" y="147456"/>
            <a:ext cx="10972802" cy="50783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3600" b="0" i="0" u="none" strike="noStrike" kern="1200" cap="none" spc="0" normalizeH="0" baseline="0" noProof="0" dirty="0">
                <a:ln>
                  <a:noFill/>
                </a:ln>
                <a:solidFill>
                  <a:prstClr val="white"/>
                </a:solidFill>
                <a:effectLst/>
                <a:uLnTx/>
                <a:uFillTx/>
                <a:latin typeface="EYInterstate Light"/>
                <a:ea typeface="+mn-ea"/>
                <a:cs typeface="+mn-cs"/>
              </a:rPr>
              <a:t>BIA risk framework – impact parameters and scales</a:t>
            </a:r>
          </a:p>
        </p:txBody>
      </p:sp>
      <p:sp>
        <p:nvSpPr>
          <p:cNvPr id="2317" name="Rectangle 2316">
            <a:extLst>
              <a:ext uri="{FF2B5EF4-FFF2-40B4-BE49-F238E27FC236}">
                <a16:creationId xmlns:a16="http://schemas.microsoft.com/office/drawing/2014/main" id="{947F1378-BB45-BBE8-9D4F-E7762449AD7C}"/>
              </a:ext>
            </a:extLst>
          </p:cNvPr>
          <p:cNvSpPr/>
          <p:nvPr/>
        </p:nvSpPr>
        <p:spPr>
          <a:xfrm>
            <a:off x="137826" y="966291"/>
            <a:ext cx="5645901" cy="432048"/>
          </a:xfrm>
          <a:prstGeom prst="rect">
            <a:avLst/>
          </a:prstGeom>
          <a:solidFill>
            <a:sysClr val="window" lastClr="FFFFFF"/>
          </a:solidFill>
          <a:ln w="25400" cap="flat" cmpd="sng" algn="ctr">
            <a:solidFill>
              <a:srgbClr val="2C2C2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t>The risk framework considers impacts on the following parameters in case of loss of CIAP  </a:t>
            </a:r>
          </a:p>
        </p:txBody>
      </p:sp>
      <p:grpSp>
        <p:nvGrpSpPr>
          <p:cNvPr id="2318" name="Group 2317">
            <a:extLst>
              <a:ext uri="{FF2B5EF4-FFF2-40B4-BE49-F238E27FC236}">
                <a16:creationId xmlns:a16="http://schemas.microsoft.com/office/drawing/2014/main" id="{0B119652-B663-812C-3588-647485E66A61}"/>
              </a:ext>
            </a:extLst>
          </p:cNvPr>
          <p:cNvGrpSpPr/>
          <p:nvPr/>
        </p:nvGrpSpPr>
        <p:grpSpPr>
          <a:xfrm>
            <a:off x="251827" y="1590327"/>
            <a:ext cx="5531903" cy="4049256"/>
            <a:chOff x="246796" y="1275606"/>
            <a:chExt cx="4910713" cy="3096344"/>
          </a:xfrm>
        </p:grpSpPr>
        <p:grpSp>
          <p:nvGrpSpPr>
            <p:cNvPr id="2319" name="Group 2318">
              <a:extLst>
                <a:ext uri="{FF2B5EF4-FFF2-40B4-BE49-F238E27FC236}">
                  <a16:creationId xmlns:a16="http://schemas.microsoft.com/office/drawing/2014/main" id="{F20488DD-6CBE-CE7B-1D77-C2FA2057A422}"/>
                </a:ext>
              </a:extLst>
            </p:cNvPr>
            <p:cNvGrpSpPr/>
            <p:nvPr/>
          </p:nvGrpSpPr>
          <p:grpSpPr>
            <a:xfrm>
              <a:off x="3491882" y="2469342"/>
              <a:ext cx="1665627" cy="881510"/>
              <a:chOff x="5235550" y="1377073"/>
              <a:chExt cx="1730454" cy="1298638"/>
            </a:xfrm>
          </p:grpSpPr>
          <p:sp>
            <p:nvSpPr>
              <p:cNvPr id="2346" name="TextBox 2345">
                <a:extLst>
                  <a:ext uri="{FF2B5EF4-FFF2-40B4-BE49-F238E27FC236}">
                    <a16:creationId xmlns:a16="http://schemas.microsoft.com/office/drawing/2014/main" id="{984CE728-244F-67C6-83E6-BBA6143A0361}"/>
                  </a:ext>
                </a:extLst>
              </p:cNvPr>
              <p:cNvSpPr txBox="1"/>
              <p:nvPr/>
            </p:nvSpPr>
            <p:spPr>
              <a:xfrm>
                <a:off x="5235550" y="1377073"/>
                <a:ext cx="1488337" cy="13868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chemeClr val="bg1"/>
                    </a:solidFill>
                    <a:effectLst/>
                    <a:uLnTx/>
                    <a:uFillTx/>
                    <a:latin typeface="EYInterstate Light" panose="02000506000000020004" pitchFamily="2" charset="0"/>
                    <a:cs typeface="Arial" panose="020B0604020202020204" pitchFamily="34" charset="0"/>
                  </a:rPr>
                  <a:t>Reputational / compliance</a:t>
                </a:r>
              </a:p>
            </p:txBody>
          </p:sp>
          <p:sp>
            <p:nvSpPr>
              <p:cNvPr id="2347" name="TextBox 2346">
                <a:extLst>
                  <a:ext uri="{FF2B5EF4-FFF2-40B4-BE49-F238E27FC236}">
                    <a16:creationId xmlns:a16="http://schemas.microsoft.com/office/drawing/2014/main" id="{4119E445-840D-38AC-5C2A-64146E930133}"/>
                  </a:ext>
                </a:extLst>
              </p:cNvPr>
              <p:cNvSpPr txBox="1"/>
              <p:nvPr/>
            </p:nvSpPr>
            <p:spPr>
              <a:xfrm>
                <a:off x="5291963" y="1843599"/>
                <a:ext cx="1674041" cy="832112"/>
              </a:xfrm>
              <a:prstGeom prst="rect">
                <a:avLst/>
              </a:prstGeom>
              <a:noFill/>
            </p:spPr>
            <p:txBody>
              <a:bodyPr wrap="square" lIns="0" tIns="0" rIns="0" bIns="0"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Loss of confidence by suppliers, stakeholders (e.g. compliance auditor, Quality Control department) or regulator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Damage to public Imag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Penalties or legal liabilities</a:t>
                </a:r>
              </a:p>
            </p:txBody>
          </p:sp>
        </p:grpSp>
        <p:grpSp>
          <p:nvGrpSpPr>
            <p:cNvPr id="2320" name="Group 2319">
              <a:extLst>
                <a:ext uri="{FF2B5EF4-FFF2-40B4-BE49-F238E27FC236}">
                  <a16:creationId xmlns:a16="http://schemas.microsoft.com/office/drawing/2014/main" id="{871FE936-FE18-8EE6-BF1F-CCB2337F04FE}"/>
                </a:ext>
              </a:extLst>
            </p:cNvPr>
            <p:cNvGrpSpPr/>
            <p:nvPr/>
          </p:nvGrpSpPr>
          <p:grpSpPr>
            <a:xfrm>
              <a:off x="3009073" y="3829859"/>
              <a:ext cx="1944216" cy="458573"/>
              <a:chOff x="5184713" y="1377073"/>
              <a:chExt cx="1947232" cy="675569"/>
            </a:xfrm>
          </p:grpSpPr>
          <p:sp>
            <p:nvSpPr>
              <p:cNvPr id="2344" name="TextBox 2343">
                <a:extLst>
                  <a:ext uri="{FF2B5EF4-FFF2-40B4-BE49-F238E27FC236}">
                    <a16:creationId xmlns:a16="http://schemas.microsoft.com/office/drawing/2014/main" id="{0DEA9AEA-4C9E-CDAD-5294-6DE0D13259FD}"/>
                  </a:ext>
                </a:extLst>
              </p:cNvPr>
              <p:cNvSpPr txBox="1"/>
              <p:nvPr/>
            </p:nvSpPr>
            <p:spPr>
              <a:xfrm>
                <a:off x="5184713" y="1377073"/>
                <a:ext cx="1125307" cy="13868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chemeClr val="bg1"/>
                    </a:solidFill>
                    <a:effectLst/>
                    <a:uLnTx/>
                    <a:uFillTx/>
                    <a:latin typeface="EYInterstate Light" panose="02000506000000020004" pitchFamily="2" charset="0"/>
                    <a:cs typeface="Arial" panose="020B0604020202020204" pitchFamily="34" charset="0"/>
                  </a:rPr>
                  <a:t>Customer</a:t>
                </a:r>
              </a:p>
            </p:txBody>
          </p:sp>
          <p:sp>
            <p:nvSpPr>
              <p:cNvPr id="2345" name="TextBox 2344">
                <a:extLst>
                  <a:ext uri="{FF2B5EF4-FFF2-40B4-BE49-F238E27FC236}">
                    <a16:creationId xmlns:a16="http://schemas.microsoft.com/office/drawing/2014/main" id="{8A377962-2D1D-39C1-D130-7921ED28895D}"/>
                  </a:ext>
                </a:extLst>
              </p:cNvPr>
              <p:cNvSpPr txBox="1"/>
              <p:nvPr/>
            </p:nvSpPr>
            <p:spPr>
              <a:xfrm>
                <a:off x="5184715" y="1636586"/>
                <a:ext cx="1947230" cy="416056"/>
              </a:xfrm>
              <a:prstGeom prst="rect">
                <a:avLst/>
              </a:prstGeom>
              <a:noFill/>
            </p:spPr>
            <p:txBody>
              <a:bodyPr wrap="square" lIns="0" tIns="0" rIns="0" bIns="0"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Delay of service delivery or decreased service quality</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Loss of sales, orders or contracts (revenue)</a:t>
                </a:r>
              </a:p>
            </p:txBody>
          </p:sp>
        </p:grpSp>
        <p:grpSp>
          <p:nvGrpSpPr>
            <p:cNvPr id="2321" name="Group 2320">
              <a:extLst>
                <a:ext uri="{FF2B5EF4-FFF2-40B4-BE49-F238E27FC236}">
                  <a16:creationId xmlns:a16="http://schemas.microsoft.com/office/drawing/2014/main" id="{0AE2F5ED-4415-F90B-7BEB-88BD7392B9EC}"/>
                </a:ext>
              </a:extLst>
            </p:cNvPr>
            <p:cNvGrpSpPr/>
            <p:nvPr/>
          </p:nvGrpSpPr>
          <p:grpSpPr>
            <a:xfrm>
              <a:off x="246796" y="1275606"/>
              <a:ext cx="4146117" cy="3096344"/>
              <a:chOff x="246796" y="1275606"/>
              <a:chExt cx="4146117" cy="3096344"/>
            </a:xfrm>
          </p:grpSpPr>
          <p:grpSp>
            <p:nvGrpSpPr>
              <p:cNvPr id="2322" name="Group 2321">
                <a:extLst>
                  <a:ext uri="{FF2B5EF4-FFF2-40B4-BE49-F238E27FC236}">
                    <a16:creationId xmlns:a16="http://schemas.microsoft.com/office/drawing/2014/main" id="{25ECF3F5-B0F4-1D70-E058-2C6461147A21}"/>
                  </a:ext>
                </a:extLst>
              </p:cNvPr>
              <p:cNvGrpSpPr/>
              <p:nvPr/>
            </p:nvGrpSpPr>
            <p:grpSpPr>
              <a:xfrm>
                <a:off x="755576" y="1779662"/>
                <a:ext cx="2736304" cy="2592288"/>
                <a:chOff x="1429601" y="1194830"/>
                <a:chExt cx="2900209" cy="2916648"/>
              </a:xfrm>
            </p:grpSpPr>
            <p:grpSp>
              <p:nvGrpSpPr>
                <p:cNvPr id="2332" name="Group 2331">
                  <a:extLst>
                    <a:ext uri="{FF2B5EF4-FFF2-40B4-BE49-F238E27FC236}">
                      <a16:creationId xmlns:a16="http://schemas.microsoft.com/office/drawing/2014/main" id="{809EA116-A49C-F3CD-1594-27D285FEEE51}"/>
                    </a:ext>
                  </a:extLst>
                </p:cNvPr>
                <p:cNvGrpSpPr/>
                <p:nvPr/>
              </p:nvGrpSpPr>
              <p:grpSpPr>
                <a:xfrm>
                  <a:off x="1429601" y="1194830"/>
                  <a:ext cx="2900209" cy="2916648"/>
                  <a:chOff x="2041717" y="1387556"/>
                  <a:chExt cx="5060567" cy="4919960"/>
                </a:xfrm>
              </p:grpSpPr>
              <p:sp>
                <p:nvSpPr>
                  <p:cNvPr id="2338" name="Freeform 6">
                    <a:extLst>
                      <a:ext uri="{FF2B5EF4-FFF2-40B4-BE49-F238E27FC236}">
                        <a16:creationId xmlns:a16="http://schemas.microsoft.com/office/drawing/2014/main" id="{3E1E6837-BFC8-B258-23DF-C0F2956F3E11}"/>
                      </a:ext>
                    </a:extLst>
                  </p:cNvPr>
                  <p:cNvSpPr>
                    <a:spLocks/>
                  </p:cNvSpPr>
                  <p:nvPr/>
                </p:nvSpPr>
                <p:spPr bwMode="auto">
                  <a:xfrm>
                    <a:off x="3181770" y="1387556"/>
                    <a:ext cx="1846885" cy="2791862"/>
                  </a:xfrm>
                  <a:custGeom>
                    <a:avLst/>
                    <a:gdLst>
                      <a:gd name="T0" fmla="*/ 0 w 617"/>
                      <a:gd name="T1" fmla="*/ 679 h 933"/>
                      <a:gd name="T2" fmla="*/ 36 w 617"/>
                      <a:gd name="T3" fmla="*/ 845 h 933"/>
                      <a:gd name="T4" fmla="*/ 80 w 617"/>
                      <a:gd name="T5" fmla="*/ 925 h 933"/>
                      <a:gd name="T6" fmla="*/ 86 w 617"/>
                      <a:gd name="T7" fmla="*/ 933 h 933"/>
                      <a:gd name="T8" fmla="*/ 80 w 617"/>
                      <a:gd name="T9" fmla="*/ 924 h 933"/>
                      <a:gd name="T10" fmla="*/ 43 w 617"/>
                      <a:gd name="T11" fmla="*/ 845 h 933"/>
                      <a:gd name="T12" fmla="*/ 17 w 617"/>
                      <a:gd name="T13" fmla="*/ 697 h 933"/>
                      <a:gd name="T14" fmla="*/ 18 w 617"/>
                      <a:gd name="T15" fmla="*/ 659 h 933"/>
                      <a:gd name="T16" fmla="*/ 19 w 617"/>
                      <a:gd name="T17" fmla="*/ 656 h 933"/>
                      <a:gd name="T18" fmla="*/ 164 w 617"/>
                      <a:gd name="T19" fmla="*/ 368 h 933"/>
                      <a:gd name="T20" fmla="*/ 208 w 617"/>
                      <a:gd name="T21" fmla="*/ 334 h 933"/>
                      <a:gd name="T22" fmla="*/ 339 w 617"/>
                      <a:gd name="T23" fmla="*/ 272 h 933"/>
                      <a:gd name="T24" fmla="*/ 457 w 617"/>
                      <a:gd name="T25" fmla="*/ 254 h 933"/>
                      <a:gd name="T26" fmla="*/ 465 w 617"/>
                      <a:gd name="T27" fmla="*/ 254 h 933"/>
                      <a:gd name="T28" fmla="*/ 577 w 617"/>
                      <a:gd name="T29" fmla="*/ 268 h 933"/>
                      <a:gd name="T30" fmla="*/ 601 w 617"/>
                      <a:gd name="T31" fmla="*/ 232 h 933"/>
                      <a:gd name="T32" fmla="*/ 616 w 617"/>
                      <a:gd name="T33" fmla="*/ 180 h 933"/>
                      <a:gd name="T34" fmla="*/ 617 w 617"/>
                      <a:gd name="T35" fmla="*/ 161 h 933"/>
                      <a:gd name="T36" fmla="*/ 457 w 617"/>
                      <a:gd name="T37" fmla="*/ 0 h 933"/>
                      <a:gd name="T38" fmla="*/ 457 w 617"/>
                      <a:gd name="T39" fmla="*/ 0 h 933"/>
                      <a:gd name="T40" fmla="*/ 296 w 617"/>
                      <a:gd name="T41" fmla="*/ 161 h 933"/>
                      <a:gd name="T42" fmla="*/ 297 w 617"/>
                      <a:gd name="T43" fmla="*/ 180 h 933"/>
                      <a:gd name="T44" fmla="*/ 312 w 617"/>
                      <a:gd name="T45" fmla="*/ 232 h 933"/>
                      <a:gd name="T46" fmla="*/ 117 w 617"/>
                      <a:gd name="T47" fmla="*/ 360 h 933"/>
                      <a:gd name="T48" fmla="*/ 74 w 617"/>
                      <a:gd name="T49" fmla="*/ 416 h 933"/>
                      <a:gd name="T50" fmla="*/ 0 w 617"/>
                      <a:gd name="T51" fmla="*/ 666 h 933"/>
                      <a:gd name="T52" fmla="*/ 0 w 617"/>
                      <a:gd name="T53" fmla="*/ 679 h 933"/>
                      <a:gd name="T54" fmla="*/ 0 w 617"/>
                      <a:gd name="T55" fmla="*/ 679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7" h="933">
                        <a:moveTo>
                          <a:pt x="0" y="679"/>
                        </a:moveTo>
                        <a:cubicBezTo>
                          <a:pt x="2" y="738"/>
                          <a:pt x="14" y="794"/>
                          <a:pt x="36" y="845"/>
                        </a:cubicBezTo>
                        <a:cubicBezTo>
                          <a:pt x="48" y="873"/>
                          <a:pt x="63" y="900"/>
                          <a:pt x="80" y="925"/>
                        </a:cubicBezTo>
                        <a:cubicBezTo>
                          <a:pt x="82" y="927"/>
                          <a:pt x="84" y="930"/>
                          <a:pt x="86" y="933"/>
                        </a:cubicBezTo>
                        <a:cubicBezTo>
                          <a:pt x="84" y="930"/>
                          <a:pt x="82" y="927"/>
                          <a:pt x="80" y="924"/>
                        </a:cubicBezTo>
                        <a:cubicBezTo>
                          <a:pt x="65" y="899"/>
                          <a:pt x="53" y="873"/>
                          <a:pt x="43" y="845"/>
                        </a:cubicBezTo>
                        <a:cubicBezTo>
                          <a:pt x="26" y="799"/>
                          <a:pt x="17" y="749"/>
                          <a:pt x="17" y="697"/>
                        </a:cubicBezTo>
                        <a:cubicBezTo>
                          <a:pt x="17" y="684"/>
                          <a:pt x="17" y="672"/>
                          <a:pt x="18" y="659"/>
                        </a:cubicBezTo>
                        <a:cubicBezTo>
                          <a:pt x="19" y="656"/>
                          <a:pt x="19" y="656"/>
                          <a:pt x="19" y="656"/>
                        </a:cubicBezTo>
                        <a:cubicBezTo>
                          <a:pt x="29" y="543"/>
                          <a:pt x="83" y="441"/>
                          <a:pt x="164" y="368"/>
                        </a:cubicBezTo>
                        <a:cubicBezTo>
                          <a:pt x="178" y="356"/>
                          <a:pt x="193" y="345"/>
                          <a:pt x="208" y="334"/>
                        </a:cubicBezTo>
                        <a:cubicBezTo>
                          <a:pt x="248" y="307"/>
                          <a:pt x="292" y="285"/>
                          <a:pt x="339" y="272"/>
                        </a:cubicBezTo>
                        <a:cubicBezTo>
                          <a:pt x="377" y="261"/>
                          <a:pt x="416" y="255"/>
                          <a:pt x="457" y="254"/>
                        </a:cubicBezTo>
                        <a:cubicBezTo>
                          <a:pt x="459" y="254"/>
                          <a:pt x="462" y="254"/>
                          <a:pt x="465" y="254"/>
                        </a:cubicBezTo>
                        <a:cubicBezTo>
                          <a:pt x="504" y="254"/>
                          <a:pt x="541" y="259"/>
                          <a:pt x="577" y="268"/>
                        </a:cubicBezTo>
                        <a:cubicBezTo>
                          <a:pt x="587" y="257"/>
                          <a:pt x="595" y="245"/>
                          <a:pt x="601" y="232"/>
                        </a:cubicBezTo>
                        <a:cubicBezTo>
                          <a:pt x="609" y="216"/>
                          <a:pt x="614" y="199"/>
                          <a:pt x="616" y="180"/>
                        </a:cubicBezTo>
                        <a:cubicBezTo>
                          <a:pt x="617" y="174"/>
                          <a:pt x="617" y="168"/>
                          <a:pt x="617" y="161"/>
                        </a:cubicBezTo>
                        <a:cubicBezTo>
                          <a:pt x="617" y="73"/>
                          <a:pt x="545" y="0"/>
                          <a:pt x="457" y="0"/>
                        </a:cubicBezTo>
                        <a:cubicBezTo>
                          <a:pt x="457" y="0"/>
                          <a:pt x="457" y="0"/>
                          <a:pt x="457" y="0"/>
                        </a:cubicBezTo>
                        <a:cubicBezTo>
                          <a:pt x="368" y="0"/>
                          <a:pt x="296" y="73"/>
                          <a:pt x="296" y="161"/>
                        </a:cubicBezTo>
                        <a:cubicBezTo>
                          <a:pt x="296" y="168"/>
                          <a:pt x="296" y="174"/>
                          <a:pt x="297" y="180"/>
                        </a:cubicBezTo>
                        <a:cubicBezTo>
                          <a:pt x="299" y="199"/>
                          <a:pt x="304" y="216"/>
                          <a:pt x="312" y="232"/>
                        </a:cubicBezTo>
                        <a:cubicBezTo>
                          <a:pt x="236" y="257"/>
                          <a:pt x="169" y="302"/>
                          <a:pt x="117" y="360"/>
                        </a:cubicBezTo>
                        <a:cubicBezTo>
                          <a:pt x="101" y="378"/>
                          <a:pt x="87" y="396"/>
                          <a:pt x="74" y="416"/>
                        </a:cubicBezTo>
                        <a:cubicBezTo>
                          <a:pt x="27" y="488"/>
                          <a:pt x="0" y="574"/>
                          <a:pt x="0" y="666"/>
                        </a:cubicBezTo>
                        <a:cubicBezTo>
                          <a:pt x="0" y="670"/>
                          <a:pt x="0" y="675"/>
                          <a:pt x="0" y="679"/>
                        </a:cubicBezTo>
                        <a:cubicBezTo>
                          <a:pt x="0" y="679"/>
                          <a:pt x="0" y="679"/>
                          <a:pt x="0" y="679"/>
                        </a:cubicBezTo>
                        <a:close/>
                      </a:path>
                    </a:pathLst>
                  </a:custGeom>
                  <a:solidFill>
                    <a:srgbClr val="1499D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339" name="Freeform 7">
                    <a:extLst>
                      <a:ext uri="{FF2B5EF4-FFF2-40B4-BE49-F238E27FC236}">
                        <a16:creationId xmlns:a16="http://schemas.microsoft.com/office/drawing/2014/main" id="{C9089B36-9D47-A7E3-2F4D-87CCD451C812}"/>
                      </a:ext>
                    </a:extLst>
                  </p:cNvPr>
                  <p:cNvSpPr>
                    <a:spLocks/>
                  </p:cNvSpPr>
                  <p:nvPr/>
                </p:nvSpPr>
                <p:spPr bwMode="auto">
                  <a:xfrm>
                    <a:off x="2041717" y="2680883"/>
                    <a:ext cx="2330774" cy="2432112"/>
                  </a:xfrm>
                  <a:custGeom>
                    <a:avLst/>
                    <a:gdLst>
                      <a:gd name="T0" fmla="*/ 512 w 779"/>
                      <a:gd name="T1" fmla="*/ 788 h 813"/>
                      <a:gd name="T2" fmla="*/ 680 w 779"/>
                      <a:gd name="T3" fmla="*/ 810 h 813"/>
                      <a:gd name="T4" fmla="*/ 770 w 779"/>
                      <a:gd name="T5" fmla="*/ 796 h 813"/>
                      <a:gd name="T6" fmla="*/ 779 w 779"/>
                      <a:gd name="T7" fmla="*/ 794 h 813"/>
                      <a:gd name="T8" fmla="*/ 769 w 779"/>
                      <a:gd name="T9" fmla="*/ 796 h 813"/>
                      <a:gd name="T10" fmla="*/ 682 w 779"/>
                      <a:gd name="T11" fmla="*/ 804 h 813"/>
                      <a:gd name="T12" fmla="*/ 534 w 779"/>
                      <a:gd name="T13" fmla="*/ 778 h 813"/>
                      <a:gd name="T14" fmla="*/ 499 w 779"/>
                      <a:gd name="T15" fmla="*/ 763 h 813"/>
                      <a:gd name="T16" fmla="*/ 497 w 779"/>
                      <a:gd name="T17" fmla="*/ 762 h 813"/>
                      <a:gd name="T18" fmla="*/ 276 w 779"/>
                      <a:gd name="T19" fmla="*/ 527 h 813"/>
                      <a:gd name="T20" fmla="*/ 258 w 779"/>
                      <a:gd name="T21" fmla="*/ 474 h 813"/>
                      <a:gd name="T22" fmla="*/ 245 w 779"/>
                      <a:gd name="T23" fmla="*/ 329 h 813"/>
                      <a:gd name="T24" fmla="*/ 268 w 779"/>
                      <a:gd name="T25" fmla="*/ 213 h 813"/>
                      <a:gd name="T26" fmla="*/ 271 w 779"/>
                      <a:gd name="T27" fmla="*/ 205 h 813"/>
                      <a:gd name="T28" fmla="*/ 323 w 779"/>
                      <a:gd name="T29" fmla="*/ 104 h 813"/>
                      <a:gd name="T30" fmla="*/ 297 w 779"/>
                      <a:gd name="T31" fmla="*/ 70 h 813"/>
                      <a:gd name="T32" fmla="*/ 254 w 779"/>
                      <a:gd name="T33" fmla="*/ 38 h 813"/>
                      <a:gd name="T34" fmla="*/ 236 w 779"/>
                      <a:gd name="T35" fmla="*/ 30 h 813"/>
                      <a:gd name="T36" fmla="*/ 30 w 779"/>
                      <a:gd name="T37" fmla="*/ 126 h 813"/>
                      <a:gd name="T38" fmla="*/ 30 w 779"/>
                      <a:gd name="T39" fmla="*/ 126 h 813"/>
                      <a:gd name="T40" fmla="*/ 126 w 779"/>
                      <a:gd name="T41" fmla="*/ 332 h 813"/>
                      <a:gd name="T42" fmla="*/ 144 w 779"/>
                      <a:gd name="T43" fmla="*/ 338 h 813"/>
                      <a:gd name="T44" fmla="*/ 198 w 779"/>
                      <a:gd name="T45" fmla="*/ 341 h 813"/>
                      <a:gd name="T46" fmla="*/ 252 w 779"/>
                      <a:gd name="T47" fmla="*/ 569 h 813"/>
                      <a:gd name="T48" fmla="*/ 290 w 779"/>
                      <a:gd name="T49" fmla="*/ 628 h 813"/>
                      <a:gd name="T50" fmla="*/ 499 w 779"/>
                      <a:gd name="T51" fmla="*/ 783 h 813"/>
                      <a:gd name="T52" fmla="*/ 512 w 779"/>
                      <a:gd name="T53" fmla="*/ 788 h 813"/>
                      <a:gd name="T54" fmla="*/ 512 w 779"/>
                      <a:gd name="T55" fmla="*/ 788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79" h="813">
                        <a:moveTo>
                          <a:pt x="512" y="788"/>
                        </a:moveTo>
                        <a:cubicBezTo>
                          <a:pt x="568" y="806"/>
                          <a:pt x="625" y="813"/>
                          <a:pt x="680" y="810"/>
                        </a:cubicBezTo>
                        <a:cubicBezTo>
                          <a:pt x="711" y="808"/>
                          <a:pt x="741" y="804"/>
                          <a:pt x="770" y="796"/>
                        </a:cubicBezTo>
                        <a:cubicBezTo>
                          <a:pt x="773" y="795"/>
                          <a:pt x="776" y="794"/>
                          <a:pt x="779" y="794"/>
                        </a:cubicBezTo>
                        <a:cubicBezTo>
                          <a:pt x="776" y="794"/>
                          <a:pt x="773" y="795"/>
                          <a:pt x="769" y="796"/>
                        </a:cubicBezTo>
                        <a:cubicBezTo>
                          <a:pt x="741" y="801"/>
                          <a:pt x="712" y="804"/>
                          <a:pt x="682" y="804"/>
                        </a:cubicBezTo>
                        <a:cubicBezTo>
                          <a:pt x="633" y="804"/>
                          <a:pt x="583" y="795"/>
                          <a:pt x="534" y="778"/>
                        </a:cubicBezTo>
                        <a:cubicBezTo>
                          <a:pt x="522" y="773"/>
                          <a:pt x="511" y="768"/>
                          <a:pt x="499" y="763"/>
                        </a:cubicBezTo>
                        <a:cubicBezTo>
                          <a:pt x="497" y="762"/>
                          <a:pt x="497" y="762"/>
                          <a:pt x="497" y="762"/>
                        </a:cubicBezTo>
                        <a:cubicBezTo>
                          <a:pt x="393" y="713"/>
                          <a:pt x="316" y="628"/>
                          <a:pt x="276" y="527"/>
                        </a:cubicBezTo>
                        <a:cubicBezTo>
                          <a:pt x="269" y="509"/>
                          <a:pt x="263" y="492"/>
                          <a:pt x="258" y="474"/>
                        </a:cubicBezTo>
                        <a:cubicBezTo>
                          <a:pt x="246" y="427"/>
                          <a:pt x="241" y="378"/>
                          <a:pt x="245" y="329"/>
                        </a:cubicBezTo>
                        <a:cubicBezTo>
                          <a:pt x="247" y="290"/>
                          <a:pt x="255" y="251"/>
                          <a:pt x="268" y="213"/>
                        </a:cubicBezTo>
                        <a:cubicBezTo>
                          <a:pt x="269" y="210"/>
                          <a:pt x="270" y="207"/>
                          <a:pt x="271" y="205"/>
                        </a:cubicBezTo>
                        <a:cubicBezTo>
                          <a:pt x="284" y="168"/>
                          <a:pt x="302" y="135"/>
                          <a:pt x="323" y="104"/>
                        </a:cubicBezTo>
                        <a:cubicBezTo>
                          <a:pt x="316" y="92"/>
                          <a:pt x="307" y="80"/>
                          <a:pt x="297" y="70"/>
                        </a:cubicBezTo>
                        <a:cubicBezTo>
                          <a:pt x="285" y="57"/>
                          <a:pt x="270" y="46"/>
                          <a:pt x="254" y="38"/>
                        </a:cubicBezTo>
                        <a:cubicBezTo>
                          <a:pt x="248" y="35"/>
                          <a:pt x="242" y="32"/>
                          <a:pt x="236" y="30"/>
                        </a:cubicBezTo>
                        <a:cubicBezTo>
                          <a:pt x="153" y="0"/>
                          <a:pt x="60" y="43"/>
                          <a:pt x="30" y="126"/>
                        </a:cubicBezTo>
                        <a:cubicBezTo>
                          <a:pt x="30" y="126"/>
                          <a:pt x="30" y="126"/>
                          <a:pt x="30" y="126"/>
                        </a:cubicBezTo>
                        <a:cubicBezTo>
                          <a:pt x="0" y="210"/>
                          <a:pt x="43" y="302"/>
                          <a:pt x="126" y="332"/>
                        </a:cubicBezTo>
                        <a:cubicBezTo>
                          <a:pt x="132" y="335"/>
                          <a:pt x="138" y="336"/>
                          <a:pt x="144" y="338"/>
                        </a:cubicBezTo>
                        <a:cubicBezTo>
                          <a:pt x="162" y="342"/>
                          <a:pt x="181" y="343"/>
                          <a:pt x="198" y="341"/>
                        </a:cubicBezTo>
                        <a:cubicBezTo>
                          <a:pt x="196" y="421"/>
                          <a:pt x="215" y="499"/>
                          <a:pt x="252" y="569"/>
                        </a:cubicBezTo>
                        <a:cubicBezTo>
                          <a:pt x="263" y="589"/>
                          <a:pt x="275" y="609"/>
                          <a:pt x="290" y="628"/>
                        </a:cubicBezTo>
                        <a:cubicBezTo>
                          <a:pt x="341" y="697"/>
                          <a:pt x="412" y="752"/>
                          <a:pt x="499" y="783"/>
                        </a:cubicBezTo>
                        <a:cubicBezTo>
                          <a:pt x="503" y="785"/>
                          <a:pt x="507" y="786"/>
                          <a:pt x="512" y="788"/>
                        </a:cubicBezTo>
                        <a:cubicBezTo>
                          <a:pt x="512" y="788"/>
                          <a:pt x="512" y="788"/>
                          <a:pt x="512" y="788"/>
                        </a:cubicBezTo>
                        <a:close/>
                      </a:path>
                    </a:pathLst>
                  </a:custGeom>
                  <a:solidFill>
                    <a:srgbClr val="FEB3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340" name="Freeform 8">
                    <a:extLst>
                      <a:ext uri="{FF2B5EF4-FFF2-40B4-BE49-F238E27FC236}">
                        <a16:creationId xmlns:a16="http://schemas.microsoft.com/office/drawing/2014/main" id="{6E7BD93E-ED69-B156-96C9-0E21EFDCB2DE}"/>
                      </a:ext>
                    </a:extLst>
                  </p:cNvPr>
                  <p:cNvSpPr>
                    <a:spLocks/>
                  </p:cNvSpPr>
                  <p:nvPr/>
                </p:nvSpPr>
                <p:spPr bwMode="auto">
                  <a:xfrm>
                    <a:off x="2643412" y="4475832"/>
                    <a:ext cx="2872932" cy="1594807"/>
                  </a:xfrm>
                  <a:custGeom>
                    <a:avLst/>
                    <a:gdLst>
                      <a:gd name="T0" fmla="*/ 863 w 960"/>
                      <a:gd name="T1" fmla="*/ 249 h 533"/>
                      <a:gd name="T2" fmla="*/ 942 w 960"/>
                      <a:gd name="T3" fmla="*/ 99 h 533"/>
                      <a:gd name="T4" fmla="*/ 960 w 960"/>
                      <a:gd name="T5" fmla="*/ 10 h 533"/>
                      <a:gd name="T6" fmla="*/ 960 w 960"/>
                      <a:gd name="T7" fmla="*/ 0 h 533"/>
                      <a:gd name="T8" fmla="*/ 959 w 960"/>
                      <a:gd name="T9" fmla="*/ 10 h 533"/>
                      <a:gd name="T10" fmla="*/ 937 w 960"/>
                      <a:gd name="T11" fmla="*/ 95 h 533"/>
                      <a:gd name="T12" fmla="*/ 861 w 960"/>
                      <a:gd name="T13" fmla="*/ 225 h 533"/>
                      <a:gd name="T14" fmla="*/ 836 w 960"/>
                      <a:gd name="T15" fmla="*/ 253 h 533"/>
                      <a:gd name="T16" fmla="*/ 834 w 960"/>
                      <a:gd name="T17" fmla="*/ 255 h 533"/>
                      <a:gd name="T18" fmla="*/ 537 w 960"/>
                      <a:gd name="T19" fmla="*/ 382 h 533"/>
                      <a:gd name="T20" fmla="*/ 482 w 960"/>
                      <a:gd name="T21" fmla="*/ 380 h 533"/>
                      <a:gd name="T22" fmla="*/ 341 w 960"/>
                      <a:gd name="T23" fmla="*/ 343 h 533"/>
                      <a:gd name="T24" fmla="*/ 240 w 960"/>
                      <a:gd name="T25" fmla="*/ 282 h 533"/>
                      <a:gd name="T26" fmla="*/ 233 w 960"/>
                      <a:gd name="T27" fmla="*/ 276 h 533"/>
                      <a:gd name="T28" fmla="*/ 156 w 960"/>
                      <a:gd name="T29" fmla="*/ 193 h 533"/>
                      <a:gd name="T30" fmla="*/ 115 w 960"/>
                      <a:gd name="T31" fmla="*/ 205 h 533"/>
                      <a:gd name="T32" fmla="*/ 70 w 960"/>
                      <a:gd name="T33" fmla="*/ 235 h 533"/>
                      <a:gd name="T34" fmla="*/ 57 w 960"/>
                      <a:gd name="T35" fmla="*/ 249 h 533"/>
                      <a:gd name="T36" fmla="*/ 77 w 960"/>
                      <a:gd name="T37" fmla="*/ 476 h 533"/>
                      <a:gd name="T38" fmla="*/ 77 w 960"/>
                      <a:gd name="T39" fmla="*/ 476 h 533"/>
                      <a:gd name="T40" fmla="*/ 304 w 960"/>
                      <a:gd name="T41" fmla="*/ 456 h 533"/>
                      <a:gd name="T42" fmla="*/ 315 w 960"/>
                      <a:gd name="T43" fmla="*/ 441 h 533"/>
                      <a:gd name="T44" fmla="*/ 337 w 960"/>
                      <a:gd name="T45" fmla="*/ 391 h 533"/>
                      <a:gd name="T46" fmla="*/ 568 w 960"/>
                      <a:gd name="T47" fmla="*/ 419 h 533"/>
                      <a:gd name="T48" fmla="*/ 637 w 960"/>
                      <a:gd name="T49" fmla="*/ 404 h 533"/>
                      <a:gd name="T50" fmla="*/ 855 w 960"/>
                      <a:gd name="T51" fmla="*/ 260 h 533"/>
                      <a:gd name="T52" fmla="*/ 863 w 960"/>
                      <a:gd name="T53" fmla="*/ 249 h 533"/>
                      <a:gd name="T54" fmla="*/ 863 w 960"/>
                      <a:gd name="T55" fmla="*/ 249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0" h="533">
                        <a:moveTo>
                          <a:pt x="863" y="249"/>
                        </a:moveTo>
                        <a:cubicBezTo>
                          <a:pt x="900" y="203"/>
                          <a:pt x="926" y="152"/>
                          <a:pt x="942" y="99"/>
                        </a:cubicBezTo>
                        <a:cubicBezTo>
                          <a:pt x="951" y="69"/>
                          <a:pt x="957" y="40"/>
                          <a:pt x="960" y="10"/>
                        </a:cubicBezTo>
                        <a:cubicBezTo>
                          <a:pt x="960" y="6"/>
                          <a:pt x="960" y="3"/>
                          <a:pt x="960" y="0"/>
                        </a:cubicBezTo>
                        <a:cubicBezTo>
                          <a:pt x="960" y="4"/>
                          <a:pt x="959" y="7"/>
                          <a:pt x="959" y="10"/>
                        </a:cubicBezTo>
                        <a:cubicBezTo>
                          <a:pt x="954" y="39"/>
                          <a:pt x="947" y="67"/>
                          <a:pt x="937" y="95"/>
                        </a:cubicBezTo>
                        <a:cubicBezTo>
                          <a:pt x="920" y="141"/>
                          <a:pt x="895" y="185"/>
                          <a:pt x="861" y="225"/>
                        </a:cubicBezTo>
                        <a:cubicBezTo>
                          <a:pt x="853" y="235"/>
                          <a:pt x="845" y="244"/>
                          <a:pt x="836" y="253"/>
                        </a:cubicBezTo>
                        <a:cubicBezTo>
                          <a:pt x="834" y="255"/>
                          <a:pt x="834" y="255"/>
                          <a:pt x="834" y="255"/>
                        </a:cubicBezTo>
                        <a:cubicBezTo>
                          <a:pt x="753" y="335"/>
                          <a:pt x="646" y="378"/>
                          <a:pt x="537" y="382"/>
                        </a:cubicBezTo>
                        <a:cubicBezTo>
                          <a:pt x="519" y="382"/>
                          <a:pt x="500" y="382"/>
                          <a:pt x="482" y="380"/>
                        </a:cubicBezTo>
                        <a:cubicBezTo>
                          <a:pt x="434" y="376"/>
                          <a:pt x="386" y="363"/>
                          <a:pt x="341" y="343"/>
                        </a:cubicBezTo>
                        <a:cubicBezTo>
                          <a:pt x="306" y="328"/>
                          <a:pt x="272" y="307"/>
                          <a:pt x="240" y="282"/>
                        </a:cubicBezTo>
                        <a:cubicBezTo>
                          <a:pt x="238" y="280"/>
                          <a:pt x="235" y="278"/>
                          <a:pt x="233" y="276"/>
                        </a:cubicBezTo>
                        <a:cubicBezTo>
                          <a:pt x="204" y="251"/>
                          <a:pt x="178" y="223"/>
                          <a:pt x="156" y="193"/>
                        </a:cubicBezTo>
                        <a:cubicBezTo>
                          <a:pt x="142" y="196"/>
                          <a:pt x="128" y="200"/>
                          <a:pt x="115" y="205"/>
                        </a:cubicBezTo>
                        <a:cubicBezTo>
                          <a:pt x="99" y="213"/>
                          <a:pt x="84" y="223"/>
                          <a:pt x="70" y="235"/>
                        </a:cubicBezTo>
                        <a:cubicBezTo>
                          <a:pt x="66" y="240"/>
                          <a:pt x="61" y="244"/>
                          <a:pt x="57" y="249"/>
                        </a:cubicBezTo>
                        <a:cubicBezTo>
                          <a:pt x="0" y="317"/>
                          <a:pt x="9" y="419"/>
                          <a:pt x="77" y="476"/>
                        </a:cubicBezTo>
                        <a:cubicBezTo>
                          <a:pt x="77" y="476"/>
                          <a:pt x="77" y="476"/>
                          <a:pt x="77" y="476"/>
                        </a:cubicBezTo>
                        <a:cubicBezTo>
                          <a:pt x="145" y="533"/>
                          <a:pt x="247" y="524"/>
                          <a:pt x="304" y="456"/>
                        </a:cubicBezTo>
                        <a:cubicBezTo>
                          <a:pt x="308" y="451"/>
                          <a:pt x="312" y="446"/>
                          <a:pt x="315" y="441"/>
                        </a:cubicBezTo>
                        <a:cubicBezTo>
                          <a:pt x="325" y="425"/>
                          <a:pt x="332" y="409"/>
                          <a:pt x="337" y="391"/>
                        </a:cubicBezTo>
                        <a:cubicBezTo>
                          <a:pt x="411" y="421"/>
                          <a:pt x="491" y="430"/>
                          <a:pt x="568" y="419"/>
                        </a:cubicBezTo>
                        <a:cubicBezTo>
                          <a:pt x="592" y="415"/>
                          <a:pt x="615" y="410"/>
                          <a:pt x="637" y="404"/>
                        </a:cubicBezTo>
                        <a:cubicBezTo>
                          <a:pt x="719" y="379"/>
                          <a:pt x="795" y="331"/>
                          <a:pt x="855" y="260"/>
                        </a:cubicBezTo>
                        <a:cubicBezTo>
                          <a:pt x="858" y="256"/>
                          <a:pt x="860" y="253"/>
                          <a:pt x="863" y="249"/>
                        </a:cubicBezTo>
                        <a:cubicBezTo>
                          <a:pt x="863" y="249"/>
                          <a:pt x="863" y="249"/>
                          <a:pt x="863" y="249"/>
                        </a:cubicBezTo>
                        <a:close/>
                      </a:path>
                    </a:pathLst>
                  </a:custGeom>
                  <a:solidFill>
                    <a:srgbClr val="E64D2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341" name="Freeform 9">
                    <a:extLst>
                      <a:ext uri="{FF2B5EF4-FFF2-40B4-BE49-F238E27FC236}">
                        <a16:creationId xmlns:a16="http://schemas.microsoft.com/office/drawing/2014/main" id="{4B8A3307-62D8-2876-245C-1B1BF803D4C2}"/>
                      </a:ext>
                    </a:extLst>
                  </p:cNvPr>
                  <p:cNvSpPr>
                    <a:spLocks/>
                  </p:cNvSpPr>
                  <p:nvPr/>
                </p:nvSpPr>
                <p:spPr bwMode="auto">
                  <a:xfrm>
                    <a:off x="5072990" y="3204040"/>
                    <a:ext cx="1109651" cy="3103476"/>
                  </a:xfrm>
                  <a:custGeom>
                    <a:avLst/>
                    <a:gdLst>
                      <a:gd name="T0" fmla="*/ 298 w 371"/>
                      <a:gd name="T1" fmla="*/ 176 h 1037"/>
                      <a:gd name="T2" fmla="*/ 184 w 371"/>
                      <a:gd name="T3" fmla="*/ 51 h 1037"/>
                      <a:gd name="T4" fmla="*/ 106 w 371"/>
                      <a:gd name="T5" fmla="*/ 4 h 1037"/>
                      <a:gd name="T6" fmla="*/ 97 w 371"/>
                      <a:gd name="T7" fmla="*/ 0 h 1037"/>
                      <a:gd name="T8" fmla="*/ 106 w 371"/>
                      <a:gd name="T9" fmla="*/ 5 h 1037"/>
                      <a:gd name="T10" fmla="*/ 178 w 371"/>
                      <a:gd name="T11" fmla="*/ 54 h 1037"/>
                      <a:gd name="T12" fmla="*/ 275 w 371"/>
                      <a:gd name="T13" fmla="*/ 170 h 1037"/>
                      <a:gd name="T14" fmla="*/ 292 w 371"/>
                      <a:gd name="T15" fmla="*/ 203 h 1037"/>
                      <a:gd name="T16" fmla="*/ 293 w 371"/>
                      <a:gd name="T17" fmla="*/ 206 h 1037"/>
                      <a:gd name="T18" fmla="*/ 311 w 371"/>
                      <a:gd name="T19" fmla="*/ 528 h 1037"/>
                      <a:gd name="T20" fmla="*/ 290 w 371"/>
                      <a:gd name="T21" fmla="*/ 580 h 1037"/>
                      <a:gd name="T22" fmla="*/ 208 w 371"/>
                      <a:gd name="T23" fmla="*/ 699 h 1037"/>
                      <a:gd name="T24" fmla="*/ 115 w 371"/>
                      <a:gd name="T25" fmla="*/ 773 h 1037"/>
                      <a:gd name="T26" fmla="*/ 108 w 371"/>
                      <a:gd name="T27" fmla="*/ 777 h 1037"/>
                      <a:gd name="T28" fmla="*/ 4 w 371"/>
                      <a:gd name="T29" fmla="*/ 821 h 1037"/>
                      <a:gd name="T30" fmla="*/ 1 w 371"/>
                      <a:gd name="T31" fmla="*/ 864 h 1037"/>
                      <a:gd name="T32" fmla="*/ 14 w 371"/>
                      <a:gd name="T33" fmla="*/ 917 h 1037"/>
                      <a:gd name="T34" fmla="*/ 22 w 371"/>
                      <a:gd name="T35" fmla="*/ 934 h 1037"/>
                      <a:gd name="T36" fmla="*/ 242 w 371"/>
                      <a:gd name="T37" fmla="*/ 993 h 1037"/>
                      <a:gd name="T38" fmla="*/ 242 w 371"/>
                      <a:gd name="T39" fmla="*/ 993 h 1037"/>
                      <a:gd name="T40" fmla="*/ 301 w 371"/>
                      <a:gd name="T41" fmla="*/ 773 h 1037"/>
                      <a:gd name="T42" fmla="*/ 291 w 371"/>
                      <a:gd name="T43" fmla="*/ 757 h 1037"/>
                      <a:gd name="T44" fmla="*/ 251 w 371"/>
                      <a:gd name="T45" fmla="*/ 720 h 1037"/>
                      <a:gd name="T46" fmla="*/ 356 w 371"/>
                      <a:gd name="T47" fmla="*/ 511 h 1037"/>
                      <a:gd name="T48" fmla="*/ 366 w 371"/>
                      <a:gd name="T49" fmla="*/ 442 h 1037"/>
                      <a:gd name="T50" fmla="*/ 305 w 371"/>
                      <a:gd name="T51" fmla="*/ 188 h 1037"/>
                      <a:gd name="T52" fmla="*/ 298 w 371"/>
                      <a:gd name="T53" fmla="*/ 176 h 1037"/>
                      <a:gd name="T54" fmla="*/ 298 w 371"/>
                      <a:gd name="T55" fmla="*/ 176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1" h="1037">
                        <a:moveTo>
                          <a:pt x="298" y="176"/>
                        </a:moveTo>
                        <a:cubicBezTo>
                          <a:pt x="267" y="126"/>
                          <a:pt x="228" y="84"/>
                          <a:pt x="184" y="51"/>
                        </a:cubicBezTo>
                        <a:cubicBezTo>
                          <a:pt x="159" y="32"/>
                          <a:pt x="133" y="17"/>
                          <a:pt x="106" y="4"/>
                        </a:cubicBezTo>
                        <a:cubicBezTo>
                          <a:pt x="103" y="2"/>
                          <a:pt x="100" y="1"/>
                          <a:pt x="97" y="0"/>
                        </a:cubicBezTo>
                        <a:cubicBezTo>
                          <a:pt x="100" y="1"/>
                          <a:pt x="103" y="3"/>
                          <a:pt x="106" y="5"/>
                        </a:cubicBezTo>
                        <a:cubicBezTo>
                          <a:pt x="132" y="19"/>
                          <a:pt x="156" y="35"/>
                          <a:pt x="178" y="54"/>
                        </a:cubicBezTo>
                        <a:cubicBezTo>
                          <a:pt x="216" y="86"/>
                          <a:pt x="249" y="125"/>
                          <a:pt x="275" y="170"/>
                        </a:cubicBezTo>
                        <a:cubicBezTo>
                          <a:pt x="281" y="181"/>
                          <a:pt x="287" y="192"/>
                          <a:pt x="292" y="203"/>
                        </a:cubicBezTo>
                        <a:cubicBezTo>
                          <a:pt x="293" y="206"/>
                          <a:pt x="293" y="206"/>
                          <a:pt x="293" y="206"/>
                        </a:cubicBezTo>
                        <a:cubicBezTo>
                          <a:pt x="341" y="309"/>
                          <a:pt x="345" y="424"/>
                          <a:pt x="311" y="528"/>
                        </a:cubicBezTo>
                        <a:cubicBezTo>
                          <a:pt x="305" y="546"/>
                          <a:pt x="298" y="563"/>
                          <a:pt x="290" y="580"/>
                        </a:cubicBezTo>
                        <a:cubicBezTo>
                          <a:pt x="270" y="623"/>
                          <a:pt x="242" y="664"/>
                          <a:pt x="208" y="699"/>
                        </a:cubicBezTo>
                        <a:cubicBezTo>
                          <a:pt x="181" y="727"/>
                          <a:pt x="150" y="752"/>
                          <a:pt x="115" y="773"/>
                        </a:cubicBezTo>
                        <a:cubicBezTo>
                          <a:pt x="113" y="774"/>
                          <a:pt x="110" y="776"/>
                          <a:pt x="108" y="777"/>
                        </a:cubicBezTo>
                        <a:cubicBezTo>
                          <a:pt x="74" y="797"/>
                          <a:pt x="39" y="811"/>
                          <a:pt x="4" y="821"/>
                        </a:cubicBezTo>
                        <a:cubicBezTo>
                          <a:pt x="1" y="835"/>
                          <a:pt x="0" y="850"/>
                          <a:pt x="1" y="864"/>
                        </a:cubicBezTo>
                        <a:cubicBezTo>
                          <a:pt x="2" y="882"/>
                          <a:pt x="6" y="900"/>
                          <a:pt x="14" y="917"/>
                        </a:cubicBezTo>
                        <a:cubicBezTo>
                          <a:pt x="16" y="923"/>
                          <a:pt x="19" y="928"/>
                          <a:pt x="22" y="934"/>
                        </a:cubicBezTo>
                        <a:cubicBezTo>
                          <a:pt x="67" y="1011"/>
                          <a:pt x="165" y="1037"/>
                          <a:pt x="242" y="993"/>
                        </a:cubicBezTo>
                        <a:cubicBezTo>
                          <a:pt x="242" y="993"/>
                          <a:pt x="242" y="993"/>
                          <a:pt x="242" y="993"/>
                        </a:cubicBezTo>
                        <a:cubicBezTo>
                          <a:pt x="319" y="948"/>
                          <a:pt x="345" y="850"/>
                          <a:pt x="301" y="773"/>
                        </a:cubicBezTo>
                        <a:cubicBezTo>
                          <a:pt x="298" y="767"/>
                          <a:pt x="294" y="762"/>
                          <a:pt x="291" y="757"/>
                        </a:cubicBezTo>
                        <a:cubicBezTo>
                          <a:pt x="280" y="742"/>
                          <a:pt x="266" y="730"/>
                          <a:pt x="251" y="720"/>
                        </a:cubicBezTo>
                        <a:cubicBezTo>
                          <a:pt x="304" y="660"/>
                          <a:pt x="340" y="588"/>
                          <a:pt x="356" y="511"/>
                        </a:cubicBezTo>
                        <a:cubicBezTo>
                          <a:pt x="361" y="488"/>
                          <a:pt x="364" y="465"/>
                          <a:pt x="366" y="442"/>
                        </a:cubicBezTo>
                        <a:cubicBezTo>
                          <a:pt x="371" y="356"/>
                          <a:pt x="351" y="268"/>
                          <a:pt x="305" y="188"/>
                        </a:cubicBezTo>
                        <a:cubicBezTo>
                          <a:pt x="303" y="184"/>
                          <a:pt x="301" y="180"/>
                          <a:pt x="298" y="176"/>
                        </a:cubicBezTo>
                        <a:cubicBezTo>
                          <a:pt x="298" y="176"/>
                          <a:pt x="298" y="176"/>
                          <a:pt x="298" y="176"/>
                        </a:cubicBezTo>
                        <a:close/>
                      </a:path>
                    </a:pathLst>
                  </a:custGeom>
                  <a:solidFill>
                    <a:srgbClr val="9CCFF3">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342" name="Freeform 10">
                    <a:extLst>
                      <a:ext uri="{FF2B5EF4-FFF2-40B4-BE49-F238E27FC236}">
                        <a16:creationId xmlns:a16="http://schemas.microsoft.com/office/drawing/2014/main" id="{989B1B5D-6A8A-D2C8-207E-A58E28551B70}"/>
                      </a:ext>
                    </a:extLst>
                  </p:cNvPr>
                  <p:cNvSpPr>
                    <a:spLocks/>
                  </p:cNvSpPr>
                  <p:nvPr/>
                </p:nvSpPr>
                <p:spPr bwMode="auto">
                  <a:xfrm>
                    <a:off x="4115346" y="2470606"/>
                    <a:ext cx="2986938" cy="1616341"/>
                  </a:xfrm>
                  <a:custGeom>
                    <a:avLst/>
                    <a:gdLst>
                      <a:gd name="T0" fmla="*/ 235 w 998"/>
                      <a:gd name="T1" fmla="*/ 19 h 540"/>
                      <a:gd name="T2" fmla="*/ 77 w 998"/>
                      <a:gd name="T3" fmla="*/ 84 h 540"/>
                      <a:gd name="T4" fmla="*/ 7 w 998"/>
                      <a:gd name="T5" fmla="*/ 141 h 540"/>
                      <a:gd name="T6" fmla="*/ 0 w 998"/>
                      <a:gd name="T7" fmla="*/ 147 h 540"/>
                      <a:gd name="T8" fmla="*/ 8 w 998"/>
                      <a:gd name="T9" fmla="*/ 141 h 540"/>
                      <a:gd name="T10" fmla="*/ 79 w 998"/>
                      <a:gd name="T11" fmla="*/ 90 h 540"/>
                      <a:gd name="T12" fmla="*/ 220 w 998"/>
                      <a:gd name="T13" fmla="*/ 39 h 540"/>
                      <a:gd name="T14" fmla="*/ 258 w 998"/>
                      <a:gd name="T15" fmla="*/ 34 h 540"/>
                      <a:gd name="T16" fmla="*/ 260 w 998"/>
                      <a:gd name="T17" fmla="*/ 34 h 540"/>
                      <a:gd name="T18" fmla="*/ 569 w 998"/>
                      <a:gd name="T19" fmla="*/ 127 h 540"/>
                      <a:gd name="T20" fmla="*/ 611 w 998"/>
                      <a:gd name="T21" fmla="*/ 164 h 540"/>
                      <a:gd name="T22" fmla="*/ 695 w 998"/>
                      <a:gd name="T23" fmla="*/ 283 h 540"/>
                      <a:gd name="T24" fmla="*/ 733 w 998"/>
                      <a:gd name="T25" fmla="*/ 395 h 540"/>
                      <a:gd name="T26" fmla="*/ 734 w 998"/>
                      <a:gd name="T27" fmla="*/ 403 h 540"/>
                      <a:gd name="T28" fmla="*/ 740 w 998"/>
                      <a:gd name="T29" fmla="*/ 516 h 540"/>
                      <a:gd name="T30" fmla="*/ 779 w 998"/>
                      <a:gd name="T31" fmla="*/ 533 h 540"/>
                      <a:gd name="T32" fmla="*/ 833 w 998"/>
                      <a:gd name="T33" fmla="*/ 539 h 540"/>
                      <a:gd name="T34" fmla="*/ 852 w 998"/>
                      <a:gd name="T35" fmla="*/ 537 h 540"/>
                      <a:gd name="T36" fmla="*/ 983 w 998"/>
                      <a:gd name="T37" fmla="*/ 351 h 540"/>
                      <a:gd name="T38" fmla="*/ 983 w 998"/>
                      <a:gd name="T39" fmla="*/ 351 h 540"/>
                      <a:gd name="T40" fmla="*/ 796 w 998"/>
                      <a:gd name="T41" fmla="*/ 220 h 540"/>
                      <a:gd name="T42" fmla="*/ 778 w 998"/>
                      <a:gd name="T43" fmla="*/ 225 h 540"/>
                      <a:gd name="T44" fmla="*/ 729 w 998"/>
                      <a:gd name="T45" fmla="*/ 249 h 540"/>
                      <a:gd name="T46" fmla="*/ 569 w 998"/>
                      <a:gd name="T47" fmla="*/ 79 h 540"/>
                      <a:gd name="T48" fmla="*/ 507 w 998"/>
                      <a:gd name="T49" fmla="*/ 46 h 540"/>
                      <a:gd name="T50" fmla="*/ 248 w 998"/>
                      <a:gd name="T51" fmla="*/ 16 h 540"/>
                      <a:gd name="T52" fmla="*/ 235 w 998"/>
                      <a:gd name="T53" fmla="*/ 19 h 540"/>
                      <a:gd name="T54" fmla="*/ 235 w 998"/>
                      <a:gd name="T55" fmla="*/ 19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8" h="540">
                        <a:moveTo>
                          <a:pt x="235" y="19"/>
                        </a:moveTo>
                        <a:cubicBezTo>
                          <a:pt x="177" y="31"/>
                          <a:pt x="124" y="53"/>
                          <a:pt x="77" y="84"/>
                        </a:cubicBezTo>
                        <a:cubicBezTo>
                          <a:pt x="52" y="100"/>
                          <a:pt x="28" y="119"/>
                          <a:pt x="7" y="141"/>
                        </a:cubicBezTo>
                        <a:cubicBezTo>
                          <a:pt x="5" y="143"/>
                          <a:pt x="2" y="145"/>
                          <a:pt x="0" y="147"/>
                        </a:cubicBezTo>
                        <a:cubicBezTo>
                          <a:pt x="3" y="145"/>
                          <a:pt x="5" y="143"/>
                          <a:pt x="8" y="141"/>
                        </a:cubicBezTo>
                        <a:cubicBezTo>
                          <a:pt x="29" y="122"/>
                          <a:pt x="53" y="105"/>
                          <a:pt x="79" y="90"/>
                        </a:cubicBezTo>
                        <a:cubicBezTo>
                          <a:pt x="121" y="65"/>
                          <a:pt x="169" y="48"/>
                          <a:pt x="220" y="39"/>
                        </a:cubicBezTo>
                        <a:cubicBezTo>
                          <a:pt x="233" y="37"/>
                          <a:pt x="245" y="35"/>
                          <a:pt x="258" y="34"/>
                        </a:cubicBezTo>
                        <a:cubicBezTo>
                          <a:pt x="260" y="34"/>
                          <a:pt x="260" y="34"/>
                          <a:pt x="260" y="34"/>
                        </a:cubicBezTo>
                        <a:cubicBezTo>
                          <a:pt x="375" y="24"/>
                          <a:pt x="484" y="60"/>
                          <a:pt x="569" y="127"/>
                        </a:cubicBezTo>
                        <a:cubicBezTo>
                          <a:pt x="584" y="138"/>
                          <a:pt x="598" y="151"/>
                          <a:pt x="611" y="164"/>
                        </a:cubicBezTo>
                        <a:cubicBezTo>
                          <a:pt x="645" y="198"/>
                          <a:pt x="673" y="238"/>
                          <a:pt x="695" y="283"/>
                        </a:cubicBezTo>
                        <a:cubicBezTo>
                          <a:pt x="712" y="317"/>
                          <a:pt x="725" y="355"/>
                          <a:pt x="733" y="395"/>
                        </a:cubicBezTo>
                        <a:cubicBezTo>
                          <a:pt x="733" y="398"/>
                          <a:pt x="734" y="401"/>
                          <a:pt x="734" y="403"/>
                        </a:cubicBezTo>
                        <a:cubicBezTo>
                          <a:pt x="741" y="441"/>
                          <a:pt x="743" y="479"/>
                          <a:pt x="740" y="516"/>
                        </a:cubicBezTo>
                        <a:cubicBezTo>
                          <a:pt x="752" y="524"/>
                          <a:pt x="766" y="529"/>
                          <a:pt x="779" y="533"/>
                        </a:cubicBezTo>
                        <a:cubicBezTo>
                          <a:pt x="797" y="538"/>
                          <a:pt x="815" y="540"/>
                          <a:pt x="833" y="539"/>
                        </a:cubicBezTo>
                        <a:cubicBezTo>
                          <a:pt x="839" y="539"/>
                          <a:pt x="846" y="538"/>
                          <a:pt x="852" y="537"/>
                        </a:cubicBezTo>
                        <a:cubicBezTo>
                          <a:pt x="940" y="522"/>
                          <a:pt x="998" y="438"/>
                          <a:pt x="983" y="351"/>
                        </a:cubicBezTo>
                        <a:cubicBezTo>
                          <a:pt x="983" y="351"/>
                          <a:pt x="983" y="351"/>
                          <a:pt x="983" y="351"/>
                        </a:cubicBezTo>
                        <a:cubicBezTo>
                          <a:pt x="967" y="263"/>
                          <a:pt x="884" y="205"/>
                          <a:pt x="796" y="220"/>
                        </a:cubicBezTo>
                        <a:cubicBezTo>
                          <a:pt x="790" y="221"/>
                          <a:pt x="784" y="223"/>
                          <a:pt x="778" y="225"/>
                        </a:cubicBezTo>
                        <a:cubicBezTo>
                          <a:pt x="760" y="230"/>
                          <a:pt x="744" y="238"/>
                          <a:pt x="729" y="249"/>
                        </a:cubicBezTo>
                        <a:cubicBezTo>
                          <a:pt x="691" y="178"/>
                          <a:pt x="636" y="120"/>
                          <a:pt x="569" y="79"/>
                        </a:cubicBezTo>
                        <a:cubicBezTo>
                          <a:pt x="549" y="66"/>
                          <a:pt x="529" y="55"/>
                          <a:pt x="507" y="46"/>
                        </a:cubicBezTo>
                        <a:cubicBezTo>
                          <a:pt x="428" y="12"/>
                          <a:pt x="339" y="0"/>
                          <a:pt x="248" y="16"/>
                        </a:cubicBezTo>
                        <a:cubicBezTo>
                          <a:pt x="244" y="17"/>
                          <a:pt x="239" y="18"/>
                          <a:pt x="235" y="19"/>
                        </a:cubicBezTo>
                        <a:cubicBezTo>
                          <a:pt x="235" y="19"/>
                          <a:pt x="235" y="19"/>
                          <a:pt x="235" y="19"/>
                        </a:cubicBezTo>
                        <a:close/>
                      </a:path>
                    </a:pathLst>
                  </a:custGeom>
                  <a:solidFill>
                    <a:srgbClr val="E7830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sp>
                <p:nvSpPr>
                  <p:cNvPr id="2343" name="Oval 11">
                    <a:extLst>
                      <a:ext uri="{FF2B5EF4-FFF2-40B4-BE49-F238E27FC236}">
                        <a16:creationId xmlns:a16="http://schemas.microsoft.com/office/drawing/2014/main" id="{2B191D7C-930D-44AA-7DD5-D735E6251710}"/>
                      </a:ext>
                    </a:extLst>
                  </p:cNvPr>
                  <p:cNvSpPr>
                    <a:spLocks noChangeArrowheads="1"/>
                  </p:cNvSpPr>
                  <p:nvPr/>
                </p:nvSpPr>
                <p:spPr bwMode="auto">
                  <a:xfrm>
                    <a:off x="3500333" y="2918327"/>
                    <a:ext cx="2062268" cy="2061096"/>
                  </a:xfrm>
                  <a:prstGeom prst="ellipse">
                    <a:avLst/>
                  </a:prstGeom>
                  <a:solidFill>
                    <a:srgbClr val="58595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endParaRPr>
                  </a:p>
                </p:txBody>
              </p:sp>
            </p:grpSp>
            <p:sp>
              <p:nvSpPr>
                <p:cNvPr id="2333" name="Rectangle 2332">
                  <a:extLst>
                    <a:ext uri="{FF2B5EF4-FFF2-40B4-BE49-F238E27FC236}">
                      <a16:creationId xmlns:a16="http://schemas.microsoft.com/office/drawing/2014/main" id="{6101CE29-4029-BDC9-BCE4-0E89B39FA15A}"/>
                    </a:ext>
                  </a:extLst>
                </p:cNvPr>
                <p:cNvSpPr/>
                <p:nvPr/>
              </p:nvSpPr>
              <p:spPr>
                <a:xfrm>
                  <a:off x="2627784" y="1315273"/>
                  <a:ext cx="402037" cy="238316"/>
                </a:xfrm>
                <a:prstGeom prst="rect">
                  <a:avLst/>
                </a:prstGeom>
                <a:noFill/>
                <a:ln w="25400" cap="flat" cmpd="sng" algn="ctr">
                  <a:noFill/>
                  <a:prstDash val="solid"/>
                </a:ln>
                <a:effectLst/>
              </p:spPr>
              <p:txBody>
                <a:bodyPr wrap="square" lIns="91436" tIns="0" rIns="91436"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rPr>
                    <a:t>1</a:t>
                  </a:r>
                  <a:endParaRPr kumimoji="0" lang="en-IN"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endParaRPr>
                </a:p>
              </p:txBody>
            </p:sp>
            <p:sp>
              <p:nvSpPr>
                <p:cNvPr id="2334" name="Rectangle 2333">
                  <a:extLst>
                    <a:ext uri="{FF2B5EF4-FFF2-40B4-BE49-F238E27FC236}">
                      <a16:creationId xmlns:a16="http://schemas.microsoft.com/office/drawing/2014/main" id="{717E0CDD-1160-4447-E74F-7136553F0616}"/>
                    </a:ext>
                  </a:extLst>
                </p:cNvPr>
                <p:cNvSpPr/>
                <p:nvPr/>
              </p:nvSpPr>
              <p:spPr>
                <a:xfrm>
                  <a:off x="3896863" y="2395392"/>
                  <a:ext cx="307975" cy="238316"/>
                </a:xfrm>
                <a:prstGeom prst="rect">
                  <a:avLst/>
                </a:prstGeom>
                <a:noFill/>
                <a:ln w="25400" cap="flat" cmpd="sng" algn="ctr">
                  <a:noFill/>
                  <a:prstDash val="solid"/>
                </a:ln>
                <a:effectLst/>
              </p:spPr>
              <p:txBody>
                <a:bodyPr wrap="none" lIns="91436" tIns="0" rIns="91436"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rPr>
                    <a:t>2</a:t>
                  </a:r>
                  <a:endParaRPr kumimoji="0" lang="en-IN"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endParaRPr>
                </a:p>
              </p:txBody>
            </p:sp>
            <p:sp>
              <p:nvSpPr>
                <p:cNvPr id="2335" name="Rectangle 2334">
                  <a:extLst>
                    <a:ext uri="{FF2B5EF4-FFF2-40B4-BE49-F238E27FC236}">
                      <a16:creationId xmlns:a16="http://schemas.microsoft.com/office/drawing/2014/main" id="{9944915F-E39C-2316-A862-43A88536D1B7}"/>
                    </a:ext>
                  </a:extLst>
                </p:cNvPr>
                <p:cNvSpPr/>
                <p:nvPr/>
              </p:nvSpPr>
              <p:spPr>
                <a:xfrm>
                  <a:off x="3320799" y="3691536"/>
                  <a:ext cx="307975" cy="238316"/>
                </a:xfrm>
                <a:prstGeom prst="rect">
                  <a:avLst/>
                </a:prstGeom>
                <a:noFill/>
                <a:ln w="25400" cap="flat" cmpd="sng" algn="ctr">
                  <a:noFill/>
                  <a:prstDash val="solid"/>
                </a:ln>
                <a:effectLst/>
              </p:spPr>
              <p:txBody>
                <a:bodyPr wrap="none" lIns="91436" tIns="0" rIns="91436"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rPr>
                    <a:t>3</a:t>
                  </a:r>
                  <a:endParaRPr kumimoji="0" lang="en-IN"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endParaRPr>
                </a:p>
              </p:txBody>
            </p:sp>
            <p:sp>
              <p:nvSpPr>
                <p:cNvPr id="2336" name="Rectangle 2335">
                  <a:extLst>
                    <a:ext uri="{FF2B5EF4-FFF2-40B4-BE49-F238E27FC236}">
                      <a16:creationId xmlns:a16="http://schemas.microsoft.com/office/drawing/2014/main" id="{98C60B7A-25DC-F898-DC07-E5E98B033F46}"/>
                    </a:ext>
                  </a:extLst>
                </p:cNvPr>
                <p:cNvSpPr/>
                <p:nvPr/>
              </p:nvSpPr>
              <p:spPr>
                <a:xfrm>
                  <a:off x="1880638" y="3547520"/>
                  <a:ext cx="307975" cy="238316"/>
                </a:xfrm>
                <a:prstGeom prst="rect">
                  <a:avLst/>
                </a:prstGeom>
                <a:noFill/>
                <a:ln w="25400" cap="flat" cmpd="sng" algn="ctr">
                  <a:noFill/>
                  <a:prstDash val="solid"/>
                </a:ln>
                <a:effectLst/>
              </p:spPr>
              <p:txBody>
                <a:bodyPr wrap="none" lIns="91436" tIns="0" rIns="91436"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rPr>
                    <a:t>4</a:t>
                  </a:r>
                  <a:endParaRPr kumimoji="0" lang="en-IN"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endParaRPr>
                </a:p>
              </p:txBody>
            </p:sp>
            <p:sp>
              <p:nvSpPr>
                <p:cNvPr id="2337" name="Rectangle 2336">
                  <a:extLst>
                    <a:ext uri="{FF2B5EF4-FFF2-40B4-BE49-F238E27FC236}">
                      <a16:creationId xmlns:a16="http://schemas.microsoft.com/office/drawing/2014/main" id="{58738083-0A74-CE70-441E-0C84543E74BE}"/>
                    </a:ext>
                  </a:extLst>
                </p:cNvPr>
                <p:cNvSpPr/>
                <p:nvPr/>
              </p:nvSpPr>
              <p:spPr>
                <a:xfrm>
                  <a:off x="1520598" y="2107360"/>
                  <a:ext cx="307975" cy="238316"/>
                </a:xfrm>
                <a:prstGeom prst="rect">
                  <a:avLst/>
                </a:prstGeom>
                <a:noFill/>
                <a:ln w="25400" cap="flat" cmpd="sng" algn="ctr">
                  <a:noFill/>
                  <a:prstDash val="solid"/>
                </a:ln>
                <a:effectLst/>
              </p:spPr>
              <p:txBody>
                <a:bodyPr wrap="none" lIns="91436" tIns="0" rIns="91436"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rPr>
                    <a:t>5</a:t>
                  </a:r>
                  <a:endParaRPr kumimoji="0" lang="en-IN"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Arial" panose="020B0604020202020204" pitchFamily="34" charset="0"/>
                  </a:endParaRPr>
                </a:p>
              </p:txBody>
            </p:sp>
          </p:grpSp>
          <p:grpSp>
            <p:nvGrpSpPr>
              <p:cNvPr id="2323" name="Group 2322">
                <a:extLst>
                  <a:ext uri="{FF2B5EF4-FFF2-40B4-BE49-F238E27FC236}">
                    <a16:creationId xmlns:a16="http://schemas.microsoft.com/office/drawing/2014/main" id="{E11D3C90-7999-DED7-3474-0CCABC713652}"/>
                  </a:ext>
                </a:extLst>
              </p:cNvPr>
              <p:cNvGrpSpPr/>
              <p:nvPr/>
            </p:nvGrpSpPr>
            <p:grpSpPr>
              <a:xfrm>
                <a:off x="2411759" y="1275606"/>
                <a:ext cx="1981154" cy="802989"/>
                <a:chOff x="3347864" y="1131590"/>
                <a:chExt cx="1981154" cy="802989"/>
              </a:xfrm>
            </p:grpSpPr>
            <p:sp>
              <p:nvSpPr>
                <p:cNvPr id="2330" name="TextBox 2329">
                  <a:extLst>
                    <a:ext uri="{FF2B5EF4-FFF2-40B4-BE49-F238E27FC236}">
                      <a16:creationId xmlns:a16="http://schemas.microsoft.com/office/drawing/2014/main" id="{9E99554C-046C-5465-3E57-6C967ED3B3DE}"/>
                    </a:ext>
                  </a:extLst>
                </p:cNvPr>
                <p:cNvSpPr txBox="1"/>
                <p:nvPr/>
              </p:nvSpPr>
              <p:spPr>
                <a:xfrm>
                  <a:off x="3347864" y="1131590"/>
                  <a:ext cx="738444" cy="94139"/>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chemeClr val="bg1"/>
                      </a:solidFill>
                      <a:effectLst/>
                      <a:uLnTx/>
                      <a:uFillTx/>
                      <a:latin typeface="EYInterstate Light" panose="02000506000000020004" pitchFamily="2" charset="0"/>
                      <a:cs typeface="Arial" panose="020B0604020202020204" pitchFamily="34" charset="0"/>
                    </a:rPr>
                    <a:t>Operational</a:t>
                  </a:r>
                </a:p>
              </p:txBody>
            </p:sp>
            <p:sp>
              <p:nvSpPr>
                <p:cNvPr id="2331" name="TextBox 2330">
                  <a:extLst>
                    <a:ext uri="{FF2B5EF4-FFF2-40B4-BE49-F238E27FC236}">
                      <a16:creationId xmlns:a16="http://schemas.microsoft.com/office/drawing/2014/main" id="{3AB628F1-FD5B-2DC9-8D6E-7DCDB146F250}"/>
                    </a:ext>
                  </a:extLst>
                </p:cNvPr>
                <p:cNvSpPr txBox="1"/>
                <p:nvPr/>
              </p:nvSpPr>
              <p:spPr>
                <a:xfrm>
                  <a:off x="3347864" y="1275606"/>
                  <a:ext cx="1981154" cy="658973"/>
                </a:xfrm>
                <a:prstGeom prst="rect">
                  <a:avLst/>
                </a:prstGeom>
                <a:noFill/>
              </p:spPr>
              <p:txBody>
                <a:bodyPr wrap="square" lIns="0" tIns="0" rIns="0" bIns="0"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Loss of management control</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Costs related to productivity declin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Loss of  asse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Recovery cos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Financial Fraud</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Decrease of data quality (inconsistency)</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Bypass internal automated controls</a:t>
                  </a:r>
                </a:p>
              </p:txBody>
            </p:sp>
          </p:grpSp>
          <p:grpSp>
            <p:nvGrpSpPr>
              <p:cNvPr id="2324" name="Group 2323">
                <a:extLst>
                  <a:ext uri="{FF2B5EF4-FFF2-40B4-BE49-F238E27FC236}">
                    <a16:creationId xmlns:a16="http://schemas.microsoft.com/office/drawing/2014/main" id="{8D266567-153D-6184-6063-76B112ECFC34}"/>
                  </a:ext>
                </a:extLst>
              </p:cNvPr>
              <p:cNvGrpSpPr/>
              <p:nvPr/>
            </p:nvGrpSpPr>
            <p:grpSpPr>
              <a:xfrm>
                <a:off x="246796" y="3435847"/>
                <a:ext cx="1085524" cy="364435"/>
                <a:chOff x="5110273" y="1377073"/>
                <a:chExt cx="1772300" cy="536885"/>
              </a:xfrm>
            </p:grpSpPr>
            <p:sp>
              <p:nvSpPr>
                <p:cNvPr id="2328" name="TextBox 2327">
                  <a:extLst>
                    <a:ext uri="{FF2B5EF4-FFF2-40B4-BE49-F238E27FC236}">
                      <a16:creationId xmlns:a16="http://schemas.microsoft.com/office/drawing/2014/main" id="{2DBC129D-9E9A-1980-8B40-DC23E5239E14}"/>
                    </a:ext>
                  </a:extLst>
                </p:cNvPr>
                <p:cNvSpPr txBox="1"/>
                <p:nvPr/>
              </p:nvSpPr>
              <p:spPr>
                <a:xfrm>
                  <a:off x="5110273" y="1377073"/>
                  <a:ext cx="1125309" cy="13868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chemeClr val="bg1"/>
                      </a:solidFill>
                      <a:effectLst/>
                      <a:uLnTx/>
                      <a:uFillTx/>
                      <a:latin typeface="EYInterstate Light" panose="02000506000000020004" pitchFamily="2" charset="0"/>
                      <a:cs typeface="Arial" panose="020B0604020202020204" pitchFamily="34" charset="0"/>
                    </a:rPr>
                    <a:t>Employee</a:t>
                  </a:r>
                </a:p>
              </p:txBody>
            </p:sp>
            <p:sp>
              <p:nvSpPr>
                <p:cNvPr id="2329" name="TextBox 2328">
                  <a:extLst>
                    <a:ext uri="{FF2B5EF4-FFF2-40B4-BE49-F238E27FC236}">
                      <a16:creationId xmlns:a16="http://schemas.microsoft.com/office/drawing/2014/main" id="{A12F5080-1762-C75A-4743-F7B65C047B6A}"/>
                    </a:ext>
                  </a:extLst>
                </p:cNvPr>
                <p:cNvSpPr txBox="1"/>
                <p:nvPr/>
              </p:nvSpPr>
              <p:spPr>
                <a:xfrm>
                  <a:off x="5110274" y="1636587"/>
                  <a:ext cx="1772299" cy="277371"/>
                </a:xfrm>
                <a:prstGeom prst="rect">
                  <a:avLst/>
                </a:prstGeom>
                <a:noFill/>
              </p:spPr>
              <p:txBody>
                <a:bodyPr wrap="square" lIns="0" tIns="0" rIns="0" bIns="0"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Loss of staff moral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Total Incidents</a:t>
                  </a:r>
                </a:p>
              </p:txBody>
            </p:sp>
          </p:grpSp>
          <p:grpSp>
            <p:nvGrpSpPr>
              <p:cNvPr id="2325" name="Group 2324">
                <a:extLst>
                  <a:ext uri="{FF2B5EF4-FFF2-40B4-BE49-F238E27FC236}">
                    <a16:creationId xmlns:a16="http://schemas.microsoft.com/office/drawing/2014/main" id="{5C60C42B-FC40-6A54-A65E-CD3012E35AF4}"/>
                  </a:ext>
                </a:extLst>
              </p:cNvPr>
              <p:cNvGrpSpPr/>
              <p:nvPr/>
            </p:nvGrpSpPr>
            <p:grpSpPr>
              <a:xfrm>
                <a:off x="400257" y="1836350"/>
                <a:ext cx="1027913" cy="535893"/>
                <a:chOff x="5023278" y="1566665"/>
                <a:chExt cx="1566427" cy="789475"/>
              </a:xfrm>
            </p:grpSpPr>
            <p:sp>
              <p:nvSpPr>
                <p:cNvPr id="2326" name="TextBox 2325">
                  <a:extLst>
                    <a:ext uri="{FF2B5EF4-FFF2-40B4-BE49-F238E27FC236}">
                      <a16:creationId xmlns:a16="http://schemas.microsoft.com/office/drawing/2014/main" id="{04B90091-0623-E024-62B9-739AEB8CBA73}"/>
                    </a:ext>
                  </a:extLst>
                </p:cNvPr>
                <p:cNvSpPr txBox="1"/>
                <p:nvPr/>
              </p:nvSpPr>
              <p:spPr>
                <a:xfrm>
                  <a:off x="5034254" y="1566665"/>
                  <a:ext cx="1125308" cy="13868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chemeClr val="bg1"/>
                      </a:solidFill>
                      <a:effectLst/>
                      <a:uLnTx/>
                      <a:uFillTx/>
                      <a:latin typeface="EYInterstate Light" panose="02000506000000020004" pitchFamily="2" charset="0"/>
                      <a:cs typeface="Arial" panose="020B0604020202020204" pitchFamily="34" charset="0"/>
                    </a:rPr>
                    <a:t>Strategy</a:t>
                  </a:r>
                </a:p>
              </p:txBody>
            </p:sp>
            <p:sp>
              <p:nvSpPr>
                <p:cNvPr id="2327" name="TextBox 2326">
                  <a:extLst>
                    <a:ext uri="{FF2B5EF4-FFF2-40B4-BE49-F238E27FC236}">
                      <a16:creationId xmlns:a16="http://schemas.microsoft.com/office/drawing/2014/main" id="{EE0E959B-E615-EACB-26C7-11B8CB9459DA}"/>
                    </a:ext>
                  </a:extLst>
                </p:cNvPr>
                <p:cNvSpPr txBox="1"/>
                <p:nvPr/>
              </p:nvSpPr>
              <p:spPr>
                <a:xfrm>
                  <a:off x="5023278" y="1801399"/>
                  <a:ext cx="1566427" cy="554741"/>
                </a:xfrm>
                <a:prstGeom prst="rect">
                  <a:avLst/>
                </a:prstGeom>
                <a:noFill/>
              </p:spPr>
              <p:txBody>
                <a:bodyPr wrap="square" lIns="0" tIns="0" rIns="0" bIns="0"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Loss of innovation capabiliti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0" cap="none" spc="0" normalizeH="0" baseline="0" noProof="0" dirty="0">
                      <a:ln>
                        <a:noFill/>
                      </a:ln>
                      <a:solidFill>
                        <a:schemeClr val="bg1"/>
                      </a:solidFill>
                      <a:effectLst/>
                      <a:uLnTx/>
                      <a:uFillTx/>
                      <a:latin typeface="EYInterstate Light" panose="02000506000000020004" pitchFamily="2" charset="0"/>
                    </a:rPr>
                    <a:t>Impact on strategic growth areas</a:t>
                  </a:r>
                </a:p>
              </p:txBody>
            </p:sp>
          </p:grpSp>
        </p:grpSp>
      </p:grpSp>
      <p:cxnSp>
        <p:nvCxnSpPr>
          <p:cNvPr id="2348" name="Straight Connector 2347">
            <a:extLst>
              <a:ext uri="{FF2B5EF4-FFF2-40B4-BE49-F238E27FC236}">
                <a16:creationId xmlns:a16="http://schemas.microsoft.com/office/drawing/2014/main" id="{CDFAA16B-FF2F-C9BD-8336-6C8BE7A3EA65}"/>
              </a:ext>
            </a:extLst>
          </p:cNvPr>
          <p:cNvCxnSpPr>
            <a:cxnSpLocks/>
          </p:cNvCxnSpPr>
          <p:nvPr/>
        </p:nvCxnSpPr>
        <p:spPr>
          <a:xfrm>
            <a:off x="5903590" y="1012658"/>
            <a:ext cx="0" cy="5035717"/>
          </a:xfrm>
          <a:prstGeom prst="line">
            <a:avLst/>
          </a:prstGeom>
          <a:noFill/>
          <a:ln w="28575" cap="flat" cmpd="sng" algn="ctr">
            <a:solidFill>
              <a:schemeClr val="bg1"/>
            </a:solidFill>
            <a:prstDash val="sysDash"/>
          </a:ln>
          <a:effectLst/>
        </p:spPr>
      </p:cxnSp>
      <p:sp>
        <p:nvSpPr>
          <p:cNvPr id="2349" name="Rectangle 2348">
            <a:extLst>
              <a:ext uri="{FF2B5EF4-FFF2-40B4-BE49-F238E27FC236}">
                <a16:creationId xmlns:a16="http://schemas.microsoft.com/office/drawing/2014/main" id="{80A9ADEE-8667-497E-ACDC-F70797A94D36}"/>
              </a:ext>
            </a:extLst>
          </p:cNvPr>
          <p:cNvSpPr/>
          <p:nvPr/>
        </p:nvSpPr>
        <p:spPr>
          <a:xfrm>
            <a:off x="6068174" y="1006271"/>
            <a:ext cx="5866645" cy="432048"/>
          </a:xfrm>
          <a:prstGeom prst="rect">
            <a:avLst/>
          </a:prstGeom>
          <a:solidFill>
            <a:sysClr val="window" lastClr="FFFFFF"/>
          </a:solidFill>
          <a:ln w="25400" cap="flat" cmpd="sng" algn="ctr">
            <a:solidFill>
              <a:srgbClr val="2C2C2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schemeClr val="bg2"/>
                </a:solidFill>
                <a:effectLst/>
                <a:uLnTx/>
                <a:uFillTx/>
                <a:latin typeface="EYInterstate Light" panose="02000506000000020004" pitchFamily="2" charset="0"/>
                <a:ea typeface="+mn-ea"/>
                <a:cs typeface="+mn-cs"/>
              </a:rPr>
              <a:t>The impact scales are defined quantitatively and qualitatively depending on the impact parameter</a:t>
            </a:r>
          </a:p>
        </p:txBody>
      </p:sp>
      <p:grpSp>
        <p:nvGrpSpPr>
          <p:cNvPr id="2350" name="Group 2349">
            <a:extLst>
              <a:ext uri="{FF2B5EF4-FFF2-40B4-BE49-F238E27FC236}">
                <a16:creationId xmlns:a16="http://schemas.microsoft.com/office/drawing/2014/main" id="{843EAAAD-8E3A-9B88-4713-6706A74854BC}"/>
              </a:ext>
            </a:extLst>
          </p:cNvPr>
          <p:cNvGrpSpPr/>
          <p:nvPr/>
        </p:nvGrpSpPr>
        <p:grpSpPr>
          <a:xfrm>
            <a:off x="6228820" y="1585143"/>
            <a:ext cx="5589404" cy="912153"/>
            <a:chOff x="5148064" y="1347614"/>
            <a:chExt cx="3837112" cy="648072"/>
          </a:xfrm>
        </p:grpSpPr>
        <p:grpSp>
          <p:nvGrpSpPr>
            <p:cNvPr id="2351" name="Group 2350">
              <a:extLst>
                <a:ext uri="{FF2B5EF4-FFF2-40B4-BE49-F238E27FC236}">
                  <a16:creationId xmlns:a16="http://schemas.microsoft.com/office/drawing/2014/main" id="{761053B4-6C2F-D646-9BF4-880660DD6937}"/>
                </a:ext>
              </a:extLst>
            </p:cNvPr>
            <p:cNvGrpSpPr/>
            <p:nvPr/>
          </p:nvGrpSpPr>
          <p:grpSpPr>
            <a:xfrm>
              <a:off x="5148064" y="1347614"/>
              <a:ext cx="3837112" cy="648072"/>
              <a:chOff x="457200" y="1425600"/>
              <a:chExt cx="8229600" cy="1117600"/>
            </a:xfrm>
          </p:grpSpPr>
          <p:sp>
            <p:nvSpPr>
              <p:cNvPr id="2357" name="Rectangle 71">
                <a:extLst>
                  <a:ext uri="{FF2B5EF4-FFF2-40B4-BE49-F238E27FC236}">
                    <a16:creationId xmlns:a16="http://schemas.microsoft.com/office/drawing/2014/main" id="{37B5C176-28E8-E824-A3DA-541D2A567212}"/>
                  </a:ext>
                </a:extLst>
              </p:cNvPr>
              <p:cNvSpPr/>
              <p:nvPr/>
            </p:nvSpPr>
            <p:spPr>
              <a:xfrm>
                <a:off x="6901812" y="1425600"/>
                <a:ext cx="1784988" cy="1117600"/>
              </a:xfrm>
              <a:custGeom>
                <a:avLst/>
                <a:gdLst/>
                <a:ahLst/>
                <a:cxnLst/>
                <a:rect l="l" t="t" r="r" b="b"/>
                <a:pathLst>
                  <a:path w="1784988" h="1117600">
                    <a:moveTo>
                      <a:pt x="0" y="0"/>
                    </a:moveTo>
                    <a:lnTo>
                      <a:pt x="1276480" y="0"/>
                    </a:lnTo>
                    <a:lnTo>
                      <a:pt x="1645288" y="0"/>
                    </a:lnTo>
                    <a:lnTo>
                      <a:pt x="1645920" y="0"/>
                    </a:lnTo>
                    <a:lnTo>
                      <a:pt x="1645920" y="1264"/>
                    </a:lnTo>
                    <a:lnTo>
                      <a:pt x="1784988" y="279400"/>
                    </a:lnTo>
                    <a:lnTo>
                      <a:pt x="1645920" y="557536"/>
                    </a:lnTo>
                    <a:lnTo>
                      <a:pt x="1645920" y="1117600"/>
                    </a:lnTo>
                    <a:lnTo>
                      <a:pt x="0" y="1117600"/>
                    </a:lnTo>
                    <a:close/>
                  </a:path>
                </a:pathLst>
              </a:custGeom>
              <a:solidFill>
                <a:srgbClr val="E64D23"/>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358" name="Rectangle 68">
                <a:extLst>
                  <a:ext uri="{FF2B5EF4-FFF2-40B4-BE49-F238E27FC236}">
                    <a16:creationId xmlns:a16="http://schemas.microsoft.com/office/drawing/2014/main" id="{F20D60D6-2D1F-B407-225D-CB4219F609B0}"/>
                  </a:ext>
                </a:extLst>
              </p:cNvPr>
              <p:cNvSpPr/>
              <p:nvPr/>
            </p:nvSpPr>
            <p:spPr>
              <a:xfrm>
                <a:off x="5290659" y="1425600"/>
                <a:ext cx="1784988" cy="1117600"/>
              </a:xfrm>
              <a:custGeom>
                <a:avLst/>
                <a:gdLst/>
                <a:ahLst/>
                <a:cxnLst/>
                <a:rect l="l" t="t" r="r" b="b"/>
                <a:pathLst>
                  <a:path w="1784988" h="1117600">
                    <a:moveTo>
                      <a:pt x="0" y="0"/>
                    </a:moveTo>
                    <a:lnTo>
                      <a:pt x="1276480" y="0"/>
                    </a:lnTo>
                    <a:lnTo>
                      <a:pt x="1645288" y="0"/>
                    </a:lnTo>
                    <a:lnTo>
                      <a:pt x="1645920" y="0"/>
                    </a:lnTo>
                    <a:lnTo>
                      <a:pt x="1645920" y="1264"/>
                    </a:lnTo>
                    <a:lnTo>
                      <a:pt x="1784988" y="279400"/>
                    </a:lnTo>
                    <a:lnTo>
                      <a:pt x="1645920" y="557536"/>
                    </a:lnTo>
                    <a:lnTo>
                      <a:pt x="1645920" y="1117600"/>
                    </a:lnTo>
                    <a:lnTo>
                      <a:pt x="0" y="1117600"/>
                    </a:lnTo>
                    <a:close/>
                  </a:path>
                </a:pathLst>
              </a:custGeom>
              <a:solidFill>
                <a:srgbClr val="E64D23">
                  <a:lumMod val="60000"/>
                  <a:lumOff val="4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359" name="Rectangle 62">
                <a:extLst>
                  <a:ext uri="{FF2B5EF4-FFF2-40B4-BE49-F238E27FC236}">
                    <a16:creationId xmlns:a16="http://schemas.microsoft.com/office/drawing/2014/main" id="{84321933-60EE-9C1B-2235-139E1E78EFF6}"/>
                  </a:ext>
                </a:extLst>
              </p:cNvPr>
              <p:cNvSpPr/>
              <p:nvPr/>
            </p:nvSpPr>
            <p:spPr>
              <a:xfrm>
                <a:off x="3679506" y="1425600"/>
                <a:ext cx="1784988" cy="1117600"/>
              </a:xfrm>
              <a:custGeom>
                <a:avLst/>
                <a:gdLst/>
                <a:ahLst/>
                <a:cxnLst/>
                <a:rect l="l" t="t" r="r" b="b"/>
                <a:pathLst>
                  <a:path w="1784988" h="1117600">
                    <a:moveTo>
                      <a:pt x="0" y="0"/>
                    </a:moveTo>
                    <a:lnTo>
                      <a:pt x="1276480" y="0"/>
                    </a:lnTo>
                    <a:lnTo>
                      <a:pt x="1645288" y="0"/>
                    </a:lnTo>
                    <a:lnTo>
                      <a:pt x="1645920" y="0"/>
                    </a:lnTo>
                    <a:lnTo>
                      <a:pt x="1645920" y="1264"/>
                    </a:lnTo>
                    <a:lnTo>
                      <a:pt x="1784988" y="279400"/>
                    </a:lnTo>
                    <a:lnTo>
                      <a:pt x="1645920" y="557536"/>
                    </a:lnTo>
                    <a:lnTo>
                      <a:pt x="1645920" y="1117600"/>
                    </a:lnTo>
                    <a:lnTo>
                      <a:pt x="0" y="1117600"/>
                    </a:lnTo>
                    <a:close/>
                  </a:path>
                </a:pathLst>
              </a:custGeom>
              <a:solidFill>
                <a:srgbClr val="FEB325">
                  <a:lumMod val="20000"/>
                  <a:lumOff val="8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360" name="Rectangle 58">
                <a:extLst>
                  <a:ext uri="{FF2B5EF4-FFF2-40B4-BE49-F238E27FC236}">
                    <a16:creationId xmlns:a16="http://schemas.microsoft.com/office/drawing/2014/main" id="{FC586249-F33C-ED4D-C8BD-2876AA9E2CFF}"/>
                  </a:ext>
                </a:extLst>
              </p:cNvPr>
              <p:cNvSpPr/>
              <p:nvPr/>
            </p:nvSpPr>
            <p:spPr>
              <a:xfrm>
                <a:off x="2068353" y="1425600"/>
                <a:ext cx="1784988" cy="1117600"/>
              </a:xfrm>
              <a:custGeom>
                <a:avLst/>
                <a:gdLst/>
                <a:ahLst/>
                <a:cxnLst/>
                <a:rect l="l" t="t" r="r" b="b"/>
                <a:pathLst>
                  <a:path w="1784988" h="1117600">
                    <a:moveTo>
                      <a:pt x="0" y="0"/>
                    </a:moveTo>
                    <a:lnTo>
                      <a:pt x="1276480" y="0"/>
                    </a:lnTo>
                    <a:lnTo>
                      <a:pt x="1645288" y="0"/>
                    </a:lnTo>
                    <a:lnTo>
                      <a:pt x="1645920" y="0"/>
                    </a:lnTo>
                    <a:lnTo>
                      <a:pt x="1645920" y="1264"/>
                    </a:lnTo>
                    <a:lnTo>
                      <a:pt x="1784988" y="279400"/>
                    </a:lnTo>
                    <a:lnTo>
                      <a:pt x="1645920" y="557536"/>
                    </a:lnTo>
                    <a:lnTo>
                      <a:pt x="1645920" y="1117600"/>
                    </a:lnTo>
                    <a:lnTo>
                      <a:pt x="0" y="1117600"/>
                    </a:lnTo>
                    <a:close/>
                  </a:path>
                </a:pathLst>
              </a:custGeom>
              <a:solidFill>
                <a:srgbClr val="9CCFF3">
                  <a:lumMod val="20000"/>
                  <a:lumOff val="8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361" name="Flowchart: Card 6">
                <a:extLst>
                  <a:ext uri="{FF2B5EF4-FFF2-40B4-BE49-F238E27FC236}">
                    <a16:creationId xmlns:a16="http://schemas.microsoft.com/office/drawing/2014/main" id="{8C31CAB8-16E0-2D40-7235-3F3F2012A847}"/>
                  </a:ext>
                </a:extLst>
              </p:cNvPr>
              <p:cNvSpPr/>
              <p:nvPr/>
            </p:nvSpPr>
            <p:spPr>
              <a:xfrm>
                <a:off x="457200" y="1425600"/>
                <a:ext cx="1784988" cy="1117600"/>
              </a:xfrm>
              <a:custGeom>
                <a:avLst/>
                <a:gdLst/>
                <a:ahLst/>
                <a:cxnLst/>
                <a:rect l="l" t="t" r="r" b="b"/>
                <a:pathLst>
                  <a:path w="1784988" h="1117600">
                    <a:moveTo>
                      <a:pt x="329184" y="0"/>
                    </a:moveTo>
                    <a:lnTo>
                      <a:pt x="1276480" y="0"/>
                    </a:lnTo>
                    <a:lnTo>
                      <a:pt x="1645288" y="0"/>
                    </a:lnTo>
                    <a:lnTo>
                      <a:pt x="1645920" y="0"/>
                    </a:lnTo>
                    <a:lnTo>
                      <a:pt x="1645920" y="1264"/>
                    </a:lnTo>
                    <a:lnTo>
                      <a:pt x="1784988" y="279400"/>
                    </a:lnTo>
                    <a:lnTo>
                      <a:pt x="1645920" y="557536"/>
                    </a:lnTo>
                    <a:lnTo>
                      <a:pt x="1645920" y="1117600"/>
                    </a:lnTo>
                    <a:lnTo>
                      <a:pt x="0" y="1117600"/>
                    </a:lnTo>
                    <a:lnTo>
                      <a:pt x="0" y="223520"/>
                    </a:lnTo>
                    <a:close/>
                  </a:path>
                </a:pathLst>
              </a:custGeom>
              <a:solidFill>
                <a:srgbClr val="92D05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2362" name="Hexagon 2361">
                <a:extLst>
                  <a:ext uri="{FF2B5EF4-FFF2-40B4-BE49-F238E27FC236}">
                    <a16:creationId xmlns:a16="http://schemas.microsoft.com/office/drawing/2014/main" id="{C936A832-D3E9-A987-4384-DF1FEE8C2F7C}"/>
                  </a:ext>
                </a:extLst>
              </p:cNvPr>
              <p:cNvSpPr/>
              <p:nvPr/>
            </p:nvSpPr>
            <p:spPr>
              <a:xfrm>
                <a:off x="1685925" y="1501800"/>
                <a:ext cx="467712" cy="456605"/>
              </a:xfrm>
              <a:prstGeom prst="hexagon">
                <a:avLst/>
              </a:prstGeom>
              <a:solidFill>
                <a:srgbClr val="58595B"/>
              </a:solid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1</a:t>
                </a:r>
              </a:p>
            </p:txBody>
          </p:sp>
          <p:sp>
            <p:nvSpPr>
              <p:cNvPr id="2363" name="Hexagon 2362">
                <a:extLst>
                  <a:ext uri="{FF2B5EF4-FFF2-40B4-BE49-F238E27FC236}">
                    <a16:creationId xmlns:a16="http://schemas.microsoft.com/office/drawing/2014/main" id="{7E15E696-8ED3-CE82-D7F3-A12C592D4B12}"/>
                  </a:ext>
                </a:extLst>
              </p:cNvPr>
              <p:cNvSpPr/>
              <p:nvPr/>
            </p:nvSpPr>
            <p:spPr>
              <a:xfrm>
                <a:off x="3295714" y="1501800"/>
                <a:ext cx="467712" cy="456605"/>
              </a:xfrm>
              <a:prstGeom prst="hexagon">
                <a:avLst/>
              </a:prstGeom>
              <a:solidFill>
                <a:srgbClr val="58595B"/>
              </a:solid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2</a:t>
                </a:r>
              </a:p>
            </p:txBody>
          </p:sp>
          <p:sp>
            <p:nvSpPr>
              <p:cNvPr id="2364" name="Hexagon 2363">
                <a:extLst>
                  <a:ext uri="{FF2B5EF4-FFF2-40B4-BE49-F238E27FC236}">
                    <a16:creationId xmlns:a16="http://schemas.microsoft.com/office/drawing/2014/main" id="{8B89A56F-227C-6538-61D5-AA78F4D75F6B}"/>
                  </a:ext>
                </a:extLst>
              </p:cNvPr>
              <p:cNvSpPr/>
              <p:nvPr/>
            </p:nvSpPr>
            <p:spPr>
              <a:xfrm>
                <a:off x="4908663" y="1501800"/>
                <a:ext cx="467712" cy="456605"/>
              </a:xfrm>
              <a:prstGeom prst="hexagon">
                <a:avLst/>
              </a:prstGeom>
              <a:solidFill>
                <a:srgbClr val="58595B"/>
              </a:solid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3</a:t>
                </a:r>
              </a:p>
            </p:txBody>
          </p:sp>
          <p:sp>
            <p:nvSpPr>
              <p:cNvPr id="2365" name="Hexagon 2364">
                <a:extLst>
                  <a:ext uri="{FF2B5EF4-FFF2-40B4-BE49-F238E27FC236}">
                    <a16:creationId xmlns:a16="http://schemas.microsoft.com/office/drawing/2014/main" id="{98480B64-FF13-748B-2818-CB4E49FD050D}"/>
                  </a:ext>
                </a:extLst>
              </p:cNvPr>
              <p:cNvSpPr/>
              <p:nvPr/>
            </p:nvSpPr>
            <p:spPr>
              <a:xfrm>
                <a:off x="6518388" y="1501800"/>
                <a:ext cx="467712" cy="456605"/>
              </a:xfrm>
              <a:prstGeom prst="hexagon">
                <a:avLst/>
              </a:prstGeom>
              <a:solidFill>
                <a:srgbClr val="58595B"/>
              </a:solid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4</a:t>
                </a:r>
              </a:p>
            </p:txBody>
          </p:sp>
          <p:sp>
            <p:nvSpPr>
              <p:cNvPr id="2366" name="Hexagon 2365">
                <a:extLst>
                  <a:ext uri="{FF2B5EF4-FFF2-40B4-BE49-F238E27FC236}">
                    <a16:creationId xmlns:a16="http://schemas.microsoft.com/office/drawing/2014/main" id="{15367B8B-A1FB-F9D3-E5AB-4B14095B518F}"/>
                  </a:ext>
                </a:extLst>
              </p:cNvPr>
              <p:cNvSpPr/>
              <p:nvPr/>
            </p:nvSpPr>
            <p:spPr>
              <a:xfrm>
                <a:off x="8131288" y="1501800"/>
                <a:ext cx="467712" cy="456605"/>
              </a:xfrm>
              <a:prstGeom prst="hexagon">
                <a:avLst/>
              </a:prstGeom>
              <a:solidFill>
                <a:srgbClr val="58595B"/>
              </a:solid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EYInterstate Light" panose="02000506000000020004" pitchFamily="2" charset="0"/>
                    <a:ea typeface="+mn-ea"/>
                    <a:cs typeface="+mn-cs"/>
                  </a:rPr>
                  <a:t>5</a:t>
                </a:r>
              </a:p>
            </p:txBody>
          </p:sp>
        </p:grpSp>
        <p:sp>
          <p:nvSpPr>
            <p:cNvPr id="2352" name="TextBox 2351">
              <a:extLst>
                <a:ext uri="{FF2B5EF4-FFF2-40B4-BE49-F238E27FC236}">
                  <a16:creationId xmlns:a16="http://schemas.microsoft.com/office/drawing/2014/main" id="{06E1B60A-7D81-33BE-9B55-BF5B41F2A398}"/>
                </a:ext>
              </a:extLst>
            </p:cNvPr>
            <p:cNvSpPr txBox="1"/>
            <p:nvPr/>
          </p:nvSpPr>
          <p:spPr>
            <a:xfrm>
              <a:off x="5220072" y="1563638"/>
              <a:ext cx="576064" cy="16400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schemeClr val="bg1"/>
                  </a:solidFill>
                  <a:effectLst/>
                  <a:uLnTx/>
                  <a:uFillTx/>
                  <a:latin typeface="EYInterstate Light" panose="02000506000000020004" pitchFamily="2" charset="0"/>
                </a:rPr>
                <a:t>Very low</a:t>
              </a:r>
            </a:p>
          </p:txBody>
        </p:sp>
        <p:sp>
          <p:nvSpPr>
            <p:cNvPr id="2353" name="TextBox 2352">
              <a:extLst>
                <a:ext uri="{FF2B5EF4-FFF2-40B4-BE49-F238E27FC236}">
                  <a16:creationId xmlns:a16="http://schemas.microsoft.com/office/drawing/2014/main" id="{B6B8575F-7E4A-7A11-D6FB-A406162FC961}"/>
                </a:ext>
              </a:extLst>
            </p:cNvPr>
            <p:cNvSpPr txBox="1"/>
            <p:nvPr/>
          </p:nvSpPr>
          <p:spPr>
            <a:xfrm>
              <a:off x="6012160" y="1562400"/>
              <a:ext cx="576064" cy="16400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schemeClr val="bg1"/>
                  </a:solidFill>
                  <a:effectLst/>
                  <a:uLnTx/>
                  <a:uFillTx/>
                  <a:latin typeface="EYInterstate Light" panose="02000506000000020004" pitchFamily="2" charset="0"/>
                </a:rPr>
                <a:t>Low</a:t>
              </a:r>
            </a:p>
          </p:txBody>
        </p:sp>
        <p:sp>
          <p:nvSpPr>
            <p:cNvPr id="2354" name="TextBox 2353">
              <a:extLst>
                <a:ext uri="{FF2B5EF4-FFF2-40B4-BE49-F238E27FC236}">
                  <a16:creationId xmlns:a16="http://schemas.microsoft.com/office/drawing/2014/main" id="{35196597-F977-76DF-CD67-52ED0FAD8145}"/>
                </a:ext>
              </a:extLst>
            </p:cNvPr>
            <p:cNvSpPr txBox="1"/>
            <p:nvPr/>
          </p:nvSpPr>
          <p:spPr>
            <a:xfrm>
              <a:off x="6653809" y="1562400"/>
              <a:ext cx="663919" cy="16400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schemeClr val="bg1"/>
                  </a:solidFill>
                  <a:effectLst/>
                  <a:uLnTx/>
                  <a:uFillTx/>
                  <a:latin typeface="EYInterstate Light" panose="02000506000000020004" pitchFamily="2" charset="0"/>
                </a:rPr>
                <a:t>Medium</a:t>
              </a:r>
            </a:p>
          </p:txBody>
        </p:sp>
        <p:sp>
          <p:nvSpPr>
            <p:cNvPr id="2355" name="TextBox 2354">
              <a:extLst>
                <a:ext uri="{FF2B5EF4-FFF2-40B4-BE49-F238E27FC236}">
                  <a16:creationId xmlns:a16="http://schemas.microsoft.com/office/drawing/2014/main" id="{C2FF01FC-C3FD-721E-9739-348EA7501E2F}"/>
                </a:ext>
              </a:extLst>
            </p:cNvPr>
            <p:cNvSpPr txBox="1"/>
            <p:nvPr/>
          </p:nvSpPr>
          <p:spPr>
            <a:xfrm>
              <a:off x="7452320" y="1562400"/>
              <a:ext cx="576064" cy="16400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schemeClr val="bg1"/>
                  </a:solidFill>
                  <a:effectLst/>
                  <a:uLnTx/>
                  <a:uFillTx/>
                  <a:latin typeface="EYInterstate Light" panose="02000506000000020004" pitchFamily="2" charset="0"/>
                </a:rPr>
                <a:t>High</a:t>
              </a:r>
            </a:p>
          </p:txBody>
        </p:sp>
        <p:sp>
          <p:nvSpPr>
            <p:cNvPr id="2356" name="TextBox 2355">
              <a:extLst>
                <a:ext uri="{FF2B5EF4-FFF2-40B4-BE49-F238E27FC236}">
                  <a16:creationId xmlns:a16="http://schemas.microsoft.com/office/drawing/2014/main" id="{F4520042-62D3-EC17-0048-CE5AC718258F}"/>
                </a:ext>
              </a:extLst>
            </p:cNvPr>
            <p:cNvSpPr txBox="1"/>
            <p:nvPr/>
          </p:nvSpPr>
          <p:spPr>
            <a:xfrm>
              <a:off x="8244408" y="1562400"/>
              <a:ext cx="648072" cy="16400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dirty="0">
                  <a:ln>
                    <a:noFill/>
                  </a:ln>
                  <a:solidFill>
                    <a:schemeClr val="bg1"/>
                  </a:solidFill>
                  <a:effectLst/>
                  <a:uLnTx/>
                  <a:uFillTx/>
                  <a:latin typeface="EYInterstate Light" panose="02000506000000020004" pitchFamily="2" charset="0"/>
                </a:rPr>
                <a:t>Very high</a:t>
              </a:r>
            </a:p>
          </p:txBody>
        </p:sp>
      </p:grpSp>
      <p:graphicFrame>
        <p:nvGraphicFramePr>
          <p:cNvPr id="2367" name="Table 20">
            <a:extLst>
              <a:ext uri="{FF2B5EF4-FFF2-40B4-BE49-F238E27FC236}">
                <a16:creationId xmlns:a16="http://schemas.microsoft.com/office/drawing/2014/main" id="{05594FCE-F8BD-74E2-6110-DA281949E4A5}"/>
              </a:ext>
            </a:extLst>
          </p:cNvPr>
          <p:cNvGraphicFramePr>
            <a:graphicFrameLocks noGrp="1"/>
          </p:cNvGraphicFramePr>
          <p:nvPr>
            <p:extLst>
              <p:ext uri="{D42A27DB-BD31-4B8C-83A1-F6EECF244321}">
                <p14:modId xmlns:p14="http://schemas.microsoft.com/office/powerpoint/2010/main" val="1316952129"/>
              </p:ext>
            </p:extLst>
          </p:nvPr>
        </p:nvGraphicFramePr>
        <p:xfrm>
          <a:off x="5940788" y="2305224"/>
          <a:ext cx="5994030" cy="3546504"/>
        </p:xfrm>
        <a:graphic>
          <a:graphicData uri="http://schemas.openxmlformats.org/drawingml/2006/table">
            <a:tbl>
              <a:tblPr firstRow="1" bandRow="1"/>
              <a:tblGrid>
                <a:gridCol w="461078">
                  <a:extLst>
                    <a:ext uri="{9D8B030D-6E8A-4147-A177-3AD203B41FA5}">
                      <a16:colId xmlns:a16="http://schemas.microsoft.com/office/drawing/2014/main" val="1888100865"/>
                    </a:ext>
                  </a:extLst>
                </a:gridCol>
                <a:gridCol w="1037427">
                  <a:extLst>
                    <a:ext uri="{9D8B030D-6E8A-4147-A177-3AD203B41FA5}">
                      <a16:colId xmlns:a16="http://schemas.microsoft.com/office/drawing/2014/main" val="4246698020"/>
                    </a:ext>
                  </a:extLst>
                </a:gridCol>
                <a:gridCol w="1152697">
                  <a:extLst>
                    <a:ext uri="{9D8B030D-6E8A-4147-A177-3AD203B41FA5}">
                      <a16:colId xmlns:a16="http://schemas.microsoft.com/office/drawing/2014/main" val="1207271017"/>
                    </a:ext>
                  </a:extLst>
                </a:gridCol>
                <a:gridCol w="1152697">
                  <a:extLst>
                    <a:ext uri="{9D8B030D-6E8A-4147-A177-3AD203B41FA5}">
                      <a16:colId xmlns:a16="http://schemas.microsoft.com/office/drawing/2014/main" val="1933719373"/>
                    </a:ext>
                  </a:extLst>
                </a:gridCol>
                <a:gridCol w="1037427">
                  <a:extLst>
                    <a:ext uri="{9D8B030D-6E8A-4147-A177-3AD203B41FA5}">
                      <a16:colId xmlns:a16="http://schemas.microsoft.com/office/drawing/2014/main" val="2999879093"/>
                    </a:ext>
                  </a:extLst>
                </a:gridCol>
                <a:gridCol w="1152704">
                  <a:extLst>
                    <a:ext uri="{9D8B030D-6E8A-4147-A177-3AD203B41FA5}">
                      <a16:colId xmlns:a16="http://schemas.microsoft.com/office/drawing/2014/main" val="3572569951"/>
                    </a:ext>
                  </a:extLst>
                </a:gridCol>
              </a:tblGrid>
              <a:tr h="534107">
                <a:tc rowSpan="2">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gn="ctr"/>
                      <a:r>
                        <a:rPr lang="en-IN" sz="900" b="1" dirty="0">
                          <a:latin typeface="EYInterstate Light" panose="02000506000000020004" pitchFamily="2" charset="0"/>
                        </a:rPr>
                        <a:t>Qualitative</a:t>
                      </a:r>
                    </a:p>
                  </a:txBody>
                  <a:tcPr vert="vert270">
                    <a:lnL w="12700" cmpd="sng">
                      <a:solidFill>
                        <a:srgbClr val="2C2C2D"/>
                      </a:solidFill>
                    </a:lnL>
                    <a:lnR w="12700" cmpd="sng">
                      <a:solidFill>
                        <a:srgbClr val="2C2C2D"/>
                      </a:solidFill>
                    </a:lnR>
                    <a:lnT w="12700" cmpd="sng">
                      <a:solidFill>
                        <a:srgbClr val="2C2C2D"/>
                      </a:solidFill>
                    </a:lnT>
                    <a:lnB w="12700" cmpd="sng">
                      <a:solidFill>
                        <a:srgbClr val="2C2C2D"/>
                      </a:solidFill>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kern="1200" dirty="0">
                          <a:solidFill>
                            <a:schemeClr val="tx1"/>
                          </a:solidFill>
                          <a:effectLst/>
                          <a:latin typeface="+mn-lt"/>
                          <a:ea typeface="+mn-ea"/>
                          <a:cs typeface="+mn-cs"/>
                        </a:rPr>
                        <a:t>No loss / impact</a:t>
                      </a:r>
                      <a:endParaRPr lang="en-IN" sz="1050" dirty="0">
                        <a:latin typeface="+mn-lt"/>
                      </a:endParaRPr>
                    </a:p>
                  </a:txBody>
                  <a:tcPr>
                    <a:lnL w="12700" cmpd="sng">
                      <a:solidFill>
                        <a:srgbClr val="2C2C2D"/>
                      </a:solidFill>
                    </a:lnL>
                    <a:lnR w="12700" cap="flat" cmpd="sng" algn="ctr">
                      <a:solidFill>
                        <a:srgbClr val="2C2C2D"/>
                      </a:solidFill>
                      <a:prstDash val="solid"/>
                      <a:round/>
                      <a:headEnd type="none" w="med" len="med"/>
                      <a:tailEnd type="none" w="med" len="med"/>
                    </a:lnR>
                    <a:lnT w="12700" cmpd="sng">
                      <a:solidFill>
                        <a:srgbClr val="2C2C2D"/>
                      </a:solidFill>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kern="1200" dirty="0">
                          <a:solidFill>
                            <a:schemeClr val="tx1"/>
                          </a:solidFill>
                          <a:effectLst/>
                          <a:latin typeface="+mn-lt"/>
                          <a:ea typeface="+mn-ea"/>
                          <a:cs typeface="+mn-cs"/>
                        </a:rPr>
                        <a:t>Minor loss / impact</a:t>
                      </a:r>
                      <a:endParaRPr lang="en-IN" sz="1050" dirty="0">
                        <a:latin typeface="+mn-lt"/>
                      </a:endParaRP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mpd="sng">
                      <a:solidFill>
                        <a:srgbClr val="2C2C2D"/>
                      </a:solidFill>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9CCFF3">
                        <a:lumMod val="20000"/>
                        <a:lumOff val="80000"/>
                      </a:srgbClr>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kern="1200" dirty="0">
                          <a:solidFill>
                            <a:schemeClr val="tx1"/>
                          </a:solidFill>
                          <a:effectLst/>
                          <a:latin typeface="+mn-lt"/>
                          <a:ea typeface="+mn-ea"/>
                          <a:cs typeface="+mn-cs"/>
                        </a:rPr>
                        <a:t>Moderate loss / impact</a:t>
                      </a:r>
                      <a:endParaRPr lang="en-IN" sz="1050" dirty="0">
                        <a:latin typeface="+mn-lt"/>
                      </a:endParaRP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mpd="sng">
                      <a:solidFill>
                        <a:srgbClr val="2C2C2D"/>
                      </a:solidFill>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FFF0D3"/>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kern="1200" dirty="0">
                          <a:solidFill>
                            <a:schemeClr val="tx1"/>
                          </a:solidFill>
                          <a:effectLst/>
                          <a:latin typeface="+mn-lt"/>
                          <a:ea typeface="+mn-ea"/>
                          <a:cs typeface="+mn-cs"/>
                        </a:rPr>
                        <a:t>Significant loss / impact</a:t>
                      </a:r>
                      <a:endParaRPr lang="en-IN" sz="1050" dirty="0">
                        <a:latin typeface="+mn-lt"/>
                      </a:endParaRP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mpd="sng">
                      <a:solidFill>
                        <a:srgbClr val="2C2C2D"/>
                      </a:solidFill>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F0947B"/>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kern="1200" dirty="0">
                          <a:solidFill>
                            <a:schemeClr val="tx1"/>
                          </a:solidFill>
                          <a:effectLst/>
                          <a:latin typeface="+mn-lt"/>
                          <a:ea typeface="+mn-ea"/>
                          <a:cs typeface="+mn-cs"/>
                        </a:rPr>
                        <a:t>Complete loss / impact</a:t>
                      </a:r>
                      <a:endParaRPr lang="en-IN" sz="1050" dirty="0">
                        <a:latin typeface="+mn-lt"/>
                      </a:endParaRPr>
                    </a:p>
                  </a:txBody>
                  <a:tcPr>
                    <a:lnL w="12700" cap="flat" cmpd="sng" algn="ctr">
                      <a:solidFill>
                        <a:srgbClr val="2C2C2D"/>
                      </a:solidFill>
                      <a:prstDash val="solid"/>
                      <a:round/>
                      <a:headEnd type="none" w="med" len="med"/>
                      <a:tailEnd type="none" w="med" len="med"/>
                    </a:lnL>
                    <a:lnR w="12700" cmpd="sng">
                      <a:solidFill>
                        <a:srgbClr val="2C2C2D"/>
                      </a:solidFill>
                    </a:lnR>
                    <a:lnT w="12700" cmpd="sng">
                      <a:solidFill>
                        <a:srgbClr val="2C2C2D"/>
                      </a:solidFill>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E64D23"/>
                    </a:solidFill>
                  </a:tcPr>
                </a:tc>
                <a:extLst>
                  <a:ext uri="{0D108BD9-81ED-4DB2-BD59-A6C34878D82A}">
                    <a16:rowId xmlns:a16="http://schemas.microsoft.com/office/drawing/2014/main" val="3698155008"/>
                  </a:ext>
                </a:extLst>
              </a:tr>
              <a:tr h="823088">
                <a:tc vMerge="1">
                  <a:txBody>
                    <a:bodyPr/>
                    <a:lstStyle/>
                    <a:p>
                      <a:endParaRPr lang="en-IN" sz="700" dirty="0"/>
                    </a:p>
                  </a:txBody>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No manual processing of data</a:t>
                      </a:r>
                    </a:p>
                  </a:txBody>
                  <a:tcPr>
                    <a:lnL w="12700" cmpd="sng">
                      <a:solidFill>
                        <a:srgbClr val="2C2C2D"/>
                      </a:solidFill>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2C2C2D"/>
                          </a:solidFill>
                          <a:effectLst/>
                          <a:uLnTx/>
                          <a:uFillTx/>
                          <a:latin typeface="+mn-lt"/>
                          <a:ea typeface="+mn-ea"/>
                          <a:cs typeface="+mn-cs"/>
                        </a:rPr>
                        <a:t>Limited manual processing of non-crucial data</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olid"/>
                      <a:round/>
                      <a:headEnd type="none" w="med" len="med"/>
                      <a:tailEnd type="none" w="med" len="med"/>
                    </a:lnB>
                    <a:lnTlToBr w="12700" cmpd="sng">
                      <a:noFill/>
                      <a:prstDash val="solid"/>
                    </a:lnTlToBr>
                    <a:lnBlToTr w="12700" cmpd="sng">
                      <a:noFill/>
                      <a:prstDash val="solid"/>
                    </a:lnBlToTr>
                    <a:solidFill>
                      <a:srgbClr val="9CCFF3">
                        <a:lumMod val="20000"/>
                        <a:lumOff val="80000"/>
                      </a:srgbClr>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2C2C2D"/>
                          </a:solidFill>
                          <a:effectLst/>
                          <a:uLnTx/>
                          <a:uFillTx/>
                          <a:latin typeface="+mn-lt"/>
                          <a:ea typeface="+mn-ea"/>
                          <a:cs typeface="+mn-cs"/>
                        </a:rPr>
                        <a:t>Manual processing of non-crucial data</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olid"/>
                      <a:round/>
                      <a:headEnd type="none" w="med" len="med"/>
                      <a:tailEnd type="none" w="med" len="med"/>
                    </a:lnB>
                    <a:lnTlToBr w="12700" cmpd="sng">
                      <a:noFill/>
                      <a:prstDash val="solid"/>
                    </a:lnTlToBr>
                    <a:lnBlToTr w="12700" cmpd="sng">
                      <a:noFill/>
                      <a:prstDash val="solid"/>
                    </a:lnBlToTr>
                    <a:solidFill>
                      <a:srgbClr val="FFF0D3"/>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2C2C2D"/>
                          </a:solidFill>
                          <a:effectLst/>
                          <a:uLnTx/>
                          <a:uFillTx/>
                          <a:latin typeface="+mn-lt"/>
                          <a:ea typeface="+mn-ea"/>
                          <a:cs typeface="+mn-cs"/>
                        </a:rPr>
                        <a:t>Manual processing of crucial data</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olid"/>
                      <a:round/>
                      <a:headEnd type="none" w="med" len="med"/>
                      <a:tailEnd type="none" w="med" len="med"/>
                    </a:lnB>
                    <a:lnTlToBr w="12700" cmpd="sng">
                      <a:noFill/>
                      <a:prstDash val="solid"/>
                    </a:lnTlToBr>
                    <a:lnBlToTr w="12700" cmpd="sng">
                      <a:noFill/>
                      <a:prstDash val="solid"/>
                    </a:lnBlToTr>
                    <a:solidFill>
                      <a:srgbClr val="F0947B"/>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2C2C2D"/>
                          </a:solidFill>
                          <a:effectLst/>
                          <a:uLnTx/>
                          <a:uFillTx/>
                          <a:latin typeface="+mn-lt"/>
                          <a:ea typeface="+mn-ea"/>
                          <a:cs typeface="+mn-cs"/>
                        </a:rPr>
                        <a:t>All data is manually processed</a:t>
                      </a:r>
                    </a:p>
                  </a:txBody>
                  <a:tcPr>
                    <a:lnL w="12700" cap="flat" cmpd="sng" algn="ctr">
                      <a:solidFill>
                        <a:srgbClr val="2C2C2D"/>
                      </a:solidFill>
                      <a:prstDash val="solid"/>
                      <a:round/>
                      <a:headEnd type="none" w="med" len="med"/>
                      <a:tailEnd type="none" w="med" len="med"/>
                    </a:lnL>
                    <a:lnR w="12700" cmpd="sng">
                      <a:solidFill>
                        <a:srgbClr val="2C2C2D"/>
                      </a:solidFill>
                    </a:lnR>
                    <a:lnT w="12700" cap="flat" cmpd="sng" algn="ctr">
                      <a:solidFill>
                        <a:srgbClr val="2C2C2D"/>
                      </a:solidFill>
                      <a:prstDash val="sysDot"/>
                      <a:round/>
                      <a:headEnd type="none" w="med" len="med"/>
                      <a:tailEnd type="none" w="med" len="med"/>
                    </a:lnT>
                    <a:lnB w="12700" cap="flat" cmpd="sng" algn="ctr">
                      <a:solidFill>
                        <a:srgbClr val="2C2C2D"/>
                      </a:solidFill>
                      <a:prstDash val="solid"/>
                      <a:round/>
                      <a:headEnd type="none" w="med" len="med"/>
                      <a:tailEnd type="none" w="med" len="med"/>
                    </a:lnB>
                    <a:lnTlToBr w="12700" cmpd="sng">
                      <a:noFill/>
                      <a:prstDash val="solid"/>
                    </a:lnTlToBr>
                    <a:lnBlToTr w="12700" cmpd="sng">
                      <a:noFill/>
                      <a:prstDash val="solid"/>
                    </a:lnBlToTr>
                    <a:solidFill>
                      <a:srgbClr val="E64D23"/>
                    </a:solidFill>
                  </a:tcPr>
                </a:tc>
                <a:extLst>
                  <a:ext uri="{0D108BD9-81ED-4DB2-BD59-A6C34878D82A}">
                    <a16:rowId xmlns:a16="http://schemas.microsoft.com/office/drawing/2014/main" val="4072898856"/>
                  </a:ext>
                </a:extLst>
              </a:tr>
              <a:tr h="409314">
                <a:tc rowSpan="4">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gn="ctr"/>
                      <a:r>
                        <a:rPr lang="en-IN" sz="900" b="1" dirty="0">
                          <a:latin typeface="EYInterstate Light" panose="02000506000000020004" pitchFamily="2" charset="0"/>
                        </a:rPr>
                        <a:t>Quantitative</a:t>
                      </a:r>
                    </a:p>
                  </a:txBody>
                  <a:tcPr vert="vert270">
                    <a:lnL w="12700" cmpd="sng">
                      <a:solidFill>
                        <a:srgbClr val="2C2C2D"/>
                      </a:solidFill>
                    </a:lnL>
                    <a:lnR w="12700" cmpd="sng">
                      <a:solidFill>
                        <a:srgbClr val="2C2C2D"/>
                      </a:solidFill>
                    </a:lnR>
                    <a:lnT w="12700" cmpd="sng">
                      <a:solidFill>
                        <a:srgbClr val="2C2C2D"/>
                      </a:solidFill>
                    </a:lnT>
                    <a:lnB w="12700" cmpd="sng">
                      <a:solidFill>
                        <a:srgbClr val="2C2C2D"/>
                      </a:solidFill>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0</a:t>
                      </a:r>
                    </a:p>
                  </a:txBody>
                  <a:tcPr>
                    <a:lnL w="12700" cmpd="sng">
                      <a:solidFill>
                        <a:srgbClr val="2C2C2D"/>
                      </a:solidFill>
                    </a:lnL>
                    <a:lnR w="12700" cap="flat" cmpd="sng" algn="ctr">
                      <a:solidFill>
                        <a:srgbClr val="2C2C2D"/>
                      </a:solidFill>
                      <a:prstDash val="solid"/>
                      <a:round/>
                      <a:headEnd type="none" w="med" len="med"/>
                      <a:tailEnd type="none" w="med" len="med"/>
                    </a:lnR>
                    <a:lnT w="12700" cap="flat" cmpd="sng" algn="ctr">
                      <a:solidFill>
                        <a:srgbClr val="2C2C2D"/>
                      </a:solidFill>
                      <a:prstDash val="solid"/>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kern="1200" dirty="0">
                          <a:solidFill>
                            <a:schemeClr val="tx1"/>
                          </a:solidFill>
                          <a:effectLst/>
                          <a:latin typeface="+mn-lt"/>
                          <a:ea typeface="+mn-ea"/>
                          <a:cs typeface="+mn-cs"/>
                        </a:rPr>
                        <a:t>$&lt;1m</a:t>
                      </a:r>
                      <a:endParaRPr lang="en-IN" sz="1050" dirty="0">
                        <a:latin typeface="+mn-lt"/>
                      </a:endParaRP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olid"/>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9CCFF3">
                        <a:lumMod val="20000"/>
                        <a:lumOff val="80000"/>
                      </a:srgbClr>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1m - 10m</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olid"/>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FFF0D3"/>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10m - 50m</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olid"/>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F0947B"/>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gt;$50m</a:t>
                      </a:r>
                    </a:p>
                  </a:txBody>
                  <a:tcPr>
                    <a:lnL w="12700" cap="flat" cmpd="sng" algn="ctr">
                      <a:solidFill>
                        <a:srgbClr val="2C2C2D"/>
                      </a:solidFill>
                      <a:prstDash val="solid"/>
                      <a:round/>
                      <a:headEnd type="none" w="med" len="med"/>
                      <a:tailEnd type="none" w="med" len="med"/>
                    </a:lnL>
                    <a:lnR w="12700" cmpd="sng">
                      <a:solidFill>
                        <a:srgbClr val="2C2C2D"/>
                      </a:solidFill>
                    </a:lnR>
                    <a:lnT w="12700" cap="flat" cmpd="sng" algn="ctr">
                      <a:solidFill>
                        <a:srgbClr val="2C2C2D"/>
                      </a:solidFill>
                      <a:prstDash val="solid"/>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E64D23"/>
                    </a:solidFill>
                  </a:tcPr>
                </a:tc>
                <a:extLst>
                  <a:ext uri="{0D108BD9-81ED-4DB2-BD59-A6C34878D82A}">
                    <a16:rowId xmlns:a16="http://schemas.microsoft.com/office/drawing/2014/main" val="3956189444"/>
                  </a:ext>
                </a:extLst>
              </a:tr>
              <a:tr h="409314">
                <a:tc vMerge="1">
                  <a:txBody>
                    <a:bodyPr/>
                    <a:lstStyle/>
                    <a:p>
                      <a:endParaRPr lang="en-IN" sz="700" dirty="0"/>
                    </a:p>
                  </a:txBody>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N/A</a:t>
                      </a:r>
                    </a:p>
                  </a:txBody>
                  <a:tcPr>
                    <a:lnL w="12700" cmpd="sng">
                      <a:solidFill>
                        <a:srgbClr val="2C2C2D"/>
                      </a:solidFill>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One country</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9CCFF3">
                        <a:lumMod val="20000"/>
                        <a:lumOff val="80000"/>
                      </a:srgbClr>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Two countries</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FFF0D3"/>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One region</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F0947B"/>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Two or more regions</a:t>
                      </a:r>
                    </a:p>
                  </a:txBody>
                  <a:tcPr>
                    <a:lnL w="12700" cap="flat" cmpd="sng" algn="ctr">
                      <a:solidFill>
                        <a:srgbClr val="2C2C2D"/>
                      </a:solidFill>
                      <a:prstDash val="solid"/>
                      <a:round/>
                      <a:headEnd type="none" w="med" len="med"/>
                      <a:tailEnd type="none" w="med" len="med"/>
                    </a:lnL>
                    <a:lnR w="12700" cmpd="sng">
                      <a:solidFill>
                        <a:srgbClr val="2C2C2D"/>
                      </a:solidFill>
                    </a:lnR>
                    <a:lnT w="12700" cap="flat" cmpd="sng" algn="ctr">
                      <a:solidFill>
                        <a:srgbClr val="2C2C2D"/>
                      </a:solidFill>
                      <a:prstDash val="sysDot"/>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E64D23"/>
                    </a:solidFill>
                  </a:tcPr>
                </a:tc>
                <a:extLst>
                  <a:ext uri="{0D108BD9-81ED-4DB2-BD59-A6C34878D82A}">
                    <a16:rowId xmlns:a16="http://schemas.microsoft.com/office/drawing/2014/main" val="1170554956"/>
                  </a:ext>
                </a:extLst>
              </a:tr>
              <a:tr h="409314">
                <a:tc vMerge="1">
                  <a:txBody>
                    <a:bodyPr/>
                    <a:lstStyle/>
                    <a:p>
                      <a:endParaRPr lang="en-IN" sz="700" dirty="0"/>
                    </a:p>
                  </a:txBody>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N/A</a:t>
                      </a:r>
                    </a:p>
                  </a:txBody>
                  <a:tcPr>
                    <a:lnL w="12700" cmpd="sng">
                      <a:solidFill>
                        <a:srgbClr val="2C2C2D"/>
                      </a:solidFill>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8 hours</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9CCFF3">
                        <a:lumMod val="20000"/>
                        <a:lumOff val="80000"/>
                      </a:srgbClr>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24 hours</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FFF0D3"/>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3 days</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F0947B"/>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1 week</a:t>
                      </a:r>
                    </a:p>
                  </a:txBody>
                  <a:tcPr>
                    <a:lnL w="12700" cap="flat" cmpd="sng" algn="ctr">
                      <a:solidFill>
                        <a:srgbClr val="2C2C2D"/>
                      </a:solidFill>
                      <a:prstDash val="solid"/>
                      <a:round/>
                      <a:headEnd type="none" w="med" len="med"/>
                      <a:tailEnd type="none" w="med" len="med"/>
                    </a:lnL>
                    <a:lnR w="12700" cmpd="sng">
                      <a:solidFill>
                        <a:srgbClr val="2C2C2D"/>
                      </a:solidFill>
                    </a:lnR>
                    <a:lnT w="12700" cap="flat" cmpd="sng" algn="ctr">
                      <a:solidFill>
                        <a:srgbClr val="2C2C2D"/>
                      </a:solidFill>
                      <a:prstDash val="sysDot"/>
                      <a:round/>
                      <a:headEnd type="none" w="med" len="med"/>
                      <a:tailEnd type="none" w="med" len="med"/>
                    </a:lnT>
                    <a:lnB w="12700" cap="flat" cmpd="sng" algn="ctr">
                      <a:solidFill>
                        <a:srgbClr val="2C2C2D"/>
                      </a:solidFill>
                      <a:prstDash val="sysDot"/>
                      <a:round/>
                      <a:headEnd type="none" w="med" len="med"/>
                      <a:tailEnd type="none" w="med" len="med"/>
                    </a:lnB>
                    <a:lnTlToBr w="12700" cmpd="sng">
                      <a:noFill/>
                      <a:prstDash val="solid"/>
                    </a:lnTlToBr>
                    <a:lnBlToTr w="12700" cmpd="sng">
                      <a:noFill/>
                      <a:prstDash val="solid"/>
                    </a:lnBlToTr>
                    <a:solidFill>
                      <a:srgbClr val="E64D23"/>
                    </a:solidFill>
                  </a:tcPr>
                </a:tc>
                <a:extLst>
                  <a:ext uri="{0D108BD9-81ED-4DB2-BD59-A6C34878D82A}">
                    <a16:rowId xmlns:a16="http://schemas.microsoft.com/office/drawing/2014/main" val="551450849"/>
                  </a:ext>
                </a:extLst>
              </a:tr>
              <a:tr h="961367">
                <a:tc vMerge="1">
                  <a:txBody>
                    <a:bodyPr/>
                    <a:lstStyle/>
                    <a:p>
                      <a:endParaRPr lang="en-IN" sz="600" dirty="0"/>
                    </a:p>
                  </a:txBody>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kern="1200" dirty="0">
                          <a:solidFill>
                            <a:schemeClr val="tx1"/>
                          </a:solidFill>
                          <a:effectLst/>
                          <a:latin typeface="+mn-lt"/>
                          <a:ea typeface="+mn-ea"/>
                          <a:cs typeface="+mn-cs"/>
                        </a:rPr>
                        <a:t>No loss</a:t>
                      </a:r>
                      <a:endParaRPr lang="en-IN" sz="1050" dirty="0">
                        <a:latin typeface="+mn-lt"/>
                      </a:endParaRPr>
                    </a:p>
                  </a:txBody>
                  <a:tcPr>
                    <a:lnL w="12700" cmpd="sng">
                      <a:solidFill>
                        <a:srgbClr val="2C2C2D"/>
                      </a:solidFill>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mpd="sng">
                      <a:solidFill>
                        <a:srgbClr val="2C2C2D"/>
                      </a:solidFill>
                    </a:lnB>
                    <a:lnTlToBr w="12700" cmpd="sng">
                      <a:noFill/>
                      <a:prstDash val="solid"/>
                    </a:lnTlToBr>
                    <a:lnBlToTr w="12700" cmpd="sng">
                      <a:noFill/>
                      <a:prstDash val="solid"/>
                    </a:lnBlToTr>
                    <a:solidFill>
                      <a:srgbClr val="92D050"/>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1 staff with light injuries</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mpd="sng">
                      <a:solidFill>
                        <a:srgbClr val="2C2C2D"/>
                      </a:solidFill>
                    </a:lnB>
                    <a:lnTlToBr w="12700" cmpd="sng">
                      <a:noFill/>
                      <a:prstDash val="solid"/>
                    </a:lnTlToBr>
                    <a:lnBlToTr w="12700" cmpd="sng">
                      <a:noFill/>
                      <a:prstDash val="solid"/>
                    </a:lnBlToTr>
                    <a:solidFill>
                      <a:srgbClr val="9CCFF3">
                        <a:lumMod val="20000"/>
                        <a:lumOff val="80000"/>
                      </a:srgbClr>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2-5 staff with light injuries</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mpd="sng">
                      <a:solidFill>
                        <a:srgbClr val="2C2C2D"/>
                      </a:solidFill>
                    </a:lnB>
                    <a:lnTlToBr w="12700" cmpd="sng">
                      <a:noFill/>
                      <a:prstDash val="solid"/>
                    </a:lnTlToBr>
                    <a:lnBlToTr w="12700" cmpd="sng">
                      <a:noFill/>
                      <a:prstDash val="solid"/>
                    </a:lnBlToTr>
                    <a:solidFill>
                      <a:srgbClr val="FFF0D3"/>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1 staff with significant injuries or more than 5 staff with light injuries</a:t>
                      </a:r>
                    </a:p>
                  </a:txBody>
                  <a:tcPr>
                    <a:lnL w="12700" cap="flat" cmpd="sng" algn="ctr">
                      <a:solidFill>
                        <a:srgbClr val="2C2C2D"/>
                      </a:solidFill>
                      <a:prstDash val="solid"/>
                      <a:round/>
                      <a:headEnd type="none" w="med" len="med"/>
                      <a:tailEnd type="none" w="med" len="med"/>
                    </a:lnL>
                    <a:lnR w="12700" cap="flat" cmpd="sng" algn="ctr">
                      <a:solidFill>
                        <a:srgbClr val="2C2C2D"/>
                      </a:solidFill>
                      <a:prstDash val="solid"/>
                      <a:round/>
                      <a:headEnd type="none" w="med" len="med"/>
                      <a:tailEnd type="none" w="med" len="med"/>
                    </a:lnR>
                    <a:lnT w="12700" cap="flat" cmpd="sng" algn="ctr">
                      <a:solidFill>
                        <a:srgbClr val="2C2C2D"/>
                      </a:solidFill>
                      <a:prstDash val="sysDot"/>
                      <a:round/>
                      <a:headEnd type="none" w="med" len="med"/>
                      <a:tailEnd type="none" w="med" len="med"/>
                    </a:lnT>
                    <a:lnB w="12700" cmpd="sng">
                      <a:solidFill>
                        <a:srgbClr val="2C2C2D"/>
                      </a:solidFill>
                    </a:lnB>
                    <a:lnTlToBr w="12700" cmpd="sng">
                      <a:noFill/>
                      <a:prstDash val="solid"/>
                    </a:lnTlToBr>
                    <a:lnBlToTr w="12700" cmpd="sng">
                      <a:noFill/>
                      <a:prstDash val="solid"/>
                    </a:lnBlToTr>
                    <a:solidFill>
                      <a:srgbClr val="F0947B"/>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a:lnSpc>
                          <a:spcPct val="90000"/>
                        </a:lnSpc>
                      </a:pPr>
                      <a:r>
                        <a:rPr lang="en-IN" sz="1050" dirty="0">
                          <a:latin typeface="+mn-lt"/>
                        </a:rPr>
                        <a:t>More than 1 staff with significant injuries or 1 death</a:t>
                      </a:r>
                    </a:p>
                  </a:txBody>
                  <a:tcPr>
                    <a:lnL w="12700" cap="flat" cmpd="sng" algn="ctr">
                      <a:solidFill>
                        <a:srgbClr val="2C2C2D"/>
                      </a:solidFill>
                      <a:prstDash val="solid"/>
                      <a:round/>
                      <a:headEnd type="none" w="med" len="med"/>
                      <a:tailEnd type="none" w="med" len="med"/>
                    </a:lnL>
                    <a:lnR w="12700" cmpd="sng">
                      <a:solidFill>
                        <a:srgbClr val="2C2C2D"/>
                      </a:solidFill>
                    </a:lnR>
                    <a:lnT w="12700" cap="flat" cmpd="sng" algn="ctr">
                      <a:solidFill>
                        <a:srgbClr val="2C2C2D"/>
                      </a:solidFill>
                      <a:prstDash val="sysDot"/>
                      <a:round/>
                      <a:headEnd type="none" w="med" len="med"/>
                      <a:tailEnd type="none" w="med" len="med"/>
                    </a:lnT>
                    <a:lnB w="12700" cmpd="sng">
                      <a:solidFill>
                        <a:srgbClr val="2C2C2D"/>
                      </a:solidFill>
                    </a:lnB>
                    <a:lnTlToBr w="12700" cmpd="sng">
                      <a:noFill/>
                      <a:prstDash val="solid"/>
                    </a:lnTlToBr>
                    <a:lnBlToTr w="12700" cmpd="sng">
                      <a:noFill/>
                      <a:prstDash val="solid"/>
                    </a:lnBlToTr>
                    <a:solidFill>
                      <a:srgbClr val="E64D23"/>
                    </a:solidFill>
                  </a:tcPr>
                </a:tc>
                <a:extLst>
                  <a:ext uri="{0D108BD9-81ED-4DB2-BD59-A6C34878D82A}">
                    <a16:rowId xmlns:a16="http://schemas.microsoft.com/office/drawing/2014/main" val="2651810316"/>
                  </a:ext>
                </a:extLst>
              </a:tr>
            </a:tbl>
          </a:graphicData>
        </a:graphic>
      </p:graphicFrame>
      <p:sp>
        <p:nvSpPr>
          <p:cNvPr id="2368" name="TextBox 2367">
            <a:extLst>
              <a:ext uri="{FF2B5EF4-FFF2-40B4-BE49-F238E27FC236}">
                <a16:creationId xmlns:a16="http://schemas.microsoft.com/office/drawing/2014/main" id="{5E7E67BE-6787-0E20-9594-EDBA18BDAE62}"/>
              </a:ext>
            </a:extLst>
          </p:cNvPr>
          <p:cNvSpPr txBox="1"/>
          <p:nvPr/>
        </p:nvSpPr>
        <p:spPr>
          <a:xfrm>
            <a:off x="72369" y="5940173"/>
            <a:ext cx="8761288" cy="230832"/>
          </a:xfrm>
          <a:prstGeom prst="rect">
            <a:avLst/>
          </a:prstGeom>
          <a:noFill/>
          <a:ln>
            <a:solidFill>
              <a:srgbClr val="2C2C2D"/>
            </a:solidFill>
            <a:prstDash val="sysDot"/>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chemeClr val="bg1"/>
                </a:solidFill>
                <a:effectLst/>
                <a:uLnTx/>
                <a:uFillTx/>
                <a:latin typeface="EYInterstate Light" panose="02000506000000020004" pitchFamily="2" charset="0"/>
              </a:rPr>
              <a:t>Please refer to section ‘Annexure’ for the complete risk framework </a:t>
            </a:r>
          </a:p>
        </p:txBody>
      </p:sp>
    </p:spTree>
    <p:extLst>
      <p:ext uri="{BB962C8B-B14F-4D97-AF65-F5344CB8AC3E}">
        <p14:creationId xmlns:p14="http://schemas.microsoft.com/office/powerpoint/2010/main" val="1113685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F09EF4-86D6-9E03-B2A5-F97B5B5F14FD}"/>
              </a:ext>
            </a:extLst>
          </p:cNvPr>
          <p:cNvSpPr txBox="1"/>
          <p:nvPr/>
        </p:nvSpPr>
        <p:spPr>
          <a:xfrm>
            <a:off x="609599" y="147456"/>
            <a:ext cx="10972802" cy="50783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3600" b="0" i="0" u="none" strike="noStrike" kern="1200" cap="none" spc="0" normalizeH="0" baseline="0" noProof="0" dirty="0">
                <a:ln>
                  <a:noFill/>
                </a:ln>
                <a:solidFill>
                  <a:prstClr val="white"/>
                </a:solidFill>
                <a:effectLst/>
                <a:uLnTx/>
                <a:uFillTx/>
                <a:latin typeface="EYInterstate Light"/>
                <a:ea typeface="+mn-ea"/>
                <a:cs typeface="+mn-cs"/>
              </a:rPr>
              <a:t>Definitions: BIA Areas</a:t>
            </a:r>
          </a:p>
        </p:txBody>
      </p:sp>
      <p:sp>
        <p:nvSpPr>
          <p:cNvPr id="2306" name="Rectangle 2305">
            <a:extLst>
              <a:ext uri="{FF2B5EF4-FFF2-40B4-BE49-F238E27FC236}">
                <a16:creationId xmlns:a16="http://schemas.microsoft.com/office/drawing/2014/main" id="{3BA86FC9-6C24-5BB5-1BD6-0013862A6D40}"/>
              </a:ext>
            </a:extLst>
          </p:cNvPr>
          <p:cNvSpPr/>
          <p:nvPr/>
        </p:nvSpPr>
        <p:spPr>
          <a:xfrm>
            <a:off x="1140824" y="3708120"/>
            <a:ext cx="10659563" cy="2358060"/>
          </a:xfrm>
          <a:prstGeom prst="rect">
            <a:avLst/>
          </a:prstGeom>
          <a:solidFill>
            <a:srgbClr val="9CCFF3">
              <a:lumMod val="60000"/>
              <a:lumOff val="40000"/>
            </a:srgbClr>
          </a:solidFill>
          <a:ln w="25400" cap="flat" cmpd="sng" algn="ctr">
            <a:solidFill>
              <a:srgbClr val="1499DE">
                <a:shade val="50000"/>
              </a:srgbClr>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2C2C2D"/>
              </a:solidFill>
              <a:effectLst/>
              <a:uLnTx/>
              <a:uFillTx/>
              <a:latin typeface="EYInterstate Light" panose="02000506000000020004" pitchFamily="2" charset="0"/>
              <a:ea typeface="+mn-ea"/>
              <a:cs typeface="+mn-cs"/>
            </a:endParaRPr>
          </a:p>
        </p:txBody>
      </p:sp>
      <p:sp>
        <p:nvSpPr>
          <p:cNvPr id="2307" name="Rectangle 2306">
            <a:extLst>
              <a:ext uri="{FF2B5EF4-FFF2-40B4-BE49-F238E27FC236}">
                <a16:creationId xmlns:a16="http://schemas.microsoft.com/office/drawing/2014/main" id="{709C078A-ACC0-3F00-95BE-4E0667589307}"/>
              </a:ext>
            </a:extLst>
          </p:cNvPr>
          <p:cNvSpPr/>
          <p:nvPr/>
        </p:nvSpPr>
        <p:spPr>
          <a:xfrm>
            <a:off x="1140824" y="2081371"/>
            <a:ext cx="10659564" cy="1551723"/>
          </a:xfrm>
          <a:prstGeom prst="rect">
            <a:avLst/>
          </a:prstGeom>
          <a:solidFill>
            <a:srgbClr val="E64D23">
              <a:lumMod val="20000"/>
              <a:lumOff val="80000"/>
            </a:srgbClr>
          </a:solidFill>
          <a:ln w="25400" cap="flat" cmpd="sng" algn="ctr">
            <a:solidFill>
              <a:srgbClr val="E64D23">
                <a:shade val="50000"/>
              </a:srgbClr>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2C2C2D"/>
              </a:solidFill>
              <a:effectLst/>
              <a:uLnTx/>
              <a:uFillTx/>
              <a:latin typeface="EYInterstate Light" panose="02000506000000020004" pitchFamily="2" charset="0"/>
              <a:ea typeface="+mn-ea"/>
              <a:cs typeface="+mn-cs"/>
            </a:endParaRPr>
          </a:p>
        </p:txBody>
      </p:sp>
      <p:grpSp>
        <p:nvGrpSpPr>
          <p:cNvPr id="2308" name="Group 2307">
            <a:extLst>
              <a:ext uri="{FF2B5EF4-FFF2-40B4-BE49-F238E27FC236}">
                <a16:creationId xmlns:a16="http://schemas.microsoft.com/office/drawing/2014/main" id="{0B60214D-2831-0465-C690-08191E454C09}"/>
              </a:ext>
            </a:extLst>
          </p:cNvPr>
          <p:cNvGrpSpPr/>
          <p:nvPr/>
        </p:nvGrpSpPr>
        <p:grpSpPr>
          <a:xfrm>
            <a:off x="1140824" y="1039391"/>
            <a:ext cx="10559002" cy="5028033"/>
            <a:chOff x="19599" y="1425600"/>
            <a:chExt cx="8835013" cy="4621839"/>
          </a:xfrm>
        </p:grpSpPr>
        <p:cxnSp>
          <p:nvCxnSpPr>
            <p:cNvPr id="2309" name="Straight Connector 2308">
              <a:extLst>
                <a:ext uri="{FF2B5EF4-FFF2-40B4-BE49-F238E27FC236}">
                  <a16:creationId xmlns:a16="http://schemas.microsoft.com/office/drawing/2014/main" id="{E92A647C-5E27-5222-C758-936459EC3CC0}"/>
                </a:ext>
              </a:extLst>
            </p:cNvPr>
            <p:cNvCxnSpPr>
              <a:cxnSpLocks/>
            </p:cNvCxnSpPr>
            <p:nvPr/>
          </p:nvCxnSpPr>
          <p:spPr>
            <a:xfrm flipH="1">
              <a:off x="19599" y="2311974"/>
              <a:ext cx="8667201" cy="0"/>
            </a:xfrm>
            <a:prstGeom prst="line">
              <a:avLst/>
            </a:prstGeom>
            <a:noFill/>
            <a:ln w="19050" cap="flat" cmpd="sng" algn="ctr">
              <a:solidFill>
                <a:srgbClr val="808080"/>
              </a:solidFill>
              <a:prstDash val="solid"/>
              <a:tailEnd type="none"/>
            </a:ln>
            <a:effectLst/>
          </p:spPr>
        </p:cxnSp>
        <p:cxnSp>
          <p:nvCxnSpPr>
            <p:cNvPr id="2310" name="Straight Connector 2309">
              <a:extLst>
                <a:ext uri="{FF2B5EF4-FFF2-40B4-BE49-F238E27FC236}">
                  <a16:creationId xmlns:a16="http://schemas.microsoft.com/office/drawing/2014/main" id="{65472385-0340-B897-5BFC-E50C46FB87EA}"/>
                </a:ext>
              </a:extLst>
            </p:cNvPr>
            <p:cNvCxnSpPr/>
            <p:nvPr/>
          </p:nvCxnSpPr>
          <p:spPr>
            <a:xfrm rot="5400000">
              <a:off x="1925076" y="4228248"/>
              <a:ext cx="3638383" cy="0"/>
            </a:xfrm>
            <a:prstGeom prst="line">
              <a:avLst/>
            </a:prstGeom>
            <a:noFill/>
            <a:ln w="12700" cap="flat" cmpd="sng" algn="ctr">
              <a:solidFill>
                <a:srgbClr val="E64D23"/>
              </a:solidFill>
              <a:prstDash val="dash"/>
              <a:round/>
              <a:headEnd type="none" w="med" len="med"/>
              <a:tailEnd type="none" w="med" len="med"/>
            </a:ln>
            <a:effectLst/>
          </p:spPr>
        </p:cxnSp>
        <p:sp>
          <p:nvSpPr>
            <p:cNvPr id="2311" name="Rectangle 8">
              <a:extLst>
                <a:ext uri="{FF2B5EF4-FFF2-40B4-BE49-F238E27FC236}">
                  <a16:creationId xmlns:a16="http://schemas.microsoft.com/office/drawing/2014/main" id="{FCC045CD-41D3-4F5C-36EC-2E0556151DDD}"/>
                </a:ext>
              </a:extLst>
            </p:cNvPr>
            <p:cNvSpPr>
              <a:spLocks noChangeArrowheads="1"/>
            </p:cNvSpPr>
            <p:nvPr/>
          </p:nvSpPr>
          <p:spPr bwMode="auto">
            <a:xfrm>
              <a:off x="178337" y="2579882"/>
              <a:ext cx="1553379" cy="1095899"/>
            </a:xfrm>
            <a:prstGeom prst="homePlate">
              <a:avLst>
                <a:gd name="adj" fmla="val 17794"/>
              </a:avLst>
            </a:prstGeom>
            <a:solidFill>
              <a:sysClr val="window" lastClr="FFFFFF"/>
            </a:solidFill>
            <a:ln w="25400" cap="flat" cmpd="sng" algn="ctr">
              <a:solidFill>
                <a:srgbClr val="E78306"/>
              </a:solidFill>
              <a:prstDash val="solid"/>
            </a:ln>
            <a:effectLst/>
          </p:spPr>
          <p:txBody>
            <a:bodyPr lIns="34290" rIns="34290" anchor="ctr"/>
            <a:lstStyle>
              <a:lvl1pPr marL="114300" indent="-114300"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114300" marR="0" lvl="0" indent="-114300" algn="ctr" defTabSz="914400" eaLnBrk="0" fontAlgn="auto" latinLnBrk="0" hangingPunct="0">
                <a:lnSpc>
                  <a:spcPct val="100000"/>
                </a:lnSpc>
                <a:spcBef>
                  <a:spcPct val="30000"/>
                </a:spcBef>
                <a:spcAft>
                  <a:spcPts val="0"/>
                </a:spcAft>
                <a:buClr>
                  <a:srgbClr val="58595B"/>
                </a:buClr>
                <a:buSzTx/>
                <a:buFontTx/>
                <a:buNone/>
                <a:tabLst/>
                <a:defRPr/>
              </a:pPr>
              <a:endParaRPr kumimoji="0" lang="en-AU" altLang="en-US" sz="900" b="1" i="0" u="none" strike="noStrike" kern="0" cap="none" spc="0" normalizeH="0" baseline="0" noProof="0" dirty="0">
                <a:ln>
                  <a:noFill/>
                </a:ln>
                <a:solidFill>
                  <a:srgbClr val="2C2C2D"/>
                </a:solidFill>
                <a:effectLst/>
                <a:uLnTx/>
                <a:uFillTx/>
                <a:latin typeface="EYInterstate Light" panose="02000506000000020004" pitchFamily="2" charset="0"/>
                <a:ea typeface="+mn-ea"/>
                <a:cs typeface="+mn-cs"/>
              </a:endParaRPr>
            </a:p>
          </p:txBody>
        </p:sp>
        <p:sp>
          <p:nvSpPr>
            <p:cNvPr id="2312" name="Oval 2311">
              <a:extLst>
                <a:ext uri="{FF2B5EF4-FFF2-40B4-BE49-F238E27FC236}">
                  <a16:creationId xmlns:a16="http://schemas.microsoft.com/office/drawing/2014/main" id="{FC477880-C52A-F7EA-ED9C-79A2DA72BF9A}"/>
                </a:ext>
              </a:extLst>
            </p:cNvPr>
            <p:cNvSpPr/>
            <p:nvPr/>
          </p:nvSpPr>
          <p:spPr>
            <a:xfrm>
              <a:off x="551626" y="2624283"/>
              <a:ext cx="630958" cy="630958"/>
            </a:xfrm>
            <a:prstGeom prst="ellipse">
              <a:avLst/>
            </a:prstGeom>
            <a:solidFill>
              <a:sysClr val="window" lastClr="FFFFFF"/>
            </a:solidFill>
            <a:ln w="25400" cap="flat" cmpd="sng" algn="ctr">
              <a:solidFill>
                <a:srgbClr val="E78306"/>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dirty="0">
                <a:ln>
                  <a:noFill/>
                </a:ln>
                <a:solidFill>
                  <a:srgbClr val="2C2C2D"/>
                </a:solidFill>
                <a:effectLst/>
                <a:uLnTx/>
                <a:uFillTx/>
                <a:latin typeface="EYInterstate Light" panose="02000506000000020004" pitchFamily="2" charset="0"/>
                <a:ea typeface="+mn-ea"/>
                <a:cs typeface="+mn-cs"/>
              </a:endParaRPr>
            </a:p>
          </p:txBody>
        </p:sp>
        <p:sp>
          <p:nvSpPr>
            <p:cNvPr id="2313" name="TextBox 2312">
              <a:extLst>
                <a:ext uri="{FF2B5EF4-FFF2-40B4-BE49-F238E27FC236}">
                  <a16:creationId xmlns:a16="http://schemas.microsoft.com/office/drawing/2014/main" id="{9D33F97A-4D50-4D58-8E3F-026F72B966BE}"/>
                </a:ext>
              </a:extLst>
            </p:cNvPr>
            <p:cNvSpPr txBox="1"/>
            <p:nvPr/>
          </p:nvSpPr>
          <p:spPr>
            <a:xfrm>
              <a:off x="247778" y="3318634"/>
              <a:ext cx="1301338" cy="151712"/>
            </a:xfrm>
            <a:prstGeom prst="rect">
              <a:avLst/>
            </a:prstGeom>
            <a:noFill/>
          </p:spPr>
          <p:txBody>
            <a:bodyPr wrap="square" lIns="0" tIns="27432" rIns="0" bIns="0" rtlCol="0">
              <a:spAutoFit/>
            </a:bodyPr>
            <a:lstStyle/>
            <a:p>
              <a:pPr marL="0" marR="0" lvl="0" indent="0" algn="ctr" defTabSz="914400" eaLnBrk="1" fontAlgn="auto" latinLnBrk="0" hangingPunct="1">
                <a:lnSpc>
                  <a:spcPct val="85000"/>
                </a:lnSpc>
                <a:spcBef>
                  <a:spcPts val="0"/>
                </a:spcBef>
                <a:spcAft>
                  <a:spcPts val="450"/>
                </a:spcAft>
                <a:buClr>
                  <a:srgbClr val="E78306"/>
                </a:buClr>
                <a:buSzPct val="70000"/>
                <a:buFontTx/>
                <a:buNone/>
                <a:tabLst/>
                <a:defRPr/>
              </a:pPr>
              <a:r>
                <a:rPr kumimoji="0" lang="en-US" sz="1050" b="1" i="0" u="none" strike="noStrike" kern="0" cap="none" spc="0" normalizeH="0" baseline="0" noProof="0" dirty="0">
                  <a:ln>
                    <a:noFill/>
                  </a:ln>
                  <a:solidFill>
                    <a:srgbClr val="2C2C2D"/>
                  </a:solidFill>
                  <a:effectLst/>
                  <a:uLnTx/>
                  <a:uFillTx/>
                  <a:latin typeface="EYInterstate Light" panose="02000506000000020004" pitchFamily="2" charset="0"/>
                </a:rPr>
                <a:t>What it means?</a:t>
              </a:r>
            </a:p>
          </p:txBody>
        </p:sp>
        <p:sp>
          <p:nvSpPr>
            <p:cNvPr id="2314" name="Rectangle 8">
              <a:extLst>
                <a:ext uri="{FF2B5EF4-FFF2-40B4-BE49-F238E27FC236}">
                  <a16:creationId xmlns:a16="http://schemas.microsoft.com/office/drawing/2014/main" id="{03D762A6-E66F-89A3-CCA0-FFA583353B2C}"/>
                </a:ext>
              </a:extLst>
            </p:cNvPr>
            <p:cNvSpPr>
              <a:spLocks noChangeArrowheads="1"/>
            </p:cNvSpPr>
            <p:nvPr/>
          </p:nvSpPr>
          <p:spPr bwMode="auto">
            <a:xfrm>
              <a:off x="187035" y="4326904"/>
              <a:ext cx="1553379" cy="1095898"/>
            </a:xfrm>
            <a:prstGeom prst="homePlate">
              <a:avLst>
                <a:gd name="adj" fmla="val 17794"/>
              </a:avLst>
            </a:prstGeom>
            <a:solidFill>
              <a:sysClr val="window" lastClr="FFFFFF"/>
            </a:solidFill>
            <a:ln w="25400" cap="flat" cmpd="sng" algn="ctr">
              <a:solidFill>
                <a:srgbClr val="1499DE"/>
              </a:solidFill>
              <a:prstDash val="solid"/>
            </a:ln>
            <a:effectLst/>
          </p:spPr>
          <p:txBody>
            <a:bodyPr lIns="34290" rIns="34290" anchor="ctr"/>
            <a:lstStyle>
              <a:lvl1pPr marL="114300" indent="-114300"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114300" marR="0" lvl="0" indent="-114300" algn="ctr" defTabSz="914400" eaLnBrk="0" fontAlgn="auto" latinLnBrk="0" hangingPunct="0">
                <a:lnSpc>
                  <a:spcPct val="100000"/>
                </a:lnSpc>
                <a:spcBef>
                  <a:spcPct val="30000"/>
                </a:spcBef>
                <a:spcAft>
                  <a:spcPts val="0"/>
                </a:spcAft>
                <a:buClr>
                  <a:srgbClr val="58595B"/>
                </a:buClr>
                <a:buSzTx/>
                <a:buFontTx/>
                <a:buNone/>
                <a:tabLst/>
                <a:defRPr/>
              </a:pPr>
              <a:endParaRPr kumimoji="0" lang="en-AU" altLang="en-US" sz="900" b="1" i="0" u="none" strike="noStrike" kern="0" cap="none" spc="0" normalizeH="0" baseline="0" noProof="0" dirty="0">
                <a:ln>
                  <a:noFill/>
                </a:ln>
                <a:solidFill>
                  <a:srgbClr val="2C2C2D"/>
                </a:solidFill>
                <a:effectLst/>
                <a:uLnTx/>
                <a:uFillTx/>
                <a:latin typeface="EYInterstate Light" panose="02000506000000020004" pitchFamily="2" charset="0"/>
                <a:ea typeface="+mn-ea"/>
                <a:cs typeface="+mn-cs"/>
              </a:endParaRPr>
            </a:p>
          </p:txBody>
        </p:sp>
        <p:sp>
          <p:nvSpPr>
            <p:cNvPr id="2315" name="Oval 2314">
              <a:extLst>
                <a:ext uri="{FF2B5EF4-FFF2-40B4-BE49-F238E27FC236}">
                  <a16:creationId xmlns:a16="http://schemas.microsoft.com/office/drawing/2014/main" id="{4C6E17B8-BD37-DAA6-CE81-018081DAC4C4}"/>
                </a:ext>
              </a:extLst>
            </p:cNvPr>
            <p:cNvSpPr/>
            <p:nvPr/>
          </p:nvSpPr>
          <p:spPr>
            <a:xfrm>
              <a:off x="541506" y="4390279"/>
              <a:ext cx="630958" cy="630957"/>
            </a:xfrm>
            <a:prstGeom prst="ellipse">
              <a:avLst/>
            </a:prstGeom>
            <a:solidFill>
              <a:sysClr val="window" lastClr="FFFFFF"/>
            </a:solidFill>
            <a:ln w="25400" cap="flat" cmpd="sng" algn="ctr">
              <a:solidFill>
                <a:srgbClr val="1499DE"/>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dirty="0">
                <a:ln>
                  <a:noFill/>
                </a:ln>
                <a:solidFill>
                  <a:srgbClr val="2C2C2D"/>
                </a:solidFill>
                <a:effectLst/>
                <a:uLnTx/>
                <a:uFillTx/>
                <a:latin typeface="EYInterstate Light" panose="02000506000000020004" pitchFamily="2" charset="0"/>
                <a:ea typeface="+mn-ea"/>
                <a:cs typeface="+mn-cs"/>
              </a:endParaRPr>
            </a:p>
          </p:txBody>
        </p:sp>
        <p:sp>
          <p:nvSpPr>
            <p:cNvPr id="2316" name="TextBox 2315">
              <a:extLst>
                <a:ext uri="{FF2B5EF4-FFF2-40B4-BE49-F238E27FC236}">
                  <a16:creationId xmlns:a16="http://schemas.microsoft.com/office/drawing/2014/main" id="{D1E5BB24-6D1A-9288-1DCB-4BD324F8957F}"/>
                </a:ext>
              </a:extLst>
            </p:cNvPr>
            <p:cNvSpPr txBox="1"/>
            <p:nvPr/>
          </p:nvSpPr>
          <p:spPr>
            <a:xfrm>
              <a:off x="320171" y="5053539"/>
              <a:ext cx="1156551" cy="151712"/>
            </a:xfrm>
            <a:prstGeom prst="rect">
              <a:avLst/>
            </a:prstGeom>
            <a:noFill/>
          </p:spPr>
          <p:txBody>
            <a:bodyPr wrap="square" lIns="0" tIns="27432" rIns="0" bIns="0" rtlCol="0">
              <a:spAutoFit/>
            </a:bodyPr>
            <a:lstStyle/>
            <a:p>
              <a:pPr marL="0" marR="0" lvl="0" indent="0" algn="ctr" defTabSz="914400" eaLnBrk="1" fontAlgn="auto" latinLnBrk="0" hangingPunct="1">
                <a:lnSpc>
                  <a:spcPct val="85000"/>
                </a:lnSpc>
                <a:spcBef>
                  <a:spcPts val="0"/>
                </a:spcBef>
                <a:spcAft>
                  <a:spcPts val="450"/>
                </a:spcAft>
                <a:buClr>
                  <a:srgbClr val="E78306"/>
                </a:buClr>
                <a:buSzPct val="70000"/>
                <a:buFontTx/>
                <a:buNone/>
                <a:tabLst/>
                <a:defRPr/>
              </a:pPr>
              <a:r>
                <a:rPr kumimoji="0" lang="da-DK" sz="1050" b="1" i="0" u="none" strike="noStrike" kern="0" cap="none" spc="0" normalizeH="0" baseline="0" noProof="0" dirty="0">
                  <a:ln>
                    <a:noFill/>
                  </a:ln>
                  <a:solidFill>
                    <a:srgbClr val="2C2C2D"/>
                  </a:solidFill>
                  <a:effectLst/>
                  <a:uLnTx/>
                  <a:uFillTx/>
                  <a:latin typeface="EYInterstate Light" panose="02000506000000020004" pitchFamily="2" charset="0"/>
                </a:rPr>
                <a:t>Impact Criteria</a:t>
              </a:r>
            </a:p>
          </p:txBody>
        </p:sp>
        <p:sp>
          <p:nvSpPr>
            <p:cNvPr id="2369" name="Double Bracket 2368">
              <a:extLst>
                <a:ext uri="{FF2B5EF4-FFF2-40B4-BE49-F238E27FC236}">
                  <a16:creationId xmlns:a16="http://schemas.microsoft.com/office/drawing/2014/main" id="{0583505F-2865-246E-0379-E621F53D5932}"/>
                </a:ext>
              </a:extLst>
            </p:cNvPr>
            <p:cNvSpPr>
              <a:spLocks noChangeArrowheads="1"/>
            </p:cNvSpPr>
            <p:nvPr/>
          </p:nvSpPr>
          <p:spPr bwMode="auto">
            <a:xfrm>
              <a:off x="1918931" y="1425600"/>
              <a:ext cx="1741192" cy="640080"/>
            </a:xfrm>
            <a:prstGeom prst="bracketPair">
              <a:avLst>
                <a:gd name="adj" fmla="val 0"/>
              </a:avLst>
            </a:prstGeom>
            <a:solidFill>
              <a:srgbClr val="E78306"/>
            </a:solidFill>
            <a:ln w="19050">
              <a:solidFill>
                <a:srgbClr val="FFE600"/>
              </a:solidFill>
            </a:ln>
          </p:spPr>
          <p:txBody>
            <a:bodyPr lIns="34290" rIns="34290" anchor="ctr">
              <a:noAutofit/>
            </a:bodyPr>
            <a:lstStyle>
              <a:lvl1pPr marL="114300" indent="-114300"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0" marR="0" lvl="0" indent="0" algn="ctr" defTabSz="914400" eaLnBrk="0" fontAlgn="auto" latinLnBrk="0" hangingPunct="0">
                <a:lnSpc>
                  <a:spcPct val="100000"/>
                </a:lnSpc>
                <a:spcBef>
                  <a:spcPct val="30000"/>
                </a:spcBef>
                <a:spcAft>
                  <a:spcPts val="0"/>
                </a:spcAft>
                <a:buClr>
                  <a:srgbClr val="58595B"/>
                </a:buClr>
                <a:buSzTx/>
                <a:buFontTx/>
                <a:buNone/>
                <a:tabLst/>
                <a:defRPr/>
              </a:pPr>
              <a:r>
                <a:rPr kumimoji="0" lang="en-AU" altLang="en-US" sz="1200" b="1" i="0" u="none" strike="noStrike" kern="0" cap="none" spc="0" normalizeH="0" baseline="0" noProof="0" dirty="0">
                  <a:ln>
                    <a:noFill/>
                  </a:ln>
                  <a:solidFill>
                    <a:prstClr val="white"/>
                  </a:solidFill>
                  <a:effectLst/>
                  <a:uLnTx/>
                  <a:uFillTx/>
                  <a:latin typeface="EYInterstate Light" panose="02000506000000020004" pitchFamily="2" charset="0"/>
                </a:rPr>
                <a:t>Confidentiality</a:t>
              </a:r>
            </a:p>
          </p:txBody>
        </p:sp>
        <p:sp>
          <p:nvSpPr>
            <p:cNvPr id="2370" name="TextBox 2369">
              <a:extLst>
                <a:ext uri="{FF2B5EF4-FFF2-40B4-BE49-F238E27FC236}">
                  <a16:creationId xmlns:a16="http://schemas.microsoft.com/office/drawing/2014/main" id="{1FC1708B-CA71-E2B6-347B-5175DBE7894E}"/>
                </a:ext>
              </a:extLst>
            </p:cNvPr>
            <p:cNvSpPr txBox="1"/>
            <p:nvPr/>
          </p:nvSpPr>
          <p:spPr>
            <a:xfrm>
              <a:off x="1927539" y="2796770"/>
              <a:ext cx="1709468" cy="622407"/>
            </a:xfrm>
            <a:prstGeom prst="rect">
              <a:avLst/>
            </a:prstGeom>
            <a:noFill/>
          </p:spPr>
          <p:txBody>
            <a:bodyPr wrap="square" lIns="0" tIns="0" rIns="0" bIns="0" rtlCol="0">
              <a:spAutoFit/>
            </a:bodyPr>
            <a:lstStyle/>
            <a:p>
              <a:pPr marL="0" marR="0" lvl="0" indent="0" algn="just" defTabSz="914400" eaLnBrk="1" fontAlgn="auto" latinLnBrk="0" hangingPunct="1">
                <a:lnSpc>
                  <a:spcPct val="100000"/>
                </a:lnSpc>
                <a:spcBef>
                  <a:spcPts val="0"/>
                </a:spcBef>
                <a:spcAft>
                  <a:spcPts val="225"/>
                </a:spcAft>
                <a:buClr>
                  <a:srgbClr val="E78306"/>
                </a:buClr>
                <a:buSzPct val="70000"/>
                <a:buFontTx/>
                <a:buNone/>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Business impact if the data is disclosed to the unauthorized parties (or functions accessed by unauthorized parties)</a:t>
              </a:r>
              <a:r>
                <a:rPr kumimoji="0" lang="da-DK" sz="1100" b="0" i="0" u="none" strike="noStrike" kern="0" cap="none" spc="0" normalizeH="0" baseline="0" noProof="0" dirty="0">
                  <a:ln>
                    <a:noFill/>
                  </a:ln>
                  <a:solidFill>
                    <a:srgbClr val="808080"/>
                  </a:solidFill>
                  <a:effectLst/>
                  <a:uLnTx/>
                  <a:uFillTx/>
                  <a:latin typeface="EYInterstate Light" panose="02000506000000020004" pitchFamily="2" charset="0"/>
                </a:rPr>
                <a:t> </a:t>
              </a:r>
            </a:p>
          </p:txBody>
        </p:sp>
        <p:sp>
          <p:nvSpPr>
            <p:cNvPr id="2371" name="TextBox 2370">
              <a:extLst>
                <a:ext uri="{FF2B5EF4-FFF2-40B4-BE49-F238E27FC236}">
                  <a16:creationId xmlns:a16="http://schemas.microsoft.com/office/drawing/2014/main" id="{D8E3FC39-EE89-A457-34F7-B9A16105F077}"/>
                </a:ext>
              </a:extLst>
            </p:cNvPr>
            <p:cNvSpPr txBox="1"/>
            <p:nvPr/>
          </p:nvSpPr>
          <p:spPr>
            <a:xfrm>
              <a:off x="1918931" y="4081713"/>
              <a:ext cx="1713212" cy="1673899"/>
            </a:xfrm>
            <a:prstGeom prst="rect">
              <a:avLst/>
            </a:prstGeom>
            <a:noFill/>
          </p:spPr>
          <p:txBody>
            <a:bodyPr wrap="square" lIns="0" tIns="0" rIns="0" bIns="0" rtlCol="0">
              <a:spAutoFit/>
            </a:bodyPr>
            <a:lstStyle/>
            <a:p>
              <a:pPr marL="0" marR="0" lvl="0" indent="0" algn="just" defTabSz="914400" eaLnBrk="1" fontAlgn="auto" latinLnBrk="0" hangingPunct="1">
                <a:lnSpc>
                  <a:spcPct val="100000"/>
                </a:lnSpc>
                <a:spcBef>
                  <a:spcPts val="100"/>
                </a:spcBef>
                <a:spcAft>
                  <a:spcPts val="100"/>
                </a:spcAft>
                <a:buClrTx/>
                <a:buSzTx/>
                <a:buFontTx/>
                <a:buNone/>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Whether the data is disclosed to unauthorized parties like:</a:t>
              </a:r>
            </a:p>
            <a:p>
              <a:pPr marL="171450" marR="0" lvl="0" indent="-171450" algn="just" defTabSz="91440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Organisations employee - Same department</a:t>
              </a:r>
            </a:p>
            <a:p>
              <a:pPr marL="171450" marR="0" lvl="0" indent="-171450" defTabSz="91440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Organisations employee - Outside department </a:t>
              </a:r>
            </a:p>
            <a:p>
              <a:pPr marL="171450" marR="0" lvl="0" indent="-171450" defTabSz="91440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3rd party (i.e.. Customer / Supplier)</a:t>
              </a:r>
            </a:p>
            <a:p>
              <a:pPr marL="171450" marR="0" lvl="0" indent="-171450" defTabSz="91440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Competition </a:t>
              </a:r>
            </a:p>
            <a:p>
              <a:pPr marL="171450" marR="0" lvl="0" indent="-171450" defTabSz="91440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Public</a:t>
              </a:r>
            </a:p>
          </p:txBody>
        </p:sp>
        <p:sp>
          <p:nvSpPr>
            <p:cNvPr id="2372" name="Isosceles Triangle 2371">
              <a:extLst>
                <a:ext uri="{FF2B5EF4-FFF2-40B4-BE49-F238E27FC236}">
                  <a16:creationId xmlns:a16="http://schemas.microsoft.com/office/drawing/2014/main" id="{CAE62D73-225E-15FE-64FB-D07D66DDEC5C}"/>
                </a:ext>
              </a:extLst>
            </p:cNvPr>
            <p:cNvSpPr/>
            <p:nvPr/>
          </p:nvSpPr>
          <p:spPr>
            <a:xfrm flipV="1">
              <a:off x="1918931" y="2108197"/>
              <a:ext cx="1680538" cy="175344"/>
            </a:xfrm>
            <a:prstGeom prst="triangle">
              <a:avLst/>
            </a:prstGeom>
            <a:solidFill>
              <a:srgbClr val="E78306"/>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dirty="0">
                <a:ln>
                  <a:noFill/>
                </a:ln>
                <a:solidFill>
                  <a:srgbClr val="2C2C2D"/>
                </a:solidFill>
                <a:effectLst/>
                <a:uLnTx/>
                <a:uFillTx/>
                <a:latin typeface="EYInterstate Light" panose="02000506000000020004" pitchFamily="2" charset="0"/>
                <a:ea typeface="+mn-ea"/>
                <a:cs typeface="+mn-cs"/>
              </a:endParaRPr>
            </a:p>
          </p:txBody>
        </p:sp>
        <p:sp>
          <p:nvSpPr>
            <p:cNvPr id="2373" name="Rectangle 8">
              <a:extLst>
                <a:ext uri="{FF2B5EF4-FFF2-40B4-BE49-F238E27FC236}">
                  <a16:creationId xmlns:a16="http://schemas.microsoft.com/office/drawing/2014/main" id="{A6AD0D94-553F-5729-C487-45C055C99918}"/>
                </a:ext>
              </a:extLst>
            </p:cNvPr>
            <p:cNvSpPr>
              <a:spLocks noChangeArrowheads="1"/>
            </p:cNvSpPr>
            <p:nvPr/>
          </p:nvSpPr>
          <p:spPr bwMode="auto">
            <a:xfrm>
              <a:off x="3744267" y="1425600"/>
              <a:ext cx="1556473" cy="640080"/>
            </a:xfrm>
            <a:prstGeom prst="bracketPair">
              <a:avLst>
                <a:gd name="adj" fmla="val 0"/>
              </a:avLst>
            </a:prstGeom>
            <a:solidFill>
              <a:srgbClr val="E64D23"/>
            </a:solidFill>
            <a:ln w="19050">
              <a:solidFill>
                <a:srgbClr val="FFE600"/>
              </a:solidFill>
            </a:ln>
          </p:spPr>
          <p:txBody>
            <a:bodyPr lIns="34290" rIns="34290" anchor="ctr">
              <a:noAutofit/>
            </a:bodyPr>
            <a:lstStyle>
              <a:lvl1pPr marL="114300" indent="-114300"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114300" marR="0" lvl="0" indent="-114300" algn="ctr" defTabSz="914400" eaLnBrk="0" fontAlgn="auto" latinLnBrk="0" hangingPunct="0">
                <a:lnSpc>
                  <a:spcPct val="100000"/>
                </a:lnSpc>
                <a:spcBef>
                  <a:spcPct val="30000"/>
                </a:spcBef>
                <a:spcAft>
                  <a:spcPts val="0"/>
                </a:spcAft>
                <a:buClr>
                  <a:srgbClr val="58595B"/>
                </a:buClr>
                <a:buSzTx/>
                <a:buFontTx/>
                <a:buNone/>
                <a:tabLst/>
                <a:defRPr/>
              </a:pPr>
              <a:r>
                <a:rPr kumimoji="0" lang="en-AU" altLang="en-US" sz="1200" b="1" i="0" u="none" strike="noStrike" kern="0" cap="none" spc="0" normalizeH="0" baseline="0" noProof="0" dirty="0">
                  <a:ln>
                    <a:noFill/>
                  </a:ln>
                  <a:solidFill>
                    <a:prstClr val="white"/>
                  </a:solidFill>
                  <a:effectLst/>
                  <a:uLnTx/>
                  <a:uFillTx/>
                  <a:latin typeface="EYInterstate Light" panose="02000506000000020004" pitchFamily="2" charset="0"/>
                </a:rPr>
                <a:t>Integrity</a:t>
              </a:r>
            </a:p>
          </p:txBody>
        </p:sp>
        <p:sp>
          <p:nvSpPr>
            <p:cNvPr id="2374" name="TextBox 2373">
              <a:extLst>
                <a:ext uri="{FF2B5EF4-FFF2-40B4-BE49-F238E27FC236}">
                  <a16:creationId xmlns:a16="http://schemas.microsoft.com/office/drawing/2014/main" id="{08A1AE7C-7FD3-C163-DEB2-E9EC347239DD}"/>
                </a:ext>
              </a:extLst>
            </p:cNvPr>
            <p:cNvSpPr txBox="1"/>
            <p:nvPr/>
          </p:nvSpPr>
          <p:spPr>
            <a:xfrm>
              <a:off x="3970907" y="4081713"/>
              <a:ext cx="1310062" cy="809837"/>
            </a:xfrm>
            <a:prstGeom prst="rect">
              <a:avLst/>
            </a:prstGeom>
            <a:noFill/>
          </p:spPr>
          <p:txBody>
            <a:bodyPr wrap="square" lIns="0" tIns="0" rIns="0" bIns="0" rtlCol="0">
              <a:spAutoFit/>
            </a:bodyPr>
            <a:lstStyle/>
            <a:p>
              <a:pPr marL="0" marR="0" lvl="0" indent="0" algn="just" defTabSz="914400" eaLnBrk="1" fontAlgn="auto" latinLnBrk="0" hangingPunct="1">
                <a:lnSpc>
                  <a:spcPct val="95000"/>
                </a:lnSpc>
                <a:spcBef>
                  <a:spcPts val="100"/>
                </a:spcBef>
                <a:spcAft>
                  <a:spcPts val="100"/>
                </a:spcAft>
                <a:buClrTx/>
                <a:buSzTx/>
                <a:buFontTx/>
                <a:buNone/>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Whether the data is maintained:</a:t>
              </a:r>
            </a:p>
            <a:p>
              <a:pPr marL="171450" marR="0" lvl="0" indent="-171450" algn="just" defTabSz="914400" eaLnBrk="1" fontAlgn="auto" latinLnBrk="0" hangingPunct="1">
                <a:lnSpc>
                  <a:spcPct val="95000"/>
                </a:lnSpc>
                <a:spcBef>
                  <a:spcPts val="100"/>
                </a:spcBef>
                <a:spcAft>
                  <a:spcPts val="100"/>
                </a:spcAft>
                <a:buClrTx/>
                <a:buSzTx/>
                <a:buFont typeface="Arial" panose="020B0604020202020204" pitchFamily="34" charset="0"/>
                <a:buChar char="•"/>
                <a:tabLst/>
                <a:defRPr/>
              </a:pPr>
              <a:endPar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endParaRPr>
            </a:p>
            <a:p>
              <a:pPr marL="171450" marR="0" lvl="0" indent="-171450" algn="just" defTabSz="914400" eaLnBrk="1" fontAlgn="auto" latinLnBrk="0" hangingPunct="1">
                <a:lnSpc>
                  <a:spcPct val="95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Locally</a:t>
              </a:r>
            </a:p>
            <a:p>
              <a:pPr marL="171450" marR="0" lvl="0" indent="-171450" algn="just" defTabSz="914400" eaLnBrk="1" fontAlgn="auto" latinLnBrk="0" hangingPunct="1">
                <a:lnSpc>
                  <a:spcPct val="95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Centrall</a:t>
              </a:r>
              <a:r>
                <a:rPr kumimoji="0" lang="en-IN" sz="1050" b="0" i="0" u="none" strike="noStrike" kern="0" cap="none" spc="0" normalizeH="0" baseline="0" noProof="0" dirty="0">
                  <a:ln>
                    <a:noFill/>
                  </a:ln>
                  <a:solidFill>
                    <a:srgbClr val="2C2C2D"/>
                  </a:solidFill>
                  <a:effectLst/>
                  <a:uLnTx/>
                  <a:uFillTx/>
                  <a:latin typeface="EYInterstate Light" panose="02000506000000020004" pitchFamily="2" charset="0"/>
                </a:rPr>
                <a:t>y</a:t>
              </a:r>
              <a:r>
                <a:rPr kumimoji="0" lang="en-IN" sz="1050" b="0" i="0" u="none" strike="noStrike" kern="0" cap="none" spc="0" normalizeH="0" baseline="0" noProof="0" dirty="0">
                  <a:ln>
                    <a:noFill/>
                  </a:ln>
                  <a:solidFill>
                    <a:srgbClr val="808080"/>
                  </a:solidFill>
                  <a:effectLst/>
                  <a:uLnTx/>
                  <a:uFillTx/>
                  <a:latin typeface="EYInterstate Light" panose="02000506000000020004" pitchFamily="2" charset="0"/>
                </a:rPr>
                <a:t>, </a:t>
              </a:r>
            </a:p>
          </p:txBody>
        </p:sp>
        <p:sp>
          <p:nvSpPr>
            <p:cNvPr id="2375" name="Isosceles Triangle 2374">
              <a:extLst>
                <a:ext uri="{FF2B5EF4-FFF2-40B4-BE49-F238E27FC236}">
                  <a16:creationId xmlns:a16="http://schemas.microsoft.com/office/drawing/2014/main" id="{5E2266F3-DEEF-5884-D47A-BBDE38BA6E32}"/>
                </a:ext>
              </a:extLst>
            </p:cNvPr>
            <p:cNvSpPr/>
            <p:nvPr/>
          </p:nvSpPr>
          <p:spPr>
            <a:xfrm flipV="1">
              <a:off x="3764031" y="2102155"/>
              <a:ext cx="1556473" cy="175344"/>
            </a:xfrm>
            <a:prstGeom prst="triangle">
              <a:avLst/>
            </a:prstGeom>
            <a:solidFill>
              <a:srgbClr val="E64D23"/>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dirty="0">
                <a:ln>
                  <a:noFill/>
                </a:ln>
                <a:solidFill>
                  <a:srgbClr val="2C2C2D"/>
                </a:solidFill>
                <a:effectLst/>
                <a:uLnTx/>
                <a:uFillTx/>
                <a:latin typeface="EYInterstate Light" panose="02000506000000020004" pitchFamily="2" charset="0"/>
                <a:ea typeface="+mn-ea"/>
                <a:cs typeface="+mn-cs"/>
              </a:endParaRPr>
            </a:p>
          </p:txBody>
        </p:sp>
        <p:sp>
          <p:nvSpPr>
            <p:cNvPr id="2376" name="Double Bracket 2375">
              <a:extLst>
                <a:ext uri="{FF2B5EF4-FFF2-40B4-BE49-F238E27FC236}">
                  <a16:creationId xmlns:a16="http://schemas.microsoft.com/office/drawing/2014/main" id="{7BBAA56B-1E8F-B01C-9470-2A9BCE0AADB5}"/>
                </a:ext>
              </a:extLst>
            </p:cNvPr>
            <p:cNvSpPr>
              <a:spLocks noChangeArrowheads="1"/>
            </p:cNvSpPr>
            <p:nvPr/>
          </p:nvSpPr>
          <p:spPr bwMode="auto">
            <a:xfrm>
              <a:off x="5381619" y="1425600"/>
              <a:ext cx="1581432" cy="640080"/>
            </a:xfrm>
            <a:prstGeom prst="bracketPair">
              <a:avLst>
                <a:gd name="adj" fmla="val 0"/>
              </a:avLst>
            </a:prstGeom>
            <a:solidFill>
              <a:srgbClr val="1499DE"/>
            </a:solidFill>
            <a:ln w="19050">
              <a:solidFill>
                <a:srgbClr val="FFE600"/>
              </a:solidFill>
            </a:ln>
          </p:spPr>
          <p:txBody>
            <a:bodyPr lIns="34290" rIns="34290" anchor="ctr">
              <a:noAutofit/>
            </a:bodyPr>
            <a:lstStyle>
              <a:lvl1pPr marL="114300" indent="-114300"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114300" marR="0" lvl="0" indent="-114300" algn="ctr" defTabSz="914400" eaLnBrk="0" fontAlgn="auto" latinLnBrk="0" hangingPunct="0">
                <a:lnSpc>
                  <a:spcPct val="100000"/>
                </a:lnSpc>
                <a:spcBef>
                  <a:spcPct val="30000"/>
                </a:spcBef>
                <a:spcAft>
                  <a:spcPts val="0"/>
                </a:spcAft>
                <a:buClr>
                  <a:srgbClr val="58595B"/>
                </a:buClr>
                <a:buSzTx/>
                <a:buFontTx/>
                <a:buNone/>
                <a:tabLst/>
                <a:defRPr/>
              </a:pPr>
              <a:r>
                <a:rPr kumimoji="0" lang="en-AU" altLang="en-US" sz="1200" b="1" i="0" u="none" strike="noStrike" kern="0" cap="none" spc="0" normalizeH="0" baseline="0" noProof="0" dirty="0">
                  <a:ln>
                    <a:noFill/>
                  </a:ln>
                  <a:solidFill>
                    <a:prstClr val="white"/>
                  </a:solidFill>
                  <a:effectLst/>
                  <a:uLnTx/>
                  <a:uFillTx/>
                  <a:latin typeface="EYInterstate Light" panose="02000506000000020004" pitchFamily="2" charset="0"/>
                </a:rPr>
                <a:t>Availability</a:t>
              </a:r>
            </a:p>
          </p:txBody>
        </p:sp>
        <p:sp>
          <p:nvSpPr>
            <p:cNvPr id="2377" name="TextBox 2376">
              <a:extLst>
                <a:ext uri="{FF2B5EF4-FFF2-40B4-BE49-F238E27FC236}">
                  <a16:creationId xmlns:a16="http://schemas.microsoft.com/office/drawing/2014/main" id="{654B5968-0989-298C-E700-185B6F65258F}"/>
                </a:ext>
              </a:extLst>
            </p:cNvPr>
            <p:cNvSpPr txBox="1"/>
            <p:nvPr/>
          </p:nvSpPr>
          <p:spPr>
            <a:xfrm>
              <a:off x="5510903" y="2755223"/>
              <a:ext cx="1417320" cy="445587"/>
            </a:xfrm>
            <a:prstGeom prst="rect">
              <a:avLst/>
            </a:prstGeom>
            <a:noFill/>
          </p:spPr>
          <p:txBody>
            <a:bodyPr wrap="square" lIns="0" tIns="0" rIns="0" bIns="0"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IN" sz="1050" b="0" i="0" u="none" strike="noStrike" kern="0" cap="none" spc="0" normalizeH="0" baseline="0" noProof="0" dirty="0">
                  <a:ln>
                    <a:noFill/>
                  </a:ln>
                  <a:solidFill>
                    <a:srgbClr val="2C2C2D"/>
                  </a:solidFill>
                  <a:effectLst/>
                  <a:uLnTx/>
                  <a:uFillTx/>
                  <a:latin typeface="EYInterstate Light" panose="02000506000000020004" pitchFamily="2" charset="0"/>
                </a:rPr>
                <a:t>Business impact if the data (or functionality) is unavailable when needed.</a:t>
              </a:r>
            </a:p>
          </p:txBody>
        </p:sp>
        <p:sp>
          <p:nvSpPr>
            <p:cNvPr id="2378" name="TextBox 2377">
              <a:extLst>
                <a:ext uri="{FF2B5EF4-FFF2-40B4-BE49-F238E27FC236}">
                  <a16:creationId xmlns:a16="http://schemas.microsoft.com/office/drawing/2014/main" id="{ADB008AE-ABC2-7BB8-8202-C55A5E238778}"/>
                </a:ext>
              </a:extLst>
            </p:cNvPr>
            <p:cNvSpPr txBox="1"/>
            <p:nvPr/>
          </p:nvSpPr>
          <p:spPr>
            <a:xfrm>
              <a:off x="5545731" y="4071832"/>
              <a:ext cx="1417320" cy="1350907"/>
            </a:xfrm>
            <a:prstGeom prst="rect">
              <a:avLst/>
            </a:prstGeom>
            <a:noFill/>
          </p:spPr>
          <p:txBody>
            <a:bodyPr wrap="square" lIns="0" tIns="0" rIns="0" bIns="0"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Whether the data is unavailable for:</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endParaRPr>
            </a:p>
            <a:p>
              <a:pPr marL="171450" marR="0" lvl="0" indent="-171450" algn="just" defTabSz="91440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20 minutes</a:t>
              </a:r>
            </a:p>
            <a:p>
              <a:pPr marL="171450" marR="0" lvl="0" indent="-171450" algn="just" defTabSz="91440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2 hours</a:t>
              </a:r>
            </a:p>
            <a:p>
              <a:pPr marL="171450" marR="0" lvl="0" indent="-171450" algn="just" defTabSz="91440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8 hours</a:t>
              </a:r>
            </a:p>
            <a:p>
              <a:pPr marL="171450" marR="0" lvl="0" indent="-171450" algn="just" defTabSz="91440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1 day</a:t>
              </a:r>
            </a:p>
            <a:p>
              <a:pPr marL="171450" marR="0" lvl="0" indent="-171450" algn="just" defTabSz="91440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100" b="0" i="0" u="none" strike="noStrike" kern="0" cap="none" spc="0" normalizeH="0" baseline="0" noProof="0" dirty="0">
                  <a:ln>
                    <a:noFill/>
                  </a:ln>
                  <a:solidFill>
                    <a:srgbClr val="2C2C2D"/>
                  </a:solidFill>
                  <a:effectLst/>
                  <a:uLnTx/>
                  <a:uFillTx/>
                  <a:latin typeface="EYInterstate Light" panose="02000506000000020004" pitchFamily="2" charset="0"/>
                </a:rPr>
                <a:t>1 week</a:t>
              </a:r>
              <a:r>
                <a:rPr kumimoji="0" lang="pt-BR" sz="1050" b="0" i="0" u="none" strike="noStrike" kern="0" cap="none" spc="0" normalizeH="0" baseline="0" noProof="0" dirty="0">
                  <a:ln>
                    <a:noFill/>
                  </a:ln>
                  <a:solidFill>
                    <a:srgbClr val="2C2C2D"/>
                  </a:solidFill>
                  <a:effectLst/>
                  <a:uLnTx/>
                  <a:uFillTx/>
                  <a:latin typeface="EYInterstate Light" panose="02000506000000020004" pitchFamily="2" charset="0"/>
                </a:rPr>
                <a:t>.</a:t>
              </a:r>
              <a:endParaRPr kumimoji="0" lang="en-IN" sz="1050" b="0" i="0" u="none" strike="noStrike" kern="0" cap="none" spc="0" normalizeH="0" baseline="0" noProof="0" dirty="0">
                <a:ln>
                  <a:noFill/>
                </a:ln>
                <a:solidFill>
                  <a:srgbClr val="808080"/>
                </a:solidFill>
                <a:effectLst/>
                <a:uLnTx/>
                <a:uFillTx/>
                <a:latin typeface="EYInterstate Light" panose="02000506000000020004" pitchFamily="2" charset="0"/>
              </a:endParaRPr>
            </a:p>
          </p:txBody>
        </p:sp>
        <p:sp>
          <p:nvSpPr>
            <p:cNvPr id="2379" name="Isosceles Triangle 2378">
              <a:extLst>
                <a:ext uri="{FF2B5EF4-FFF2-40B4-BE49-F238E27FC236}">
                  <a16:creationId xmlns:a16="http://schemas.microsoft.com/office/drawing/2014/main" id="{9BA9F173-3AF9-8009-D00B-847FE702733A}"/>
                </a:ext>
              </a:extLst>
            </p:cNvPr>
            <p:cNvSpPr/>
            <p:nvPr/>
          </p:nvSpPr>
          <p:spPr>
            <a:xfrm flipV="1">
              <a:off x="5362571" y="2108197"/>
              <a:ext cx="1680538" cy="175344"/>
            </a:xfrm>
            <a:prstGeom prst="triangle">
              <a:avLst/>
            </a:prstGeom>
            <a:solidFill>
              <a:srgbClr val="1499DE"/>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dirty="0">
                <a:ln>
                  <a:noFill/>
                </a:ln>
                <a:solidFill>
                  <a:srgbClr val="2C2C2D"/>
                </a:solidFill>
                <a:effectLst/>
                <a:uLnTx/>
                <a:uFillTx/>
                <a:latin typeface="EYInterstate Light" panose="02000506000000020004" pitchFamily="2" charset="0"/>
                <a:ea typeface="+mn-ea"/>
                <a:cs typeface="+mn-cs"/>
              </a:endParaRPr>
            </a:p>
          </p:txBody>
        </p:sp>
        <p:sp>
          <p:nvSpPr>
            <p:cNvPr id="2380" name="Double Bracket 2379">
              <a:extLst>
                <a:ext uri="{FF2B5EF4-FFF2-40B4-BE49-F238E27FC236}">
                  <a16:creationId xmlns:a16="http://schemas.microsoft.com/office/drawing/2014/main" id="{6487C876-E255-232D-7E21-C564FEC99998}"/>
                </a:ext>
              </a:extLst>
            </p:cNvPr>
            <p:cNvSpPr>
              <a:spLocks noChangeArrowheads="1"/>
            </p:cNvSpPr>
            <p:nvPr/>
          </p:nvSpPr>
          <p:spPr bwMode="auto">
            <a:xfrm>
              <a:off x="7047194" y="1425600"/>
              <a:ext cx="1807418" cy="640080"/>
            </a:xfrm>
            <a:prstGeom prst="bracketPair">
              <a:avLst>
                <a:gd name="adj" fmla="val 0"/>
              </a:avLst>
            </a:prstGeom>
            <a:solidFill>
              <a:srgbClr val="002060"/>
            </a:solidFill>
            <a:ln w="19050">
              <a:solidFill>
                <a:srgbClr val="FFE600"/>
              </a:solidFill>
            </a:ln>
          </p:spPr>
          <p:txBody>
            <a:bodyPr lIns="34290" rIns="34290" anchor="ctr">
              <a:noAutofit/>
            </a:bodyPr>
            <a:lstStyle>
              <a:lvl1pPr marL="114300" indent="-114300"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114300" marR="0" lvl="0" indent="-114300" algn="ctr" defTabSz="914400" eaLnBrk="0" fontAlgn="auto" latinLnBrk="0" hangingPunct="0">
                <a:lnSpc>
                  <a:spcPct val="100000"/>
                </a:lnSpc>
                <a:spcBef>
                  <a:spcPct val="30000"/>
                </a:spcBef>
                <a:spcAft>
                  <a:spcPts val="0"/>
                </a:spcAft>
                <a:buClr>
                  <a:srgbClr val="58595B"/>
                </a:buClr>
                <a:buSzTx/>
                <a:buFontTx/>
                <a:buNone/>
                <a:tabLst/>
                <a:defRPr/>
              </a:pPr>
              <a:r>
                <a:rPr kumimoji="0" lang="en-AU" altLang="en-US" sz="1200" b="1" i="0" u="none" strike="noStrike" kern="0" cap="none" spc="0" normalizeH="0" baseline="0" noProof="0" dirty="0">
                  <a:ln>
                    <a:noFill/>
                  </a:ln>
                  <a:solidFill>
                    <a:prstClr val="white"/>
                  </a:solidFill>
                  <a:effectLst/>
                  <a:uLnTx/>
                  <a:uFillTx/>
                  <a:latin typeface="EYInterstate Light" panose="02000506000000020004" pitchFamily="2" charset="0"/>
                </a:rPr>
                <a:t>Privacy</a:t>
              </a:r>
            </a:p>
          </p:txBody>
        </p:sp>
        <p:sp>
          <p:nvSpPr>
            <p:cNvPr id="2381" name="TextBox 2380">
              <a:extLst>
                <a:ext uri="{FF2B5EF4-FFF2-40B4-BE49-F238E27FC236}">
                  <a16:creationId xmlns:a16="http://schemas.microsoft.com/office/drawing/2014/main" id="{F04594AD-6731-C9D7-BEC3-5188FF80DA56}"/>
                </a:ext>
              </a:extLst>
            </p:cNvPr>
            <p:cNvSpPr txBox="1"/>
            <p:nvPr/>
          </p:nvSpPr>
          <p:spPr>
            <a:xfrm>
              <a:off x="7168635" y="2511050"/>
              <a:ext cx="1654631" cy="1188233"/>
            </a:xfrm>
            <a:prstGeom prst="rect">
              <a:avLst/>
            </a:prstGeom>
            <a:noFill/>
          </p:spPr>
          <p:txBody>
            <a:bodyPr wrap="square" lIns="0" tIns="0" rIns="0" bIns="0"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IN" sz="1050" b="0" i="0" u="none" strike="noStrike" kern="0" cap="none" spc="0" normalizeH="0" baseline="0" noProof="0" dirty="0">
                  <a:ln>
                    <a:noFill/>
                  </a:ln>
                  <a:solidFill>
                    <a:srgbClr val="2C2C2D"/>
                  </a:solidFill>
                  <a:effectLst/>
                  <a:uLnTx/>
                  <a:uFillTx/>
                  <a:latin typeface="EYInterstate Light" panose="02000506000000020004" pitchFamily="2" charset="0"/>
                </a:rPr>
                <a:t>Business impact if there is a privacy breach (i.e. If someone accesses the data or passes it on without proper authorisation; or if the data is made unavailable and this unavailability has a significant negative effect on individuals.</a:t>
              </a:r>
              <a:endParaRPr kumimoji="0" lang="pt-BR" sz="1050" b="0" i="0" u="none" strike="noStrike" kern="0" cap="none" spc="0" normalizeH="0" baseline="0" noProof="0" dirty="0">
                <a:ln>
                  <a:noFill/>
                </a:ln>
                <a:solidFill>
                  <a:srgbClr val="1499DE"/>
                </a:solidFill>
                <a:effectLst/>
                <a:uLnTx/>
                <a:uFillTx/>
                <a:latin typeface="EYInterstate Light" panose="02000506000000020004" pitchFamily="2" charset="0"/>
              </a:endParaRPr>
            </a:p>
          </p:txBody>
        </p:sp>
        <p:sp>
          <p:nvSpPr>
            <p:cNvPr id="2382" name="TextBox 2381">
              <a:extLst>
                <a:ext uri="{FF2B5EF4-FFF2-40B4-BE49-F238E27FC236}">
                  <a16:creationId xmlns:a16="http://schemas.microsoft.com/office/drawing/2014/main" id="{6E02ADF2-C148-2463-48B5-806F2229D895}"/>
                </a:ext>
              </a:extLst>
            </p:cNvPr>
            <p:cNvSpPr txBox="1"/>
            <p:nvPr/>
          </p:nvSpPr>
          <p:spPr>
            <a:xfrm>
              <a:off x="7273453" y="4077808"/>
              <a:ext cx="1417321" cy="809837"/>
            </a:xfrm>
            <a:prstGeom prst="rect">
              <a:avLst/>
            </a:prstGeom>
            <a:noFill/>
          </p:spPr>
          <p:txBody>
            <a:bodyPr wrap="square" lIns="0" tIns="0" rIns="0" bIns="0" rtlCol="0">
              <a:spAutoFit/>
            </a:bodyPr>
            <a:lstStyle/>
            <a:p>
              <a:pPr marL="0" marR="0" lvl="0" indent="0" algn="just" defTabSz="914400" eaLnBrk="1" fontAlgn="auto" latinLnBrk="0" hangingPunct="1">
                <a:lnSpc>
                  <a:spcPct val="95000"/>
                </a:lnSpc>
                <a:spcBef>
                  <a:spcPts val="100"/>
                </a:spcBef>
                <a:spcAft>
                  <a:spcPts val="100"/>
                </a:spcAft>
                <a:buClrTx/>
                <a:buSzTx/>
                <a:buFontTx/>
                <a:buNone/>
                <a:tabLst/>
                <a:defRPr/>
              </a:pPr>
              <a:r>
                <a:rPr kumimoji="0" lang="en-US" sz="1100" b="0" i="0" u="none" strike="noStrike" kern="0" cap="none" spc="0" normalizeH="0" baseline="0" noProof="0" dirty="0">
                  <a:ln>
                    <a:noFill/>
                  </a:ln>
                  <a:solidFill>
                    <a:srgbClr val="2C2C2D"/>
                  </a:solidFill>
                  <a:effectLst/>
                  <a:uLnTx/>
                  <a:uFillTx/>
                  <a:latin typeface="EYInterstate Light" panose="02000506000000020004" pitchFamily="2" charset="0"/>
                </a:rPr>
                <a:t>Whether the dataset includes:</a:t>
              </a:r>
            </a:p>
            <a:p>
              <a:pPr marL="171450" marR="0" lvl="0" indent="-171450" defTabSz="914400" eaLnBrk="1" fontAlgn="auto" latinLnBrk="0" hangingPunct="1">
                <a:lnSpc>
                  <a:spcPct val="95000"/>
                </a:lnSpc>
                <a:spcBef>
                  <a:spcPts val="100"/>
                </a:spcBef>
                <a:spcAft>
                  <a:spcPts val="10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2C2C2D"/>
                </a:solidFill>
                <a:effectLst/>
                <a:uLnTx/>
                <a:uFillTx/>
                <a:latin typeface="EYInterstate Light" panose="02000506000000020004" pitchFamily="2" charset="0"/>
              </a:endParaRPr>
            </a:p>
            <a:p>
              <a:pPr marL="171450" marR="0" lvl="0" indent="-171450" defTabSz="914400" eaLnBrk="1" fontAlgn="auto" latinLnBrk="0" hangingPunct="1">
                <a:lnSpc>
                  <a:spcPct val="95000"/>
                </a:lnSpc>
                <a:spcBef>
                  <a:spcPts val="100"/>
                </a:spcBef>
                <a:spcAft>
                  <a:spcPts val="1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2C2C2D"/>
                  </a:solidFill>
                  <a:effectLst/>
                  <a:uLnTx/>
                  <a:uFillTx/>
                  <a:latin typeface="EYInterstate Light" panose="02000506000000020004" pitchFamily="2" charset="0"/>
                </a:rPr>
                <a:t>Personal data </a:t>
              </a:r>
            </a:p>
            <a:p>
              <a:pPr marL="171450" marR="0" lvl="0" indent="-171450" defTabSz="914400" eaLnBrk="1" fontAlgn="auto" latinLnBrk="0" hangingPunct="1">
                <a:lnSpc>
                  <a:spcPct val="95000"/>
                </a:lnSpc>
                <a:spcBef>
                  <a:spcPts val="100"/>
                </a:spcBef>
                <a:spcAft>
                  <a:spcPts val="1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2C2C2D"/>
                  </a:solidFill>
                  <a:effectLst/>
                  <a:uLnTx/>
                  <a:uFillTx/>
                  <a:latin typeface="EYInterstate Light" panose="02000506000000020004" pitchFamily="2" charset="0"/>
                </a:rPr>
                <a:t>Sensitive personal data</a:t>
              </a:r>
              <a:r>
                <a:rPr kumimoji="0" lang="pt-BR" sz="1100" b="0" i="0" u="none" strike="noStrike" kern="0" cap="none" spc="0" normalizeH="0" baseline="0" noProof="0" dirty="0">
                  <a:ln>
                    <a:noFill/>
                  </a:ln>
                  <a:solidFill>
                    <a:srgbClr val="1499DE"/>
                  </a:solidFill>
                  <a:effectLst/>
                  <a:uLnTx/>
                  <a:uFillTx/>
                  <a:latin typeface="EYInterstate Light" panose="02000506000000020004" pitchFamily="2" charset="0"/>
                </a:rPr>
                <a:t>.</a:t>
              </a:r>
            </a:p>
          </p:txBody>
        </p:sp>
        <p:sp>
          <p:nvSpPr>
            <p:cNvPr id="2383" name="Isosceles Triangle 2382">
              <a:extLst>
                <a:ext uri="{FF2B5EF4-FFF2-40B4-BE49-F238E27FC236}">
                  <a16:creationId xmlns:a16="http://schemas.microsoft.com/office/drawing/2014/main" id="{AA0572C6-ACFD-92C9-7130-1B3B561C3F49}"/>
                </a:ext>
              </a:extLst>
            </p:cNvPr>
            <p:cNvSpPr/>
            <p:nvPr/>
          </p:nvSpPr>
          <p:spPr>
            <a:xfrm flipV="1">
              <a:off x="7115837" y="2116453"/>
              <a:ext cx="1680538" cy="175344"/>
            </a:xfrm>
            <a:prstGeom prst="triangle">
              <a:avLst/>
            </a:prstGeom>
            <a:solidFill>
              <a:srgbClr val="00206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dirty="0">
                <a:ln>
                  <a:noFill/>
                </a:ln>
                <a:solidFill>
                  <a:srgbClr val="2C2C2D"/>
                </a:solidFill>
                <a:effectLst/>
                <a:uLnTx/>
                <a:uFillTx/>
                <a:latin typeface="EYInterstate Light" panose="02000506000000020004" pitchFamily="2" charset="0"/>
                <a:ea typeface="+mn-ea"/>
                <a:cs typeface="+mn-cs"/>
              </a:endParaRPr>
            </a:p>
          </p:txBody>
        </p:sp>
      </p:grpSp>
      <p:sp>
        <p:nvSpPr>
          <p:cNvPr id="2384" name="Freeform 13">
            <a:extLst>
              <a:ext uri="{FF2B5EF4-FFF2-40B4-BE49-F238E27FC236}">
                <a16:creationId xmlns:a16="http://schemas.microsoft.com/office/drawing/2014/main" id="{DD5BED4E-4143-6071-4953-0ACEE4C102C6}"/>
              </a:ext>
            </a:extLst>
          </p:cNvPr>
          <p:cNvSpPr>
            <a:spLocks noEditPoints="1"/>
          </p:cNvSpPr>
          <p:nvPr/>
        </p:nvSpPr>
        <p:spPr bwMode="auto">
          <a:xfrm>
            <a:off x="1901526" y="2516399"/>
            <a:ext cx="481433" cy="367297"/>
          </a:xfrm>
          <a:custGeom>
            <a:avLst/>
            <a:gdLst>
              <a:gd name="T0" fmla="*/ 243 w 405"/>
              <a:gd name="T1" fmla="*/ 326 h 326"/>
              <a:gd name="T2" fmla="*/ 157 w 405"/>
              <a:gd name="T3" fmla="*/ 306 h 326"/>
              <a:gd name="T4" fmla="*/ 157 w 405"/>
              <a:gd name="T5" fmla="*/ 294 h 326"/>
              <a:gd name="T6" fmla="*/ 243 w 405"/>
              <a:gd name="T7" fmla="*/ 274 h 326"/>
              <a:gd name="T8" fmla="*/ 157 w 405"/>
              <a:gd name="T9" fmla="*/ 294 h 326"/>
              <a:gd name="T10" fmla="*/ 95 w 405"/>
              <a:gd name="T11" fmla="*/ 110 h 326"/>
              <a:gd name="T12" fmla="*/ 157 w 405"/>
              <a:gd name="T13" fmla="*/ 262 h 326"/>
              <a:gd name="T14" fmla="*/ 177 w 405"/>
              <a:gd name="T15" fmla="*/ 261 h 326"/>
              <a:gd name="T16" fmla="*/ 165 w 405"/>
              <a:gd name="T17" fmla="*/ 76 h 326"/>
              <a:gd name="T18" fmla="*/ 174 w 405"/>
              <a:gd name="T19" fmla="*/ 84 h 326"/>
              <a:gd name="T20" fmla="*/ 201 w 405"/>
              <a:gd name="T21" fmla="*/ 109 h 326"/>
              <a:gd name="T22" fmla="*/ 229 w 405"/>
              <a:gd name="T23" fmla="*/ 84 h 326"/>
              <a:gd name="T24" fmla="*/ 238 w 405"/>
              <a:gd name="T25" fmla="*/ 76 h 326"/>
              <a:gd name="T26" fmla="*/ 227 w 405"/>
              <a:gd name="T27" fmla="*/ 262 h 326"/>
              <a:gd name="T28" fmla="*/ 271 w 405"/>
              <a:gd name="T29" fmla="*/ 195 h 326"/>
              <a:gd name="T30" fmla="*/ 201 w 405"/>
              <a:gd name="T31" fmla="*/ 3 h 326"/>
              <a:gd name="T32" fmla="*/ 228 w 405"/>
              <a:gd name="T33" fmla="*/ 108 h 326"/>
              <a:gd name="T34" fmla="*/ 175 w 405"/>
              <a:gd name="T35" fmla="*/ 108 h 326"/>
              <a:gd name="T36" fmla="*/ 189 w 405"/>
              <a:gd name="T37" fmla="*/ 262 h 326"/>
              <a:gd name="T38" fmla="*/ 59 w 405"/>
              <a:gd name="T39" fmla="*/ 100 h 326"/>
              <a:gd name="T40" fmla="*/ 0 w 405"/>
              <a:gd name="T41" fmla="*/ 112 h 326"/>
              <a:gd name="T42" fmla="*/ 59 w 405"/>
              <a:gd name="T43" fmla="*/ 100 h 326"/>
              <a:gd name="T44" fmla="*/ 346 w 405"/>
              <a:gd name="T45" fmla="*/ 112 h 326"/>
              <a:gd name="T46" fmla="*/ 405 w 405"/>
              <a:gd name="T47" fmla="*/ 100 h 326"/>
              <a:gd name="T48" fmla="*/ 24 w 405"/>
              <a:gd name="T49" fmla="*/ 202 h 326"/>
              <a:gd name="T50" fmla="*/ 81 w 405"/>
              <a:gd name="T51" fmla="*/ 184 h 326"/>
              <a:gd name="T52" fmla="*/ 24 w 405"/>
              <a:gd name="T53" fmla="*/ 202 h 326"/>
              <a:gd name="T54" fmla="*/ 374 w 405"/>
              <a:gd name="T55" fmla="*/ 0 h 326"/>
              <a:gd name="T56" fmla="*/ 330 w 405"/>
              <a:gd name="T57" fmla="*/ 40 h 326"/>
              <a:gd name="T58" fmla="*/ 24 w 405"/>
              <a:gd name="T59" fmla="*/ 11 h 326"/>
              <a:gd name="T60" fmla="*/ 81 w 405"/>
              <a:gd name="T61" fmla="*/ 29 h 326"/>
              <a:gd name="T62" fmla="*/ 24 w 405"/>
              <a:gd name="T63" fmla="*/ 11 h 326"/>
              <a:gd name="T64" fmla="*/ 374 w 405"/>
              <a:gd name="T65" fmla="*/ 213 h 326"/>
              <a:gd name="T66" fmla="*/ 330 w 405"/>
              <a:gd name="T67" fmla="*/ 17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5" h="326">
                <a:moveTo>
                  <a:pt x="157" y="326"/>
                </a:moveTo>
                <a:cubicBezTo>
                  <a:pt x="243" y="326"/>
                  <a:pt x="243" y="326"/>
                  <a:pt x="243" y="326"/>
                </a:cubicBezTo>
                <a:cubicBezTo>
                  <a:pt x="243" y="306"/>
                  <a:pt x="243" y="306"/>
                  <a:pt x="243" y="306"/>
                </a:cubicBezTo>
                <a:cubicBezTo>
                  <a:pt x="157" y="306"/>
                  <a:pt x="157" y="306"/>
                  <a:pt x="157" y="306"/>
                </a:cubicBezTo>
                <a:lnTo>
                  <a:pt x="157" y="326"/>
                </a:lnTo>
                <a:close/>
                <a:moveTo>
                  <a:pt x="157" y="294"/>
                </a:moveTo>
                <a:cubicBezTo>
                  <a:pt x="243" y="294"/>
                  <a:pt x="243" y="294"/>
                  <a:pt x="243" y="294"/>
                </a:cubicBezTo>
                <a:cubicBezTo>
                  <a:pt x="243" y="274"/>
                  <a:pt x="243" y="274"/>
                  <a:pt x="243" y="274"/>
                </a:cubicBezTo>
                <a:cubicBezTo>
                  <a:pt x="157" y="274"/>
                  <a:pt x="157" y="274"/>
                  <a:pt x="157" y="274"/>
                </a:cubicBezTo>
                <a:lnTo>
                  <a:pt x="157" y="294"/>
                </a:lnTo>
                <a:close/>
                <a:moveTo>
                  <a:pt x="201" y="3"/>
                </a:moveTo>
                <a:cubicBezTo>
                  <a:pt x="143" y="3"/>
                  <a:pt x="95" y="51"/>
                  <a:pt x="95" y="110"/>
                </a:cubicBezTo>
                <a:cubicBezTo>
                  <a:pt x="95" y="146"/>
                  <a:pt x="115" y="168"/>
                  <a:pt x="135" y="195"/>
                </a:cubicBezTo>
                <a:cubicBezTo>
                  <a:pt x="149" y="213"/>
                  <a:pt x="151" y="237"/>
                  <a:pt x="157" y="262"/>
                </a:cubicBezTo>
                <a:cubicBezTo>
                  <a:pt x="177" y="262"/>
                  <a:pt x="177" y="262"/>
                  <a:pt x="177" y="262"/>
                </a:cubicBezTo>
                <a:cubicBezTo>
                  <a:pt x="177" y="261"/>
                  <a:pt x="177" y="261"/>
                  <a:pt x="177" y="261"/>
                </a:cubicBezTo>
                <a:cubicBezTo>
                  <a:pt x="160" y="82"/>
                  <a:pt x="160" y="82"/>
                  <a:pt x="160" y="82"/>
                </a:cubicBezTo>
                <a:cubicBezTo>
                  <a:pt x="160" y="79"/>
                  <a:pt x="162" y="76"/>
                  <a:pt x="165" y="76"/>
                </a:cubicBezTo>
                <a:cubicBezTo>
                  <a:pt x="168" y="75"/>
                  <a:pt x="171" y="77"/>
                  <a:pt x="172" y="80"/>
                </a:cubicBezTo>
                <a:cubicBezTo>
                  <a:pt x="172" y="80"/>
                  <a:pt x="172" y="81"/>
                  <a:pt x="174" y="84"/>
                </a:cubicBezTo>
                <a:cubicBezTo>
                  <a:pt x="175" y="87"/>
                  <a:pt x="177" y="91"/>
                  <a:pt x="179" y="95"/>
                </a:cubicBezTo>
                <a:cubicBezTo>
                  <a:pt x="185" y="103"/>
                  <a:pt x="192" y="109"/>
                  <a:pt x="201" y="109"/>
                </a:cubicBezTo>
                <a:cubicBezTo>
                  <a:pt x="208" y="109"/>
                  <a:pt x="213" y="106"/>
                  <a:pt x="218" y="101"/>
                </a:cubicBezTo>
                <a:cubicBezTo>
                  <a:pt x="223" y="95"/>
                  <a:pt x="227" y="89"/>
                  <a:pt x="229" y="84"/>
                </a:cubicBezTo>
                <a:cubicBezTo>
                  <a:pt x="230" y="81"/>
                  <a:pt x="231" y="80"/>
                  <a:pt x="231" y="80"/>
                </a:cubicBezTo>
                <a:cubicBezTo>
                  <a:pt x="232" y="77"/>
                  <a:pt x="235" y="75"/>
                  <a:pt x="238" y="76"/>
                </a:cubicBezTo>
                <a:cubicBezTo>
                  <a:pt x="241" y="76"/>
                  <a:pt x="243" y="79"/>
                  <a:pt x="243" y="82"/>
                </a:cubicBezTo>
                <a:cubicBezTo>
                  <a:pt x="227" y="262"/>
                  <a:pt x="227" y="262"/>
                  <a:pt x="227" y="262"/>
                </a:cubicBezTo>
                <a:cubicBezTo>
                  <a:pt x="243" y="262"/>
                  <a:pt x="243" y="262"/>
                  <a:pt x="243" y="262"/>
                </a:cubicBezTo>
                <a:cubicBezTo>
                  <a:pt x="252" y="233"/>
                  <a:pt x="260" y="208"/>
                  <a:pt x="271" y="195"/>
                </a:cubicBezTo>
                <a:cubicBezTo>
                  <a:pt x="293" y="168"/>
                  <a:pt x="308" y="142"/>
                  <a:pt x="308" y="110"/>
                </a:cubicBezTo>
                <a:cubicBezTo>
                  <a:pt x="308" y="51"/>
                  <a:pt x="260" y="3"/>
                  <a:pt x="201" y="3"/>
                </a:cubicBezTo>
                <a:close/>
                <a:moveTo>
                  <a:pt x="214" y="262"/>
                </a:moveTo>
                <a:cubicBezTo>
                  <a:pt x="228" y="108"/>
                  <a:pt x="228" y="108"/>
                  <a:pt x="228" y="108"/>
                </a:cubicBezTo>
                <a:cubicBezTo>
                  <a:pt x="222" y="115"/>
                  <a:pt x="213" y="121"/>
                  <a:pt x="201" y="121"/>
                </a:cubicBezTo>
                <a:cubicBezTo>
                  <a:pt x="189" y="121"/>
                  <a:pt x="181" y="115"/>
                  <a:pt x="175" y="108"/>
                </a:cubicBezTo>
                <a:cubicBezTo>
                  <a:pt x="189" y="260"/>
                  <a:pt x="189" y="260"/>
                  <a:pt x="189" y="260"/>
                </a:cubicBezTo>
                <a:cubicBezTo>
                  <a:pt x="189" y="260"/>
                  <a:pt x="189" y="261"/>
                  <a:pt x="189" y="262"/>
                </a:cubicBezTo>
                <a:lnTo>
                  <a:pt x="214" y="262"/>
                </a:lnTo>
                <a:close/>
                <a:moveTo>
                  <a:pt x="59" y="100"/>
                </a:moveTo>
                <a:cubicBezTo>
                  <a:pt x="0" y="100"/>
                  <a:pt x="0" y="100"/>
                  <a:pt x="0" y="100"/>
                </a:cubicBezTo>
                <a:cubicBezTo>
                  <a:pt x="0" y="112"/>
                  <a:pt x="0" y="112"/>
                  <a:pt x="0" y="112"/>
                </a:cubicBezTo>
                <a:cubicBezTo>
                  <a:pt x="59" y="112"/>
                  <a:pt x="59" y="112"/>
                  <a:pt x="59" y="112"/>
                </a:cubicBezTo>
                <a:lnTo>
                  <a:pt x="59" y="100"/>
                </a:lnTo>
                <a:close/>
                <a:moveTo>
                  <a:pt x="346" y="100"/>
                </a:moveTo>
                <a:cubicBezTo>
                  <a:pt x="346" y="112"/>
                  <a:pt x="346" y="112"/>
                  <a:pt x="346" y="112"/>
                </a:cubicBezTo>
                <a:cubicBezTo>
                  <a:pt x="405" y="112"/>
                  <a:pt x="405" y="112"/>
                  <a:pt x="405" y="112"/>
                </a:cubicBezTo>
                <a:cubicBezTo>
                  <a:pt x="405" y="100"/>
                  <a:pt x="405" y="100"/>
                  <a:pt x="405" y="100"/>
                </a:cubicBezTo>
                <a:lnTo>
                  <a:pt x="346" y="100"/>
                </a:lnTo>
                <a:close/>
                <a:moveTo>
                  <a:pt x="24" y="202"/>
                </a:moveTo>
                <a:cubicBezTo>
                  <a:pt x="30" y="213"/>
                  <a:pt x="30" y="213"/>
                  <a:pt x="30" y="213"/>
                </a:cubicBezTo>
                <a:cubicBezTo>
                  <a:pt x="81" y="184"/>
                  <a:pt x="81" y="184"/>
                  <a:pt x="81" y="184"/>
                </a:cubicBezTo>
                <a:cubicBezTo>
                  <a:pt x="75" y="173"/>
                  <a:pt x="75" y="173"/>
                  <a:pt x="75" y="173"/>
                </a:cubicBezTo>
                <a:lnTo>
                  <a:pt x="24" y="202"/>
                </a:lnTo>
                <a:close/>
                <a:moveTo>
                  <a:pt x="380" y="11"/>
                </a:moveTo>
                <a:cubicBezTo>
                  <a:pt x="374" y="0"/>
                  <a:pt x="374" y="0"/>
                  <a:pt x="374" y="0"/>
                </a:cubicBezTo>
                <a:cubicBezTo>
                  <a:pt x="324" y="29"/>
                  <a:pt x="324" y="29"/>
                  <a:pt x="324" y="29"/>
                </a:cubicBezTo>
                <a:cubicBezTo>
                  <a:pt x="330" y="40"/>
                  <a:pt x="330" y="40"/>
                  <a:pt x="330" y="40"/>
                </a:cubicBezTo>
                <a:lnTo>
                  <a:pt x="380" y="11"/>
                </a:lnTo>
                <a:close/>
                <a:moveTo>
                  <a:pt x="24" y="11"/>
                </a:moveTo>
                <a:cubicBezTo>
                  <a:pt x="75" y="40"/>
                  <a:pt x="75" y="40"/>
                  <a:pt x="75" y="40"/>
                </a:cubicBezTo>
                <a:cubicBezTo>
                  <a:pt x="81" y="29"/>
                  <a:pt x="81" y="29"/>
                  <a:pt x="81" y="29"/>
                </a:cubicBezTo>
                <a:cubicBezTo>
                  <a:pt x="30" y="0"/>
                  <a:pt x="30" y="0"/>
                  <a:pt x="30" y="0"/>
                </a:cubicBezTo>
                <a:lnTo>
                  <a:pt x="24" y="11"/>
                </a:lnTo>
                <a:close/>
                <a:moveTo>
                  <a:pt x="324" y="184"/>
                </a:moveTo>
                <a:cubicBezTo>
                  <a:pt x="374" y="213"/>
                  <a:pt x="374" y="213"/>
                  <a:pt x="374" y="213"/>
                </a:cubicBezTo>
                <a:cubicBezTo>
                  <a:pt x="380" y="202"/>
                  <a:pt x="380" y="202"/>
                  <a:pt x="380" y="202"/>
                </a:cubicBezTo>
                <a:cubicBezTo>
                  <a:pt x="330" y="173"/>
                  <a:pt x="330" y="173"/>
                  <a:pt x="330" y="173"/>
                </a:cubicBezTo>
                <a:lnTo>
                  <a:pt x="324" y="184"/>
                </a:lnTo>
                <a:close/>
              </a:path>
            </a:pathLst>
          </a:custGeom>
          <a:solidFill>
            <a:srgbClr val="E78306"/>
          </a:solidFill>
          <a:ln>
            <a:noFill/>
          </a:ln>
        </p:spPr>
        <p:txBody>
          <a:bodyPr vert="horz" wrap="square" lIns="68580" tIns="34290" rIns="68580" bIns="34290" numCol="1" anchor="t" anchorCtr="0" compatLnSpc="1">
            <a:prstTxWarp prst="textNoShape">
              <a:avLst/>
            </a:prstTxWarp>
          </a:bodyPr>
          <a:lstStyle/>
          <a:p>
            <a:endParaRPr lang="en-IN" sz="1350" dirty="0">
              <a:solidFill>
                <a:srgbClr val="2C2C2D"/>
              </a:solidFill>
              <a:latin typeface="EYInterstate Light" panose="02000506000000020004" pitchFamily="2" charset="0"/>
            </a:endParaRPr>
          </a:p>
        </p:txBody>
      </p:sp>
      <p:sp>
        <p:nvSpPr>
          <p:cNvPr id="2385" name="Freeform 5">
            <a:extLst>
              <a:ext uri="{FF2B5EF4-FFF2-40B4-BE49-F238E27FC236}">
                <a16:creationId xmlns:a16="http://schemas.microsoft.com/office/drawing/2014/main" id="{BA391C7A-531F-483F-48BA-69D145601676}"/>
              </a:ext>
            </a:extLst>
          </p:cNvPr>
          <p:cNvSpPr>
            <a:spLocks noEditPoints="1"/>
          </p:cNvSpPr>
          <p:nvPr/>
        </p:nvSpPr>
        <p:spPr bwMode="auto">
          <a:xfrm>
            <a:off x="1836027" y="4490291"/>
            <a:ext cx="533013" cy="232776"/>
          </a:xfrm>
          <a:custGeom>
            <a:avLst/>
            <a:gdLst>
              <a:gd name="T0" fmla="*/ 370 w 393"/>
              <a:gd name="T1" fmla="*/ 78 h 181"/>
              <a:gd name="T2" fmla="*/ 392 w 393"/>
              <a:gd name="T3" fmla="*/ 51 h 181"/>
              <a:gd name="T4" fmla="*/ 370 w 393"/>
              <a:gd name="T5" fmla="*/ 25 h 181"/>
              <a:gd name="T6" fmla="*/ 348 w 393"/>
              <a:gd name="T7" fmla="*/ 51 h 181"/>
              <a:gd name="T8" fmla="*/ 370 w 393"/>
              <a:gd name="T9" fmla="*/ 78 h 181"/>
              <a:gd name="T10" fmla="*/ 369 w 393"/>
              <a:gd name="T11" fmla="*/ 83 h 181"/>
              <a:gd name="T12" fmla="*/ 354 w 393"/>
              <a:gd name="T13" fmla="*/ 89 h 181"/>
              <a:gd name="T14" fmla="*/ 346 w 393"/>
              <a:gd name="T15" fmla="*/ 96 h 181"/>
              <a:gd name="T16" fmla="*/ 321 w 393"/>
              <a:gd name="T17" fmla="*/ 136 h 181"/>
              <a:gd name="T18" fmla="*/ 283 w 393"/>
              <a:gd name="T19" fmla="*/ 143 h 181"/>
              <a:gd name="T20" fmla="*/ 283 w 393"/>
              <a:gd name="T21" fmla="*/ 158 h 181"/>
              <a:gd name="T22" fmla="*/ 332 w 393"/>
              <a:gd name="T23" fmla="*/ 157 h 181"/>
              <a:gd name="T24" fmla="*/ 345 w 393"/>
              <a:gd name="T25" fmla="*/ 140 h 181"/>
              <a:gd name="T26" fmla="*/ 344 w 393"/>
              <a:gd name="T27" fmla="*/ 154 h 181"/>
              <a:gd name="T28" fmla="*/ 390 w 393"/>
              <a:gd name="T29" fmla="*/ 179 h 181"/>
              <a:gd name="T30" fmla="*/ 393 w 393"/>
              <a:gd name="T31" fmla="*/ 107 h 181"/>
              <a:gd name="T32" fmla="*/ 369 w 393"/>
              <a:gd name="T33" fmla="*/ 83 h 181"/>
              <a:gd name="T34" fmla="*/ 197 w 393"/>
              <a:gd name="T35" fmla="*/ 52 h 181"/>
              <a:gd name="T36" fmla="*/ 219 w 393"/>
              <a:gd name="T37" fmla="*/ 26 h 181"/>
              <a:gd name="T38" fmla="*/ 197 w 393"/>
              <a:gd name="T39" fmla="*/ 0 h 181"/>
              <a:gd name="T40" fmla="*/ 174 w 393"/>
              <a:gd name="T41" fmla="*/ 26 h 181"/>
              <a:gd name="T42" fmla="*/ 197 w 393"/>
              <a:gd name="T43" fmla="*/ 52 h 181"/>
              <a:gd name="T44" fmla="*/ 223 w 393"/>
              <a:gd name="T45" fmla="*/ 60 h 181"/>
              <a:gd name="T46" fmla="*/ 170 w 393"/>
              <a:gd name="T47" fmla="*/ 60 h 181"/>
              <a:gd name="T48" fmla="*/ 135 w 393"/>
              <a:gd name="T49" fmla="*/ 95 h 181"/>
              <a:gd name="T50" fmla="*/ 135 w 393"/>
              <a:gd name="T51" fmla="*/ 131 h 181"/>
              <a:gd name="T52" fmla="*/ 157 w 393"/>
              <a:gd name="T53" fmla="*/ 129 h 181"/>
              <a:gd name="T54" fmla="*/ 157 w 393"/>
              <a:gd name="T55" fmla="*/ 104 h 181"/>
              <a:gd name="T56" fmla="*/ 164 w 393"/>
              <a:gd name="T57" fmla="*/ 104 h 181"/>
              <a:gd name="T58" fmla="*/ 164 w 393"/>
              <a:gd name="T59" fmla="*/ 128 h 181"/>
              <a:gd name="T60" fmla="*/ 190 w 393"/>
              <a:gd name="T61" fmla="*/ 127 h 181"/>
              <a:gd name="T62" fmla="*/ 193 w 393"/>
              <a:gd name="T63" fmla="*/ 73 h 181"/>
              <a:gd name="T64" fmla="*/ 194 w 393"/>
              <a:gd name="T65" fmla="*/ 62 h 181"/>
              <a:gd name="T66" fmla="*/ 200 w 393"/>
              <a:gd name="T67" fmla="*/ 62 h 181"/>
              <a:gd name="T68" fmla="*/ 200 w 393"/>
              <a:gd name="T69" fmla="*/ 73 h 181"/>
              <a:gd name="T70" fmla="*/ 203 w 393"/>
              <a:gd name="T71" fmla="*/ 127 h 181"/>
              <a:gd name="T72" fmla="*/ 230 w 393"/>
              <a:gd name="T73" fmla="*/ 128 h 181"/>
              <a:gd name="T74" fmla="*/ 230 w 393"/>
              <a:gd name="T75" fmla="*/ 104 h 181"/>
              <a:gd name="T76" fmla="*/ 237 w 393"/>
              <a:gd name="T77" fmla="*/ 104 h 181"/>
              <a:gd name="T78" fmla="*/ 237 w 393"/>
              <a:gd name="T79" fmla="*/ 129 h 181"/>
              <a:gd name="T80" fmla="*/ 258 w 393"/>
              <a:gd name="T81" fmla="*/ 131 h 181"/>
              <a:gd name="T82" fmla="*/ 258 w 393"/>
              <a:gd name="T83" fmla="*/ 95 h 181"/>
              <a:gd name="T84" fmla="*/ 223 w 393"/>
              <a:gd name="T85" fmla="*/ 60 h 181"/>
              <a:gd name="T86" fmla="*/ 22 w 393"/>
              <a:gd name="T87" fmla="*/ 78 h 181"/>
              <a:gd name="T88" fmla="*/ 44 w 393"/>
              <a:gd name="T89" fmla="*/ 51 h 181"/>
              <a:gd name="T90" fmla="*/ 22 w 393"/>
              <a:gd name="T91" fmla="*/ 25 h 181"/>
              <a:gd name="T92" fmla="*/ 0 w 393"/>
              <a:gd name="T93" fmla="*/ 51 h 181"/>
              <a:gd name="T94" fmla="*/ 22 w 393"/>
              <a:gd name="T95" fmla="*/ 78 h 181"/>
              <a:gd name="T96" fmla="*/ 48 w 393"/>
              <a:gd name="T97" fmla="*/ 96 h 181"/>
              <a:gd name="T98" fmla="*/ 40 w 393"/>
              <a:gd name="T99" fmla="*/ 89 h 181"/>
              <a:gd name="T100" fmla="*/ 25 w 393"/>
              <a:gd name="T101" fmla="*/ 83 h 181"/>
              <a:gd name="T102" fmla="*/ 1 w 393"/>
              <a:gd name="T103" fmla="*/ 107 h 181"/>
              <a:gd name="T104" fmla="*/ 4 w 393"/>
              <a:gd name="T105" fmla="*/ 181 h 181"/>
              <a:gd name="T106" fmla="*/ 50 w 393"/>
              <a:gd name="T107" fmla="*/ 154 h 181"/>
              <a:gd name="T108" fmla="*/ 49 w 393"/>
              <a:gd name="T109" fmla="*/ 140 h 181"/>
              <a:gd name="T110" fmla="*/ 61 w 393"/>
              <a:gd name="T111" fmla="*/ 157 h 181"/>
              <a:gd name="T112" fmla="*/ 111 w 393"/>
              <a:gd name="T113" fmla="*/ 158 h 181"/>
              <a:gd name="T114" fmla="*/ 111 w 393"/>
              <a:gd name="T115" fmla="*/ 143 h 181"/>
              <a:gd name="T116" fmla="*/ 73 w 393"/>
              <a:gd name="T117" fmla="*/ 136 h 181"/>
              <a:gd name="T118" fmla="*/ 48 w 393"/>
              <a:gd name="T119" fmla="*/ 9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3" h="181">
                <a:moveTo>
                  <a:pt x="370" y="78"/>
                </a:moveTo>
                <a:cubicBezTo>
                  <a:pt x="382" y="78"/>
                  <a:pt x="392" y="66"/>
                  <a:pt x="392" y="51"/>
                </a:cubicBezTo>
                <a:cubicBezTo>
                  <a:pt x="392" y="37"/>
                  <a:pt x="382" y="25"/>
                  <a:pt x="370" y="25"/>
                </a:cubicBezTo>
                <a:cubicBezTo>
                  <a:pt x="358" y="25"/>
                  <a:pt x="348" y="37"/>
                  <a:pt x="348" y="51"/>
                </a:cubicBezTo>
                <a:cubicBezTo>
                  <a:pt x="348" y="66"/>
                  <a:pt x="358" y="78"/>
                  <a:pt x="370" y="78"/>
                </a:cubicBezTo>
                <a:close/>
                <a:moveTo>
                  <a:pt x="369" y="83"/>
                </a:moveTo>
                <a:cubicBezTo>
                  <a:pt x="363" y="83"/>
                  <a:pt x="358" y="86"/>
                  <a:pt x="354" y="89"/>
                </a:cubicBezTo>
                <a:cubicBezTo>
                  <a:pt x="352" y="91"/>
                  <a:pt x="349" y="93"/>
                  <a:pt x="346" y="96"/>
                </a:cubicBezTo>
                <a:cubicBezTo>
                  <a:pt x="336" y="107"/>
                  <a:pt x="321" y="136"/>
                  <a:pt x="321" y="136"/>
                </a:cubicBezTo>
                <a:cubicBezTo>
                  <a:pt x="283" y="143"/>
                  <a:pt x="283" y="143"/>
                  <a:pt x="283" y="143"/>
                </a:cubicBezTo>
                <a:cubicBezTo>
                  <a:pt x="283" y="158"/>
                  <a:pt x="283" y="158"/>
                  <a:pt x="283" y="158"/>
                </a:cubicBezTo>
                <a:cubicBezTo>
                  <a:pt x="332" y="157"/>
                  <a:pt x="332" y="157"/>
                  <a:pt x="332" y="157"/>
                </a:cubicBezTo>
                <a:cubicBezTo>
                  <a:pt x="345" y="140"/>
                  <a:pt x="345" y="140"/>
                  <a:pt x="345" y="140"/>
                </a:cubicBezTo>
                <a:cubicBezTo>
                  <a:pt x="345" y="140"/>
                  <a:pt x="344" y="146"/>
                  <a:pt x="344" y="154"/>
                </a:cubicBezTo>
                <a:cubicBezTo>
                  <a:pt x="362" y="161"/>
                  <a:pt x="377" y="170"/>
                  <a:pt x="390" y="179"/>
                </a:cubicBezTo>
                <a:cubicBezTo>
                  <a:pt x="393" y="107"/>
                  <a:pt x="393" y="107"/>
                  <a:pt x="393" y="107"/>
                </a:cubicBezTo>
                <a:cubicBezTo>
                  <a:pt x="393" y="94"/>
                  <a:pt x="382" y="83"/>
                  <a:pt x="369" y="83"/>
                </a:cubicBezTo>
                <a:close/>
                <a:moveTo>
                  <a:pt x="197" y="52"/>
                </a:moveTo>
                <a:cubicBezTo>
                  <a:pt x="209" y="52"/>
                  <a:pt x="219" y="41"/>
                  <a:pt x="219" y="26"/>
                </a:cubicBezTo>
                <a:cubicBezTo>
                  <a:pt x="219" y="12"/>
                  <a:pt x="209" y="0"/>
                  <a:pt x="197" y="0"/>
                </a:cubicBezTo>
                <a:cubicBezTo>
                  <a:pt x="184" y="0"/>
                  <a:pt x="174" y="12"/>
                  <a:pt x="174" y="26"/>
                </a:cubicBezTo>
                <a:cubicBezTo>
                  <a:pt x="174" y="41"/>
                  <a:pt x="184" y="52"/>
                  <a:pt x="197" y="52"/>
                </a:cubicBezTo>
                <a:close/>
                <a:moveTo>
                  <a:pt x="223" y="60"/>
                </a:moveTo>
                <a:cubicBezTo>
                  <a:pt x="170" y="60"/>
                  <a:pt x="170" y="60"/>
                  <a:pt x="170" y="60"/>
                </a:cubicBezTo>
                <a:cubicBezTo>
                  <a:pt x="151" y="60"/>
                  <a:pt x="135" y="76"/>
                  <a:pt x="135" y="95"/>
                </a:cubicBezTo>
                <a:cubicBezTo>
                  <a:pt x="135" y="131"/>
                  <a:pt x="135" y="131"/>
                  <a:pt x="135" y="131"/>
                </a:cubicBezTo>
                <a:cubicBezTo>
                  <a:pt x="142" y="130"/>
                  <a:pt x="149" y="129"/>
                  <a:pt x="157" y="129"/>
                </a:cubicBezTo>
                <a:cubicBezTo>
                  <a:pt x="157" y="104"/>
                  <a:pt x="157" y="104"/>
                  <a:pt x="157" y="104"/>
                </a:cubicBezTo>
                <a:cubicBezTo>
                  <a:pt x="164" y="104"/>
                  <a:pt x="164" y="104"/>
                  <a:pt x="164" y="104"/>
                </a:cubicBezTo>
                <a:cubicBezTo>
                  <a:pt x="164" y="128"/>
                  <a:pt x="164" y="128"/>
                  <a:pt x="164" y="128"/>
                </a:cubicBezTo>
                <a:cubicBezTo>
                  <a:pt x="172" y="127"/>
                  <a:pt x="181" y="127"/>
                  <a:pt x="190" y="127"/>
                </a:cubicBezTo>
                <a:cubicBezTo>
                  <a:pt x="193" y="73"/>
                  <a:pt x="193" y="73"/>
                  <a:pt x="193" y="73"/>
                </a:cubicBezTo>
                <a:cubicBezTo>
                  <a:pt x="189" y="70"/>
                  <a:pt x="190" y="65"/>
                  <a:pt x="194" y="62"/>
                </a:cubicBezTo>
                <a:cubicBezTo>
                  <a:pt x="200" y="62"/>
                  <a:pt x="200" y="62"/>
                  <a:pt x="200" y="62"/>
                </a:cubicBezTo>
                <a:cubicBezTo>
                  <a:pt x="203" y="65"/>
                  <a:pt x="204" y="70"/>
                  <a:pt x="200" y="73"/>
                </a:cubicBezTo>
                <a:cubicBezTo>
                  <a:pt x="203" y="127"/>
                  <a:pt x="203" y="127"/>
                  <a:pt x="203" y="127"/>
                </a:cubicBezTo>
                <a:cubicBezTo>
                  <a:pt x="213" y="127"/>
                  <a:pt x="221" y="127"/>
                  <a:pt x="230" y="128"/>
                </a:cubicBezTo>
                <a:cubicBezTo>
                  <a:pt x="230" y="104"/>
                  <a:pt x="230" y="104"/>
                  <a:pt x="230" y="104"/>
                </a:cubicBezTo>
                <a:cubicBezTo>
                  <a:pt x="237" y="104"/>
                  <a:pt x="237" y="104"/>
                  <a:pt x="237" y="104"/>
                </a:cubicBezTo>
                <a:cubicBezTo>
                  <a:pt x="237" y="129"/>
                  <a:pt x="237" y="129"/>
                  <a:pt x="237" y="129"/>
                </a:cubicBezTo>
                <a:cubicBezTo>
                  <a:pt x="244" y="129"/>
                  <a:pt x="251" y="130"/>
                  <a:pt x="258" y="131"/>
                </a:cubicBezTo>
                <a:cubicBezTo>
                  <a:pt x="258" y="95"/>
                  <a:pt x="258" y="95"/>
                  <a:pt x="258" y="95"/>
                </a:cubicBezTo>
                <a:cubicBezTo>
                  <a:pt x="258" y="78"/>
                  <a:pt x="244" y="60"/>
                  <a:pt x="223" y="60"/>
                </a:cubicBezTo>
                <a:close/>
                <a:moveTo>
                  <a:pt x="22" y="78"/>
                </a:moveTo>
                <a:cubicBezTo>
                  <a:pt x="34" y="78"/>
                  <a:pt x="44" y="66"/>
                  <a:pt x="44" y="51"/>
                </a:cubicBezTo>
                <a:cubicBezTo>
                  <a:pt x="44" y="37"/>
                  <a:pt x="34" y="25"/>
                  <a:pt x="22" y="25"/>
                </a:cubicBezTo>
                <a:cubicBezTo>
                  <a:pt x="10" y="25"/>
                  <a:pt x="0" y="37"/>
                  <a:pt x="0" y="51"/>
                </a:cubicBezTo>
                <a:cubicBezTo>
                  <a:pt x="0" y="66"/>
                  <a:pt x="10" y="78"/>
                  <a:pt x="22" y="78"/>
                </a:cubicBezTo>
                <a:close/>
                <a:moveTo>
                  <a:pt x="48" y="96"/>
                </a:moveTo>
                <a:cubicBezTo>
                  <a:pt x="45" y="93"/>
                  <a:pt x="42" y="91"/>
                  <a:pt x="40" y="89"/>
                </a:cubicBezTo>
                <a:cubicBezTo>
                  <a:pt x="36" y="86"/>
                  <a:pt x="30" y="83"/>
                  <a:pt x="25" y="83"/>
                </a:cubicBezTo>
                <a:cubicBezTo>
                  <a:pt x="11" y="83"/>
                  <a:pt x="1" y="94"/>
                  <a:pt x="1" y="107"/>
                </a:cubicBezTo>
                <a:cubicBezTo>
                  <a:pt x="4" y="181"/>
                  <a:pt x="4" y="181"/>
                  <a:pt x="4" y="181"/>
                </a:cubicBezTo>
                <a:cubicBezTo>
                  <a:pt x="16" y="171"/>
                  <a:pt x="32" y="162"/>
                  <a:pt x="50" y="154"/>
                </a:cubicBezTo>
                <a:cubicBezTo>
                  <a:pt x="50" y="147"/>
                  <a:pt x="49" y="140"/>
                  <a:pt x="49" y="140"/>
                </a:cubicBezTo>
                <a:cubicBezTo>
                  <a:pt x="61" y="157"/>
                  <a:pt x="61" y="157"/>
                  <a:pt x="61" y="157"/>
                </a:cubicBezTo>
                <a:cubicBezTo>
                  <a:pt x="111" y="158"/>
                  <a:pt x="111" y="158"/>
                  <a:pt x="111" y="158"/>
                </a:cubicBezTo>
                <a:cubicBezTo>
                  <a:pt x="111" y="143"/>
                  <a:pt x="111" y="143"/>
                  <a:pt x="111" y="143"/>
                </a:cubicBezTo>
                <a:cubicBezTo>
                  <a:pt x="73" y="136"/>
                  <a:pt x="73" y="136"/>
                  <a:pt x="73" y="136"/>
                </a:cubicBezTo>
                <a:cubicBezTo>
                  <a:pt x="73" y="136"/>
                  <a:pt x="58" y="107"/>
                  <a:pt x="48" y="96"/>
                </a:cubicBezTo>
                <a:close/>
              </a:path>
            </a:pathLst>
          </a:custGeom>
          <a:solidFill>
            <a:srgbClr val="1499DE"/>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dirty="0">
              <a:ln>
                <a:noFill/>
              </a:ln>
              <a:solidFill>
                <a:srgbClr val="2C2C2D"/>
              </a:solidFill>
              <a:effectLst/>
              <a:uLnTx/>
              <a:uFillTx/>
              <a:latin typeface="EYInterstate Light" panose="02000506000000020004" pitchFamily="2" charset="0"/>
            </a:endParaRPr>
          </a:p>
        </p:txBody>
      </p:sp>
      <p:sp>
        <p:nvSpPr>
          <p:cNvPr id="2386" name="TextBox 2385">
            <a:extLst>
              <a:ext uri="{FF2B5EF4-FFF2-40B4-BE49-F238E27FC236}">
                <a16:creationId xmlns:a16="http://schemas.microsoft.com/office/drawing/2014/main" id="{12B938EB-2E01-16F9-8F1F-0BDFAE54BDDA}"/>
              </a:ext>
            </a:extLst>
          </p:cNvPr>
          <p:cNvSpPr txBox="1"/>
          <p:nvPr/>
        </p:nvSpPr>
        <p:spPr>
          <a:xfrm>
            <a:off x="5741541" y="2501496"/>
            <a:ext cx="1625522" cy="856645"/>
          </a:xfrm>
          <a:prstGeom prst="rect">
            <a:avLst/>
          </a:prstGeom>
          <a:noFill/>
        </p:spPr>
        <p:txBody>
          <a:bodyPr wrap="square" lIns="0" tIns="0" rIns="0" bIns="0" rtlCol="0">
            <a:spAutoFit/>
          </a:bodyPr>
          <a:lstStyle/>
          <a:p>
            <a:pPr algn="just">
              <a:spcAft>
                <a:spcPts val="225"/>
              </a:spcAft>
              <a:buClr>
                <a:srgbClr val="E78306"/>
              </a:buClr>
              <a:buSzPct val="70000"/>
            </a:pPr>
            <a:r>
              <a:rPr lang="en-IN" sz="1100" dirty="0">
                <a:solidFill>
                  <a:srgbClr val="2C2C2D"/>
                </a:solidFill>
                <a:latin typeface="EYInterstate Light" panose="02000506000000020004" pitchFamily="2" charset="0"/>
              </a:rPr>
              <a:t>Business impact if the data (or functionality) is tampered with (i.e. inaccurate).</a:t>
            </a:r>
          </a:p>
          <a:p>
            <a:pPr marL="171450" indent="-171450">
              <a:spcAft>
                <a:spcPts val="225"/>
              </a:spcAft>
              <a:buClr>
                <a:srgbClr val="E78306"/>
              </a:buClr>
              <a:buSzPct val="70000"/>
              <a:buFont typeface="Arial" pitchFamily="34" charset="0"/>
              <a:buChar char="►"/>
            </a:pPr>
            <a:endParaRPr lang="en-IN" sz="1050" dirty="0">
              <a:solidFill>
                <a:srgbClr val="808080"/>
              </a:solidFill>
              <a:latin typeface="EYInterstate Light" panose="02000506000000020004" pitchFamily="2" charset="0"/>
            </a:endParaRPr>
          </a:p>
        </p:txBody>
      </p:sp>
      <p:cxnSp>
        <p:nvCxnSpPr>
          <p:cNvPr id="2387" name="Straight Connector 2386">
            <a:extLst>
              <a:ext uri="{FF2B5EF4-FFF2-40B4-BE49-F238E27FC236}">
                <a16:creationId xmlns:a16="http://schemas.microsoft.com/office/drawing/2014/main" id="{6D681504-824B-1060-2154-8F27F77481D9}"/>
              </a:ext>
            </a:extLst>
          </p:cNvPr>
          <p:cNvCxnSpPr>
            <a:cxnSpLocks/>
          </p:cNvCxnSpPr>
          <p:nvPr/>
        </p:nvCxnSpPr>
        <p:spPr>
          <a:xfrm rot="5400000">
            <a:off x="5570070" y="4070835"/>
            <a:ext cx="3958145" cy="0"/>
          </a:xfrm>
          <a:prstGeom prst="line">
            <a:avLst/>
          </a:prstGeom>
          <a:noFill/>
          <a:ln w="12700" cap="flat" cmpd="sng" algn="ctr">
            <a:solidFill>
              <a:srgbClr val="E64D23"/>
            </a:solidFill>
            <a:prstDash val="dash"/>
            <a:round/>
            <a:headEnd type="none" w="med" len="med"/>
            <a:tailEnd type="none" w="med" len="med"/>
          </a:ln>
          <a:effectLst/>
        </p:spPr>
      </p:cxnSp>
      <p:cxnSp>
        <p:nvCxnSpPr>
          <p:cNvPr id="2388" name="Straight Connector 2387">
            <a:extLst>
              <a:ext uri="{FF2B5EF4-FFF2-40B4-BE49-F238E27FC236}">
                <a16:creationId xmlns:a16="http://schemas.microsoft.com/office/drawing/2014/main" id="{1EA0EDAC-A3DF-6E33-F263-B3F42662C859}"/>
              </a:ext>
            </a:extLst>
          </p:cNvPr>
          <p:cNvCxnSpPr>
            <a:cxnSpLocks/>
          </p:cNvCxnSpPr>
          <p:nvPr/>
        </p:nvCxnSpPr>
        <p:spPr>
          <a:xfrm rot="5400000">
            <a:off x="7560651" y="4088352"/>
            <a:ext cx="3958145" cy="0"/>
          </a:xfrm>
          <a:prstGeom prst="line">
            <a:avLst/>
          </a:prstGeom>
          <a:noFill/>
          <a:ln w="12700" cap="flat" cmpd="sng" algn="ctr">
            <a:solidFill>
              <a:srgbClr val="E64D23"/>
            </a:solidFill>
            <a:prstDash val="dash"/>
            <a:round/>
            <a:headEnd type="none" w="med" len="med"/>
            <a:tailEnd type="none" w="med" len="med"/>
          </a:ln>
          <a:effectLst/>
        </p:spPr>
      </p:cxnSp>
    </p:spTree>
    <p:extLst>
      <p:ext uri="{BB962C8B-B14F-4D97-AF65-F5344CB8AC3E}">
        <p14:creationId xmlns:p14="http://schemas.microsoft.com/office/powerpoint/2010/main" val="40638516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F09EF4-86D6-9E03-B2A5-F97B5B5F14FD}"/>
              </a:ext>
            </a:extLst>
          </p:cNvPr>
          <p:cNvSpPr txBox="1"/>
          <p:nvPr/>
        </p:nvSpPr>
        <p:spPr>
          <a:xfrm>
            <a:off x="609599" y="147456"/>
            <a:ext cx="10972802" cy="50783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3600" b="0" i="0" u="none" strike="noStrike" kern="1200" cap="none" spc="0" normalizeH="0" baseline="0" noProof="0" dirty="0">
                <a:ln>
                  <a:noFill/>
                </a:ln>
                <a:solidFill>
                  <a:prstClr val="white"/>
                </a:solidFill>
                <a:effectLst/>
                <a:uLnTx/>
                <a:uFillTx/>
                <a:latin typeface="EYInterstate Light"/>
                <a:ea typeface="+mn-ea"/>
                <a:cs typeface="+mn-cs"/>
              </a:rPr>
              <a:t>Risk Score Matrix</a:t>
            </a:r>
          </a:p>
        </p:txBody>
      </p:sp>
      <p:sp>
        <p:nvSpPr>
          <p:cNvPr id="3" name="Rectangle 2">
            <a:extLst>
              <a:ext uri="{FF2B5EF4-FFF2-40B4-BE49-F238E27FC236}">
                <a16:creationId xmlns:a16="http://schemas.microsoft.com/office/drawing/2014/main" id="{4024A29F-BB60-4F99-E541-EF87C6D8655D}"/>
              </a:ext>
            </a:extLst>
          </p:cNvPr>
          <p:cNvSpPr/>
          <p:nvPr/>
        </p:nvSpPr>
        <p:spPr>
          <a:xfrm>
            <a:off x="1259632" y="915566"/>
            <a:ext cx="648072"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ctr">
              <a:buFont typeface="Wingdings" panose="05000000000000000000" pitchFamily="2" charset="2"/>
              <a:buChar char="§"/>
            </a:pPr>
            <a:endParaRPr lang="en-IN" sz="1400">
              <a:solidFill>
                <a:schemeClr val="bg1"/>
              </a:solidFill>
            </a:endParaRPr>
          </a:p>
        </p:txBody>
      </p:sp>
      <p:grpSp>
        <p:nvGrpSpPr>
          <p:cNvPr id="6" name="Group 5">
            <a:extLst>
              <a:ext uri="{FF2B5EF4-FFF2-40B4-BE49-F238E27FC236}">
                <a16:creationId xmlns:a16="http://schemas.microsoft.com/office/drawing/2014/main" id="{2246F49C-BD9A-B37F-9BBF-5A29C83E4051}"/>
              </a:ext>
            </a:extLst>
          </p:cNvPr>
          <p:cNvGrpSpPr/>
          <p:nvPr/>
        </p:nvGrpSpPr>
        <p:grpSpPr>
          <a:xfrm>
            <a:off x="7286625" y="2804511"/>
            <a:ext cx="4769572" cy="554993"/>
            <a:chOff x="5148064" y="1347614"/>
            <a:chExt cx="3837112" cy="648072"/>
          </a:xfrm>
        </p:grpSpPr>
        <p:grpSp>
          <p:nvGrpSpPr>
            <p:cNvPr id="7" name="Group 6">
              <a:extLst>
                <a:ext uri="{FF2B5EF4-FFF2-40B4-BE49-F238E27FC236}">
                  <a16:creationId xmlns:a16="http://schemas.microsoft.com/office/drawing/2014/main" id="{B59D0AD8-30AD-CBF0-0DDD-C3481B4E49FF}"/>
                </a:ext>
              </a:extLst>
            </p:cNvPr>
            <p:cNvGrpSpPr/>
            <p:nvPr/>
          </p:nvGrpSpPr>
          <p:grpSpPr>
            <a:xfrm>
              <a:off x="5148064" y="1347614"/>
              <a:ext cx="3837112" cy="648072"/>
              <a:chOff x="457200" y="1425600"/>
              <a:chExt cx="8229600" cy="1117600"/>
            </a:xfrm>
          </p:grpSpPr>
          <p:sp>
            <p:nvSpPr>
              <p:cNvPr id="13" name="Rectangle 71">
                <a:extLst>
                  <a:ext uri="{FF2B5EF4-FFF2-40B4-BE49-F238E27FC236}">
                    <a16:creationId xmlns:a16="http://schemas.microsoft.com/office/drawing/2014/main" id="{ADC69E6C-6ED3-A8B2-2E22-026960FA53BF}"/>
                  </a:ext>
                </a:extLst>
              </p:cNvPr>
              <p:cNvSpPr/>
              <p:nvPr/>
            </p:nvSpPr>
            <p:spPr>
              <a:xfrm>
                <a:off x="6901812" y="1425600"/>
                <a:ext cx="1784988" cy="1117600"/>
              </a:xfrm>
              <a:custGeom>
                <a:avLst/>
                <a:gdLst/>
                <a:ahLst/>
                <a:cxnLst/>
                <a:rect l="l" t="t" r="r" b="b"/>
                <a:pathLst>
                  <a:path w="1784988" h="1117600">
                    <a:moveTo>
                      <a:pt x="0" y="0"/>
                    </a:moveTo>
                    <a:lnTo>
                      <a:pt x="1276480" y="0"/>
                    </a:lnTo>
                    <a:lnTo>
                      <a:pt x="1645288" y="0"/>
                    </a:lnTo>
                    <a:lnTo>
                      <a:pt x="1645920" y="0"/>
                    </a:lnTo>
                    <a:lnTo>
                      <a:pt x="1645920" y="1264"/>
                    </a:lnTo>
                    <a:lnTo>
                      <a:pt x="1784988" y="279400"/>
                    </a:lnTo>
                    <a:lnTo>
                      <a:pt x="1645920" y="557536"/>
                    </a:lnTo>
                    <a:lnTo>
                      <a:pt x="1645920" y="1117600"/>
                    </a:lnTo>
                    <a:lnTo>
                      <a:pt x="0" y="111760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4" name="Rectangle 68">
                <a:extLst>
                  <a:ext uri="{FF2B5EF4-FFF2-40B4-BE49-F238E27FC236}">
                    <a16:creationId xmlns:a16="http://schemas.microsoft.com/office/drawing/2014/main" id="{3F57934E-E4D7-2D9D-634D-C95561FF491A}"/>
                  </a:ext>
                </a:extLst>
              </p:cNvPr>
              <p:cNvSpPr/>
              <p:nvPr/>
            </p:nvSpPr>
            <p:spPr>
              <a:xfrm>
                <a:off x="5290659" y="1425600"/>
                <a:ext cx="1784988" cy="1117600"/>
              </a:xfrm>
              <a:custGeom>
                <a:avLst/>
                <a:gdLst/>
                <a:ahLst/>
                <a:cxnLst/>
                <a:rect l="l" t="t" r="r" b="b"/>
                <a:pathLst>
                  <a:path w="1784988" h="1117600">
                    <a:moveTo>
                      <a:pt x="0" y="0"/>
                    </a:moveTo>
                    <a:lnTo>
                      <a:pt x="1276480" y="0"/>
                    </a:lnTo>
                    <a:lnTo>
                      <a:pt x="1645288" y="0"/>
                    </a:lnTo>
                    <a:lnTo>
                      <a:pt x="1645920" y="0"/>
                    </a:lnTo>
                    <a:lnTo>
                      <a:pt x="1645920" y="1264"/>
                    </a:lnTo>
                    <a:lnTo>
                      <a:pt x="1784988" y="279400"/>
                    </a:lnTo>
                    <a:lnTo>
                      <a:pt x="1645920" y="557536"/>
                    </a:lnTo>
                    <a:lnTo>
                      <a:pt x="1645920" y="1117600"/>
                    </a:lnTo>
                    <a:lnTo>
                      <a:pt x="0" y="1117600"/>
                    </a:lnTo>
                    <a:close/>
                  </a:path>
                </a:pathLst>
              </a:custGeom>
              <a:solidFill>
                <a:schemeClr val="accent4">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5" name="Rectangle 62">
                <a:extLst>
                  <a:ext uri="{FF2B5EF4-FFF2-40B4-BE49-F238E27FC236}">
                    <a16:creationId xmlns:a16="http://schemas.microsoft.com/office/drawing/2014/main" id="{9F6F5A1A-A5BB-4EC1-0DA6-8664837C21BE}"/>
                  </a:ext>
                </a:extLst>
              </p:cNvPr>
              <p:cNvSpPr/>
              <p:nvPr/>
            </p:nvSpPr>
            <p:spPr>
              <a:xfrm>
                <a:off x="3679506" y="1425600"/>
                <a:ext cx="1784988" cy="1117600"/>
              </a:xfrm>
              <a:custGeom>
                <a:avLst/>
                <a:gdLst/>
                <a:ahLst/>
                <a:cxnLst/>
                <a:rect l="l" t="t" r="r" b="b"/>
                <a:pathLst>
                  <a:path w="1784988" h="1117600">
                    <a:moveTo>
                      <a:pt x="0" y="0"/>
                    </a:moveTo>
                    <a:lnTo>
                      <a:pt x="1276480" y="0"/>
                    </a:lnTo>
                    <a:lnTo>
                      <a:pt x="1645288" y="0"/>
                    </a:lnTo>
                    <a:lnTo>
                      <a:pt x="1645920" y="0"/>
                    </a:lnTo>
                    <a:lnTo>
                      <a:pt x="1645920" y="1264"/>
                    </a:lnTo>
                    <a:lnTo>
                      <a:pt x="1784988" y="279400"/>
                    </a:lnTo>
                    <a:lnTo>
                      <a:pt x="1645920" y="557536"/>
                    </a:lnTo>
                    <a:lnTo>
                      <a:pt x="1645920" y="1117600"/>
                    </a:lnTo>
                    <a:lnTo>
                      <a:pt x="0" y="1117600"/>
                    </a:lnTo>
                    <a:close/>
                  </a:path>
                </a:pathLst>
              </a:cu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6" name="Rectangle 58">
                <a:extLst>
                  <a:ext uri="{FF2B5EF4-FFF2-40B4-BE49-F238E27FC236}">
                    <a16:creationId xmlns:a16="http://schemas.microsoft.com/office/drawing/2014/main" id="{6B38A0D7-775B-3B69-6CA9-16788CB640E1}"/>
                  </a:ext>
                </a:extLst>
              </p:cNvPr>
              <p:cNvSpPr/>
              <p:nvPr/>
            </p:nvSpPr>
            <p:spPr>
              <a:xfrm>
                <a:off x="2068353" y="1425600"/>
                <a:ext cx="1784988" cy="1117600"/>
              </a:xfrm>
              <a:custGeom>
                <a:avLst/>
                <a:gdLst/>
                <a:ahLst/>
                <a:cxnLst/>
                <a:rect l="l" t="t" r="r" b="b"/>
                <a:pathLst>
                  <a:path w="1784988" h="1117600">
                    <a:moveTo>
                      <a:pt x="0" y="0"/>
                    </a:moveTo>
                    <a:lnTo>
                      <a:pt x="1276480" y="0"/>
                    </a:lnTo>
                    <a:lnTo>
                      <a:pt x="1645288" y="0"/>
                    </a:lnTo>
                    <a:lnTo>
                      <a:pt x="1645920" y="0"/>
                    </a:lnTo>
                    <a:lnTo>
                      <a:pt x="1645920" y="1264"/>
                    </a:lnTo>
                    <a:lnTo>
                      <a:pt x="1784988" y="279400"/>
                    </a:lnTo>
                    <a:lnTo>
                      <a:pt x="1645920" y="557536"/>
                    </a:lnTo>
                    <a:lnTo>
                      <a:pt x="1645920" y="1117600"/>
                    </a:lnTo>
                    <a:lnTo>
                      <a:pt x="0" y="1117600"/>
                    </a:lnTo>
                    <a:close/>
                  </a:path>
                </a:pathLst>
              </a:cu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7" name="Flowchart: Card 6">
                <a:extLst>
                  <a:ext uri="{FF2B5EF4-FFF2-40B4-BE49-F238E27FC236}">
                    <a16:creationId xmlns:a16="http://schemas.microsoft.com/office/drawing/2014/main" id="{9696CF9F-53AB-C1D1-DB93-5B1FD2B1A4D9}"/>
                  </a:ext>
                </a:extLst>
              </p:cNvPr>
              <p:cNvSpPr/>
              <p:nvPr/>
            </p:nvSpPr>
            <p:spPr>
              <a:xfrm>
                <a:off x="457200" y="1425600"/>
                <a:ext cx="1784988" cy="1117600"/>
              </a:xfrm>
              <a:custGeom>
                <a:avLst/>
                <a:gdLst/>
                <a:ahLst/>
                <a:cxnLst/>
                <a:rect l="l" t="t" r="r" b="b"/>
                <a:pathLst>
                  <a:path w="1784988" h="1117600">
                    <a:moveTo>
                      <a:pt x="329184" y="0"/>
                    </a:moveTo>
                    <a:lnTo>
                      <a:pt x="1276480" y="0"/>
                    </a:lnTo>
                    <a:lnTo>
                      <a:pt x="1645288" y="0"/>
                    </a:lnTo>
                    <a:lnTo>
                      <a:pt x="1645920" y="0"/>
                    </a:lnTo>
                    <a:lnTo>
                      <a:pt x="1645920" y="1264"/>
                    </a:lnTo>
                    <a:lnTo>
                      <a:pt x="1784988" y="279400"/>
                    </a:lnTo>
                    <a:lnTo>
                      <a:pt x="1645920" y="557536"/>
                    </a:lnTo>
                    <a:lnTo>
                      <a:pt x="1645920" y="1117600"/>
                    </a:lnTo>
                    <a:lnTo>
                      <a:pt x="0" y="1117600"/>
                    </a:lnTo>
                    <a:lnTo>
                      <a:pt x="0" y="223520"/>
                    </a:lnTo>
                    <a:close/>
                  </a:path>
                </a:pathLst>
              </a:cu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8" name="Hexagon 17">
                <a:extLst>
                  <a:ext uri="{FF2B5EF4-FFF2-40B4-BE49-F238E27FC236}">
                    <a16:creationId xmlns:a16="http://schemas.microsoft.com/office/drawing/2014/main" id="{D7E11297-5BE6-5812-435B-399871381FFD}"/>
                  </a:ext>
                </a:extLst>
              </p:cNvPr>
              <p:cNvSpPr/>
              <p:nvPr/>
            </p:nvSpPr>
            <p:spPr>
              <a:xfrm>
                <a:off x="1685925" y="1501800"/>
                <a:ext cx="467712" cy="456605"/>
              </a:xfrm>
              <a:prstGeom prst="hexagon">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en-US" sz="1400" b="1">
                    <a:solidFill>
                      <a:schemeClr val="bg1"/>
                    </a:solidFill>
                  </a:rPr>
                  <a:t>1</a:t>
                </a:r>
              </a:p>
            </p:txBody>
          </p:sp>
          <p:sp>
            <p:nvSpPr>
              <p:cNvPr id="19" name="Hexagon 18">
                <a:extLst>
                  <a:ext uri="{FF2B5EF4-FFF2-40B4-BE49-F238E27FC236}">
                    <a16:creationId xmlns:a16="http://schemas.microsoft.com/office/drawing/2014/main" id="{2230D943-C61B-7B35-8B70-AF39CE3A4B4B}"/>
                  </a:ext>
                </a:extLst>
              </p:cNvPr>
              <p:cNvSpPr/>
              <p:nvPr/>
            </p:nvSpPr>
            <p:spPr>
              <a:xfrm>
                <a:off x="3295714" y="1501800"/>
                <a:ext cx="467712" cy="456605"/>
              </a:xfrm>
              <a:prstGeom prst="hexagon">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en-US" sz="1400" b="1">
                    <a:solidFill>
                      <a:schemeClr val="bg1"/>
                    </a:solidFill>
                  </a:rPr>
                  <a:t>2</a:t>
                </a:r>
              </a:p>
            </p:txBody>
          </p:sp>
          <p:sp>
            <p:nvSpPr>
              <p:cNvPr id="20" name="Hexagon 19">
                <a:extLst>
                  <a:ext uri="{FF2B5EF4-FFF2-40B4-BE49-F238E27FC236}">
                    <a16:creationId xmlns:a16="http://schemas.microsoft.com/office/drawing/2014/main" id="{76BBB582-64DD-B836-C4B1-9D37E4E76350}"/>
                  </a:ext>
                </a:extLst>
              </p:cNvPr>
              <p:cNvSpPr/>
              <p:nvPr/>
            </p:nvSpPr>
            <p:spPr>
              <a:xfrm>
                <a:off x="4908663" y="1501800"/>
                <a:ext cx="467712" cy="456605"/>
              </a:xfrm>
              <a:prstGeom prst="hexagon">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en-US" sz="1400" b="1">
                    <a:solidFill>
                      <a:schemeClr val="bg1"/>
                    </a:solidFill>
                  </a:rPr>
                  <a:t>3</a:t>
                </a:r>
              </a:p>
            </p:txBody>
          </p:sp>
          <p:sp>
            <p:nvSpPr>
              <p:cNvPr id="21" name="Hexagon 20">
                <a:extLst>
                  <a:ext uri="{FF2B5EF4-FFF2-40B4-BE49-F238E27FC236}">
                    <a16:creationId xmlns:a16="http://schemas.microsoft.com/office/drawing/2014/main" id="{333FEF59-9EB9-1863-97F6-FC5EBCACA253}"/>
                  </a:ext>
                </a:extLst>
              </p:cNvPr>
              <p:cNvSpPr/>
              <p:nvPr/>
            </p:nvSpPr>
            <p:spPr>
              <a:xfrm>
                <a:off x="6518388" y="1501800"/>
                <a:ext cx="467712" cy="456605"/>
              </a:xfrm>
              <a:prstGeom prst="hexagon">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en-US" sz="1400" b="1">
                    <a:solidFill>
                      <a:schemeClr val="bg1"/>
                    </a:solidFill>
                  </a:rPr>
                  <a:t>4</a:t>
                </a:r>
              </a:p>
            </p:txBody>
          </p:sp>
          <p:sp>
            <p:nvSpPr>
              <p:cNvPr id="22" name="Hexagon 21">
                <a:extLst>
                  <a:ext uri="{FF2B5EF4-FFF2-40B4-BE49-F238E27FC236}">
                    <a16:creationId xmlns:a16="http://schemas.microsoft.com/office/drawing/2014/main" id="{7C5DDD6B-1339-D667-D1FA-09A173A1269E}"/>
                  </a:ext>
                </a:extLst>
              </p:cNvPr>
              <p:cNvSpPr/>
              <p:nvPr/>
            </p:nvSpPr>
            <p:spPr>
              <a:xfrm>
                <a:off x="8131288" y="1501800"/>
                <a:ext cx="467712" cy="456605"/>
              </a:xfrm>
              <a:prstGeom prst="hexagon">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en-US" sz="1400" b="1">
                    <a:solidFill>
                      <a:schemeClr val="bg1"/>
                    </a:solidFill>
                  </a:rPr>
                  <a:t>5</a:t>
                </a:r>
              </a:p>
            </p:txBody>
          </p:sp>
        </p:grpSp>
        <p:sp>
          <p:nvSpPr>
            <p:cNvPr id="8" name="TextBox 7">
              <a:extLst>
                <a:ext uri="{FF2B5EF4-FFF2-40B4-BE49-F238E27FC236}">
                  <a16:creationId xmlns:a16="http://schemas.microsoft.com/office/drawing/2014/main" id="{2373A883-C2C4-6EC8-1D60-41C015C7D3E5}"/>
                </a:ext>
              </a:extLst>
            </p:cNvPr>
            <p:cNvSpPr txBox="1"/>
            <p:nvPr/>
          </p:nvSpPr>
          <p:spPr>
            <a:xfrm>
              <a:off x="5199688" y="1582041"/>
              <a:ext cx="707054" cy="336586"/>
            </a:xfrm>
            <a:prstGeom prst="rect">
              <a:avLst/>
            </a:prstGeom>
            <a:noFill/>
          </p:spPr>
          <p:txBody>
            <a:bodyPr wrap="square" rtlCol="0">
              <a:spAutoFit/>
            </a:bodyPr>
            <a:lstStyle/>
            <a:p>
              <a:pPr algn="ctr"/>
              <a:r>
                <a:rPr lang="en-IN" sz="1000" b="1" dirty="0"/>
                <a:t>Very low</a:t>
              </a:r>
            </a:p>
          </p:txBody>
        </p:sp>
        <p:sp>
          <p:nvSpPr>
            <p:cNvPr id="9" name="TextBox 8">
              <a:extLst>
                <a:ext uri="{FF2B5EF4-FFF2-40B4-BE49-F238E27FC236}">
                  <a16:creationId xmlns:a16="http://schemas.microsoft.com/office/drawing/2014/main" id="{F45EA0EB-D7D5-2AD4-06B1-70B9CB7E4AD1}"/>
                </a:ext>
              </a:extLst>
            </p:cNvPr>
            <p:cNvSpPr txBox="1"/>
            <p:nvPr/>
          </p:nvSpPr>
          <p:spPr>
            <a:xfrm>
              <a:off x="6012160" y="1562400"/>
              <a:ext cx="576064" cy="259745"/>
            </a:xfrm>
            <a:prstGeom prst="rect">
              <a:avLst/>
            </a:prstGeom>
            <a:noFill/>
          </p:spPr>
          <p:txBody>
            <a:bodyPr wrap="square" rtlCol="0">
              <a:spAutoFit/>
            </a:bodyPr>
            <a:lstStyle/>
            <a:p>
              <a:pPr algn="ctr"/>
              <a:r>
                <a:rPr lang="en-IN" sz="1000" b="1"/>
                <a:t>Low</a:t>
              </a:r>
            </a:p>
          </p:txBody>
        </p:sp>
        <p:sp>
          <p:nvSpPr>
            <p:cNvPr id="10" name="TextBox 9">
              <a:extLst>
                <a:ext uri="{FF2B5EF4-FFF2-40B4-BE49-F238E27FC236}">
                  <a16:creationId xmlns:a16="http://schemas.microsoft.com/office/drawing/2014/main" id="{A874E572-520C-41B7-DE44-E0BCEF2BD698}"/>
                </a:ext>
              </a:extLst>
            </p:cNvPr>
            <p:cNvSpPr txBox="1"/>
            <p:nvPr/>
          </p:nvSpPr>
          <p:spPr>
            <a:xfrm>
              <a:off x="6653809" y="1562400"/>
              <a:ext cx="663919" cy="259745"/>
            </a:xfrm>
            <a:prstGeom prst="rect">
              <a:avLst/>
            </a:prstGeom>
            <a:noFill/>
          </p:spPr>
          <p:txBody>
            <a:bodyPr wrap="square" rtlCol="0">
              <a:spAutoFit/>
            </a:bodyPr>
            <a:lstStyle/>
            <a:p>
              <a:pPr algn="ctr"/>
              <a:r>
                <a:rPr lang="en-IN" sz="1000" b="1" dirty="0"/>
                <a:t>Medium</a:t>
              </a:r>
            </a:p>
          </p:txBody>
        </p:sp>
        <p:sp>
          <p:nvSpPr>
            <p:cNvPr id="11" name="TextBox 10">
              <a:extLst>
                <a:ext uri="{FF2B5EF4-FFF2-40B4-BE49-F238E27FC236}">
                  <a16:creationId xmlns:a16="http://schemas.microsoft.com/office/drawing/2014/main" id="{0875D7F0-EFEC-D724-A979-9CBF4E41D2DF}"/>
                </a:ext>
              </a:extLst>
            </p:cNvPr>
            <p:cNvSpPr txBox="1"/>
            <p:nvPr/>
          </p:nvSpPr>
          <p:spPr>
            <a:xfrm>
              <a:off x="7452320" y="1562400"/>
              <a:ext cx="576064" cy="259745"/>
            </a:xfrm>
            <a:prstGeom prst="rect">
              <a:avLst/>
            </a:prstGeom>
            <a:noFill/>
          </p:spPr>
          <p:txBody>
            <a:bodyPr wrap="square" rtlCol="0">
              <a:spAutoFit/>
            </a:bodyPr>
            <a:lstStyle/>
            <a:p>
              <a:pPr algn="ctr"/>
              <a:r>
                <a:rPr lang="en-IN" sz="1000" b="1"/>
                <a:t>High</a:t>
              </a:r>
            </a:p>
          </p:txBody>
        </p:sp>
        <p:sp>
          <p:nvSpPr>
            <p:cNvPr id="12" name="TextBox 11">
              <a:extLst>
                <a:ext uri="{FF2B5EF4-FFF2-40B4-BE49-F238E27FC236}">
                  <a16:creationId xmlns:a16="http://schemas.microsoft.com/office/drawing/2014/main" id="{20F7BCEC-4B49-E048-8FC3-993FAA65735E}"/>
                </a:ext>
              </a:extLst>
            </p:cNvPr>
            <p:cNvSpPr txBox="1"/>
            <p:nvPr/>
          </p:nvSpPr>
          <p:spPr>
            <a:xfrm>
              <a:off x="8163585" y="1581402"/>
              <a:ext cx="780654" cy="331379"/>
            </a:xfrm>
            <a:prstGeom prst="rect">
              <a:avLst/>
            </a:prstGeom>
            <a:noFill/>
          </p:spPr>
          <p:txBody>
            <a:bodyPr wrap="square" rtlCol="0">
              <a:spAutoFit/>
            </a:bodyPr>
            <a:lstStyle/>
            <a:p>
              <a:pPr algn="ctr"/>
              <a:r>
                <a:rPr lang="en-IN" sz="1000" b="1"/>
                <a:t>Very high</a:t>
              </a:r>
            </a:p>
          </p:txBody>
        </p:sp>
      </p:grpSp>
      <p:graphicFrame>
        <p:nvGraphicFramePr>
          <p:cNvPr id="23" name="Table 20">
            <a:extLst>
              <a:ext uri="{FF2B5EF4-FFF2-40B4-BE49-F238E27FC236}">
                <a16:creationId xmlns:a16="http://schemas.microsoft.com/office/drawing/2014/main" id="{8DC4B740-2D01-8F79-D5FB-E670470F000C}"/>
              </a:ext>
            </a:extLst>
          </p:cNvPr>
          <p:cNvGraphicFramePr>
            <a:graphicFrameLocks noGrp="1"/>
          </p:cNvGraphicFramePr>
          <p:nvPr>
            <p:extLst>
              <p:ext uri="{D42A27DB-BD31-4B8C-83A1-F6EECF244321}">
                <p14:modId xmlns:p14="http://schemas.microsoft.com/office/powerpoint/2010/main" val="804398806"/>
              </p:ext>
            </p:extLst>
          </p:nvPr>
        </p:nvGraphicFramePr>
        <p:xfrm>
          <a:off x="6234859" y="3429000"/>
          <a:ext cx="5821338" cy="2605228"/>
        </p:xfrm>
        <a:graphic>
          <a:graphicData uri="http://schemas.openxmlformats.org/drawingml/2006/table">
            <a:tbl>
              <a:tblPr firstRow="1" bandRow="1">
                <a:tableStyleId>{5940675A-B579-460E-94D1-54222C63F5DA}</a:tableStyleId>
              </a:tblPr>
              <a:tblGrid>
                <a:gridCol w="1054926">
                  <a:extLst>
                    <a:ext uri="{9D8B030D-6E8A-4147-A177-3AD203B41FA5}">
                      <a16:colId xmlns:a16="http://schemas.microsoft.com/office/drawing/2014/main" val="3063468310"/>
                    </a:ext>
                  </a:extLst>
                </a:gridCol>
                <a:gridCol w="940824">
                  <a:extLst>
                    <a:ext uri="{9D8B030D-6E8A-4147-A177-3AD203B41FA5}">
                      <a16:colId xmlns:a16="http://schemas.microsoft.com/office/drawing/2014/main" val="4246698020"/>
                    </a:ext>
                  </a:extLst>
                </a:gridCol>
                <a:gridCol w="932194">
                  <a:extLst>
                    <a:ext uri="{9D8B030D-6E8A-4147-A177-3AD203B41FA5}">
                      <a16:colId xmlns:a16="http://schemas.microsoft.com/office/drawing/2014/main" val="1207271017"/>
                    </a:ext>
                  </a:extLst>
                </a:gridCol>
                <a:gridCol w="1001245">
                  <a:extLst>
                    <a:ext uri="{9D8B030D-6E8A-4147-A177-3AD203B41FA5}">
                      <a16:colId xmlns:a16="http://schemas.microsoft.com/office/drawing/2014/main" val="1933719373"/>
                    </a:ext>
                  </a:extLst>
                </a:gridCol>
                <a:gridCol w="958834">
                  <a:extLst>
                    <a:ext uri="{9D8B030D-6E8A-4147-A177-3AD203B41FA5}">
                      <a16:colId xmlns:a16="http://schemas.microsoft.com/office/drawing/2014/main" val="2999879093"/>
                    </a:ext>
                  </a:extLst>
                </a:gridCol>
                <a:gridCol w="933315">
                  <a:extLst>
                    <a:ext uri="{9D8B030D-6E8A-4147-A177-3AD203B41FA5}">
                      <a16:colId xmlns:a16="http://schemas.microsoft.com/office/drawing/2014/main" val="3572569951"/>
                    </a:ext>
                  </a:extLst>
                </a:gridCol>
              </a:tblGrid>
              <a:tr h="651307">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solidFill>
                            <a:schemeClr val="tx1"/>
                          </a:solidFill>
                        </a:rPr>
                        <a:t>Availability</a:t>
                      </a:r>
                    </a:p>
                  </a:txBody>
                  <a:tcPr marL="72726" marR="72726" marT="36362" marB="36362" anchor="ctr">
                    <a:lnR w="12700" cap="flat" cmpd="sng" algn="ctr">
                      <a:solidFill>
                        <a:schemeClr val="tx1"/>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t>0.00</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92D05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effectLst/>
                        </a:rPr>
                        <a:t>0.01 -  4.00</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kern="1200" dirty="0"/>
                        <a:t>4.01 - 7.00</a:t>
                      </a: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F0D3"/>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t>7.01 - 13.00</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0947B"/>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a:t>13.01 &amp; above</a:t>
                      </a:r>
                      <a:endParaRPr lang="en-IN" sz="1000" b="1">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solidFill>
                      <a:srgbClr val="E64D23"/>
                    </a:solidFill>
                  </a:tcPr>
                </a:tc>
                <a:extLst>
                  <a:ext uri="{0D108BD9-81ED-4DB2-BD59-A6C34878D82A}">
                    <a16:rowId xmlns:a16="http://schemas.microsoft.com/office/drawing/2014/main" val="3698155008"/>
                  </a:ext>
                </a:extLst>
              </a:tr>
              <a:tr h="651307">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a:solidFill>
                            <a:schemeClr val="tx1"/>
                          </a:solidFill>
                        </a:rPr>
                        <a:t>Confidentiality</a:t>
                      </a:r>
                    </a:p>
                  </a:txBody>
                  <a:tcPr marL="72726" marR="72726" marT="36362" marB="36362" anchor="ctr">
                    <a:lnR w="12700" cap="flat" cmpd="sng" algn="ctr">
                      <a:solidFill>
                        <a:schemeClr val="tx1"/>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t>0.00</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92D05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effectLst/>
                        </a:rPr>
                        <a:t>0.01 - 6.00</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kern="1200" dirty="0"/>
                        <a:t>6.01 - 20.00</a:t>
                      </a: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F0D3"/>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t>20.01 - 40.00</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0947B"/>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a:t>40.01 &amp; above</a:t>
                      </a:r>
                      <a:endParaRPr lang="en-IN" sz="1000" b="1">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solidFill>
                      <a:srgbClr val="E64D23"/>
                    </a:solidFill>
                  </a:tcPr>
                </a:tc>
                <a:extLst>
                  <a:ext uri="{0D108BD9-81ED-4DB2-BD59-A6C34878D82A}">
                    <a16:rowId xmlns:a16="http://schemas.microsoft.com/office/drawing/2014/main" val="117411605"/>
                  </a:ext>
                </a:extLst>
              </a:tr>
              <a:tr h="651307">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a:solidFill>
                            <a:schemeClr val="tx1"/>
                          </a:solidFill>
                        </a:rPr>
                        <a:t>Integrity</a:t>
                      </a:r>
                    </a:p>
                  </a:txBody>
                  <a:tcPr marL="72726" marR="72726" marT="36362" marB="36362" anchor="ctr">
                    <a:lnR w="12700" cap="flat" cmpd="sng" algn="ctr">
                      <a:solidFill>
                        <a:schemeClr val="tx1"/>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a:t>0.00</a:t>
                      </a:r>
                      <a:endParaRPr lang="en-IN" sz="1000" b="1">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92D05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a:effectLst/>
                        </a:rPr>
                        <a:t>0.01 - 3.00</a:t>
                      </a:r>
                      <a:endParaRPr lang="en-IN" sz="1000" b="1">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kern="1200" dirty="0"/>
                        <a:t>3.01 - 7.00</a:t>
                      </a: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F0D3"/>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t>7.01 - 16.00</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0947B"/>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t>16.01 &amp; above</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solidFill>
                      <a:srgbClr val="E64D23"/>
                    </a:solidFill>
                  </a:tcPr>
                </a:tc>
                <a:extLst>
                  <a:ext uri="{0D108BD9-81ED-4DB2-BD59-A6C34878D82A}">
                    <a16:rowId xmlns:a16="http://schemas.microsoft.com/office/drawing/2014/main" val="1027206398"/>
                  </a:ext>
                </a:extLst>
              </a:tr>
              <a:tr h="651307">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solidFill>
                            <a:schemeClr val="tx1"/>
                          </a:solidFill>
                        </a:rPr>
                        <a:t>Privacy</a:t>
                      </a:r>
                    </a:p>
                  </a:txBody>
                  <a:tcPr marL="72726" marR="72726" marT="36362" marB="36362" anchor="ctr">
                    <a:lnR w="12700" cap="flat" cmpd="sng" algn="ctr">
                      <a:solidFill>
                        <a:schemeClr val="tx1"/>
                      </a:solidFill>
                      <a:prstDash val="solid"/>
                      <a:round/>
                      <a:headEnd type="none" w="med" len="med"/>
                      <a:tailEnd type="none" w="med" len="med"/>
                    </a:lnR>
                    <a:lnB w="12700" cap="flat" cmpd="sng" algn="ctr">
                      <a:solidFill>
                        <a:schemeClr val="tx1"/>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t>0.00</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ysDot"/>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effectLst/>
                        </a:rPr>
                        <a:t>0.01 - 3.00</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ysDot"/>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kern="1200" dirty="0"/>
                        <a:t>3.01 - 8.00</a:t>
                      </a: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ysDot"/>
                      <a:round/>
                      <a:headEnd type="none" w="med" len="med"/>
                      <a:tailEnd type="none" w="med" len="med"/>
                    </a:lnB>
                    <a:solidFill>
                      <a:srgbClr val="FFF0D3"/>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t>8.01 - 14.00</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ysDot"/>
                      <a:round/>
                      <a:headEnd type="none" w="med" len="med"/>
                      <a:tailEnd type="none" w="med" len="med"/>
                    </a:lnB>
                    <a:solidFill>
                      <a:srgbClr val="F0947B"/>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IN" sz="1000" b="1" dirty="0"/>
                        <a:t>14.01 &amp; above</a:t>
                      </a:r>
                      <a:endParaRPr lang="en-IN" sz="1000" b="1" dirty="0">
                        <a:solidFill>
                          <a:schemeClr val="tx1"/>
                        </a:solidFill>
                      </a:endParaRPr>
                    </a:p>
                  </a:txBody>
                  <a:tcPr marL="72726" marR="72726" marT="36362" marB="36362" anchor="ctr">
                    <a:lnL w="12700" cap="flat" cmpd="sng" algn="ctr">
                      <a:solidFill>
                        <a:schemeClr val="tx1"/>
                      </a:solidFill>
                      <a:prstDash val="solid"/>
                      <a:round/>
                      <a:headEnd type="none" w="med" len="med"/>
                      <a:tailEnd type="none" w="med" len="med"/>
                    </a:lnL>
                    <a:lnB w="12700" cap="flat" cmpd="sng" algn="ctr">
                      <a:solidFill>
                        <a:schemeClr val="tx1"/>
                      </a:solidFill>
                      <a:prstDash val="sysDot"/>
                      <a:round/>
                      <a:headEnd type="none" w="med" len="med"/>
                      <a:tailEnd type="none" w="med" len="med"/>
                    </a:lnB>
                    <a:solidFill>
                      <a:srgbClr val="E64D23"/>
                    </a:solidFill>
                  </a:tcPr>
                </a:tc>
                <a:extLst>
                  <a:ext uri="{0D108BD9-81ED-4DB2-BD59-A6C34878D82A}">
                    <a16:rowId xmlns:a16="http://schemas.microsoft.com/office/drawing/2014/main" val="937359969"/>
                  </a:ext>
                </a:extLst>
              </a:tr>
            </a:tbl>
          </a:graphicData>
        </a:graphic>
      </p:graphicFrame>
      <p:sp>
        <p:nvSpPr>
          <p:cNvPr id="24" name="TextBox 23">
            <a:extLst>
              <a:ext uri="{FF2B5EF4-FFF2-40B4-BE49-F238E27FC236}">
                <a16:creationId xmlns:a16="http://schemas.microsoft.com/office/drawing/2014/main" id="{63763282-A4D5-7B28-B1F5-A62A15F35513}"/>
              </a:ext>
            </a:extLst>
          </p:cNvPr>
          <p:cNvSpPr txBox="1"/>
          <p:nvPr/>
        </p:nvSpPr>
        <p:spPr>
          <a:xfrm>
            <a:off x="245956" y="972000"/>
            <a:ext cx="3663186" cy="307777"/>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IN" sz="1400"/>
              <a:t>Crown jewels</a:t>
            </a:r>
          </a:p>
        </p:txBody>
      </p:sp>
      <p:sp>
        <p:nvSpPr>
          <p:cNvPr id="25" name="Rectangle 24">
            <a:extLst>
              <a:ext uri="{FF2B5EF4-FFF2-40B4-BE49-F238E27FC236}">
                <a16:creationId xmlns:a16="http://schemas.microsoft.com/office/drawing/2014/main" id="{120B8E95-0D01-730A-ED18-CC4266210157}"/>
              </a:ext>
            </a:extLst>
          </p:cNvPr>
          <p:cNvSpPr>
            <a:spLocks noChangeArrowheads="1"/>
          </p:cNvSpPr>
          <p:nvPr/>
        </p:nvSpPr>
        <p:spPr bwMode="auto">
          <a:xfrm>
            <a:off x="242777" y="1332000"/>
            <a:ext cx="5459193" cy="947076"/>
          </a:xfrm>
          <a:prstGeom prst="rect">
            <a:avLst/>
          </a:prstGeom>
          <a:solidFill>
            <a:srgbClr val="C00000"/>
          </a:solidFill>
          <a:ln>
            <a:noFill/>
          </a:ln>
        </p:spPr>
        <p:txBody>
          <a:bodyPr vert="horz" wrap="square" lIns="68580" tIns="34291" rIns="68580" bIns="34291" numCol="1" anchor="ctr" anchorCtr="0" compatLnSpc="1">
            <a:prstTxWarp prst="textNoShape">
              <a:avLst/>
            </a:prstTxWarp>
          </a:bodyPr>
          <a:lstStyle/>
          <a:p>
            <a:pPr algn="ctr">
              <a:lnSpc>
                <a:spcPct val="95000"/>
              </a:lnSpc>
              <a:spcAft>
                <a:spcPts val="800"/>
              </a:spcAft>
              <a:defRPr/>
            </a:pPr>
            <a:r>
              <a:rPr lang="en-IN" sz="1100" dirty="0">
                <a:solidFill>
                  <a:schemeClr val="bg1"/>
                </a:solidFill>
              </a:rPr>
              <a:t>Datasets which exceed the defined cut-off risk scores for the BIA areas, that is, for CIAP</a:t>
            </a:r>
            <a:endParaRPr lang="en-US" sz="1100" dirty="0">
              <a:solidFill>
                <a:schemeClr val="bg1"/>
              </a:solidFill>
            </a:endParaRPr>
          </a:p>
        </p:txBody>
      </p:sp>
      <p:grpSp>
        <p:nvGrpSpPr>
          <p:cNvPr id="26" name="Group 25">
            <a:extLst>
              <a:ext uri="{FF2B5EF4-FFF2-40B4-BE49-F238E27FC236}">
                <a16:creationId xmlns:a16="http://schemas.microsoft.com/office/drawing/2014/main" id="{2786FF8E-780A-6DF4-A608-83851243AF11}"/>
              </a:ext>
            </a:extLst>
          </p:cNvPr>
          <p:cNvGrpSpPr/>
          <p:nvPr/>
        </p:nvGrpSpPr>
        <p:grpSpPr>
          <a:xfrm>
            <a:off x="250825" y="2790408"/>
            <a:ext cx="5582009" cy="3095592"/>
            <a:chOff x="-4236125" y="4690729"/>
            <a:chExt cx="7929872" cy="1214784"/>
          </a:xfrm>
        </p:grpSpPr>
        <p:sp>
          <p:nvSpPr>
            <p:cNvPr id="27" name="正方形/長方形 25">
              <a:extLst>
                <a:ext uri="{FF2B5EF4-FFF2-40B4-BE49-F238E27FC236}">
                  <a16:creationId xmlns:a16="http://schemas.microsoft.com/office/drawing/2014/main" id="{0C798F94-6F65-F354-57D3-D919AF47637F}"/>
                </a:ext>
              </a:extLst>
            </p:cNvPr>
            <p:cNvSpPr/>
            <p:nvPr/>
          </p:nvSpPr>
          <p:spPr>
            <a:xfrm>
              <a:off x="-4235814" y="4690729"/>
              <a:ext cx="5746191" cy="2135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200" b="1" dirty="0">
                  <a:latin typeface="+mj-lt"/>
                </a:rPr>
                <a:t>Determining criteria for Crown Jewels</a:t>
              </a:r>
            </a:p>
          </p:txBody>
        </p:sp>
        <p:sp>
          <p:nvSpPr>
            <p:cNvPr id="28" name="正方形/長方形 26">
              <a:extLst>
                <a:ext uri="{FF2B5EF4-FFF2-40B4-BE49-F238E27FC236}">
                  <a16:creationId xmlns:a16="http://schemas.microsoft.com/office/drawing/2014/main" id="{8C541DDA-744E-04B2-CEB3-536B8471F53D}"/>
                </a:ext>
              </a:extLst>
            </p:cNvPr>
            <p:cNvSpPr/>
            <p:nvPr/>
          </p:nvSpPr>
          <p:spPr>
            <a:xfrm>
              <a:off x="-4236125" y="4950082"/>
              <a:ext cx="7929872" cy="95543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50"/>
                </a:spcBef>
                <a:spcAft>
                  <a:spcPts val="50"/>
                </a:spcAft>
              </a:pPr>
              <a:r>
                <a:rPr kumimoji="1" lang="en-IN" altLang="ja-JP" sz="1100" dirty="0">
                  <a:solidFill>
                    <a:schemeClr val="tx1"/>
                  </a:solidFill>
                </a:rPr>
                <a:t>The cut-off risk scores have been determined by taking into consideration aspects such as the following in case the data is not available, or there is an unauthorized access to data, or the data’s integrity is not maintained, or if personal data is compromised:</a:t>
              </a:r>
            </a:p>
            <a:p>
              <a:pPr marL="628650" lvl="1" indent="-171450">
                <a:spcBef>
                  <a:spcPts val="50"/>
                </a:spcBef>
                <a:spcAft>
                  <a:spcPts val="50"/>
                </a:spcAft>
                <a:buFont typeface="Arial" panose="020B0604020202020204" pitchFamily="34" charset="0"/>
                <a:buChar char="•"/>
              </a:pPr>
              <a:r>
                <a:rPr kumimoji="1" lang="en-IN" altLang="ja-JP" sz="1100" dirty="0">
                  <a:solidFill>
                    <a:schemeClr val="tx1"/>
                  </a:solidFill>
                </a:rPr>
                <a:t>Cost involved due to the disruption and recovery of operations</a:t>
              </a:r>
            </a:p>
            <a:p>
              <a:pPr marL="628650" lvl="1" indent="-171450">
                <a:spcBef>
                  <a:spcPts val="50"/>
                </a:spcBef>
                <a:spcAft>
                  <a:spcPts val="50"/>
                </a:spcAft>
                <a:buFont typeface="Arial" panose="020B0604020202020204" pitchFamily="34" charset="0"/>
                <a:buChar char="•"/>
              </a:pPr>
              <a:r>
                <a:rPr kumimoji="1" lang="en-IN" altLang="ja-JP" sz="1100" dirty="0">
                  <a:solidFill>
                    <a:schemeClr val="tx1"/>
                  </a:solidFill>
                </a:rPr>
                <a:t>Loss of revenue</a:t>
              </a:r>
            </a:p>
            <a:p>
              <a:pPr marL="628650" lvl="1" indent="-171450">
                <a:spcBef>
                  <a:spcPts val="50"/>
                </a:spcBef>
                <a:spcAft>
                  <a:spcPts val="50"/>
                </a:spcAft>
                <a:buFont typeface="Arial" panose="020B0604020202020204" pitchFamily="34" charset="0"/>
                <a:buChar char="•"/>
              </a:pPr>
              <a:r>
                <a:rPr kumimoji="1" lang="en-IN" altLang="ja-JP" sz="1100" dirty="0">
                  <a:solidFill>
                    <a:schemeClr val="tx1"/>
                  </a:solidFill>
                </a:rPr>
                <a:t>Potential legal liabilities with financial penalties</a:t>
              </a:r>
            </a:p>
            <a:p>
              <a:pPr marL="628650" lvl="1" indent="-171450">
                <a:spcBef>
                  <a:spcPts val="50"/>
                </a:spcBef>
                <a:spcAft>
                  <a:spcPts val="50"/>
                </a:spcAft>
                <a:buFont typeface="Arial" panose="020B0604020202020204" pitchFamily="34" charset="0"/>
                <a:buChar char="•"/>
              </a:pPr>
              <a:r>
                <a:rPr kumimoji="1" lang="en-IN" altLang="ja-JP" sz="1100" dirty="0">
                  <a:solidFill>
                    <a:schemeClr val="tx1"/>
                  </a:solidFill>
                </a:rPr>
                <a:t>Impact on innovation/strategy</a:t>
              </a:r>
            </a:p>
            <a:p>
              <a:pPr marL="628650" lvl="1" indent="-171450">
                <a:spcBef>
                  <a:spcPts val="50"/>
                </a:spcBef>
                <a:spcAft>
                  <a:spcPts val="50"/>
                </a:spcAft>
                <a:buFont typeface="Arial" panose="020B0604020202020204" pitchFamily="34" charset="0"/>
                <a:buChar char="•"/>
              </a:pPr>
              <a:r>
                <a:rPr kumimoji="1" lang="en-IN" altLang="ja-JP" sz="1100" dirty="0">
                  <a:solidFill>
                    <a:schemeClr val="tx1"/>
                  </a:solidFill>
                </a:rPr>
                <a:t>Impact on employee morale/safety</a:t>
              </a:r>
            </a:p>
            <a:p>
              <a:pPr>
                <a:spcBef>
                  <a:spcPts val="50"/>
                </a:spcBef>
                <a:spcAft>
                  <a:spcPts val="50"/>
                </a:spcAft>
              </a:pPr>
              <a:r>
                <a:rPr kumimoji="1" lang="en-IN" altLang="ja-JP" sz="1100" dirty="0">
                  <a:solidFill>
                    <a:schemeClr val="tx1"/>
                  </a:solidFill>
                </a:rPr>
                <a:t>If the impact on above mentioned parameters is </a:t>
              </a:r>
              <a:r>
                <a:rPr kumimoji="1" lang="en-US" altLang="ja-JP" sz="1100" b="1" i="1" dirty="0">
                  <a:solidFill>
                    <a:schemeClr val="tx1"/>
                  </a:solidFill>
                </a:rPr>
                <a:t>High or Very High,</a:t>
              </a:r>
              <a:r>
                <a:rPr kumimoji="1" lang="en-IN" altLang="ja-JP" sz="1100" dirty="0">
                  <a:solidFill>
                    <a:schemeClr val="tx1"/>
                  </a:solidFill>
                </a:rPr>
                <a:t> then the dataset is a crown jewel.</a:t>
              </a:r>
            </a:p>
          </p:txBody>
        </p:sp>
      </p:grpSp>
      <p:sp>
        <p:nvSpPr>
          <p:cNvPr id="29" name="Arrow: Right 28">
            <a:extLst>
              <a:ext uri="{FF2B5EF4-FFF2-40B4-BE49-F238E27FC236}">
                <a16:creationId xmlns:a16="http://schemas.microsoft.com/office/drawing/2014/main" id="{8A56BA22-9D7D-8598-56E4-E01BF1701F62}"/>
              </a:ext>
            </a:extLst>
          </p:cNvPr>
          <p:cNvSpPr/>
          <p:nvPr/>
        </p:nvSpPr>
        <p:spPr>
          <a:xfrm rot="5400000">
            <a:off x="2953644" y="2350028"/>
            <a:ext cx="367864" cy="330406"/>
          </a:xfrm>
          <a:prstGeom prst="rightArrow">
            <a:avLst/>
          </a:prstGeom>
          <a:ln w="19050">
            <a:solidFill>
              <a:schemeClr val="accent2"/>
            </a:solidFill>
          </a:ln>
        </p:spPr>
        <p:style>
          <a:lnRef idx="3">
            <a:schemeClr val="lt1"/>
          </a:lnRef>
          <a:fillRef idx="1">
            <a:schemeClr val="accent2"/>
          </a:fillRef>
          <a:effectRef idx="1">
            <a:schemeClr val="accent2"/>
          </a:effectRef>
          <a:fontRef idx="minor">
            <a:schemeClr val="lt1"/>
          </a:fontRef>
        </p:style>
        <p:txBody>
          <a:bodyPr rtlCol="0" anchor="t"/>
          <a:lstStyle/>
          <a:p>
            <a:pPr marL="180000" indent="-180000" algn="ctr">
              <a:buFont typeface="Wingdings" panose="05000000000000000000" pitchFamily="2" charset="2"/>
              <a:buChar char="§"/>
            </a:pPr>
            <a:endParaRPr lang="en-IN" sz="1400">
              <a:solidFill>
                <a:schemeClr val="bg1"/>
              </a:solidFill>
            </a:endParaRPr>
          </a:p>
        </p:txBody>
      </p:sp>
      <p:cxnSp>
        <p:nvCxnSpPr>
          <p:cNvPr id="30" name="Straight Connector 29">
            <a:extLst>
              <a:ext uri="{FF2B5EF4-FFF2-40B4-BE49-F238E27FC236}">
                <a16:creationId xmlns:a16="http://schemas.microsoft.com/office/drawing/2014/main" id="{A6598BCF-5237-D901-15D2-D0727E1CF311}"/>
              </a:ext>
            </a:extLst>
          </p:cNvPr>
          <p:cNvCxnSpPr>
            <a:cxnSpLocks/>
          </p:cNvCxnSpPr>
          <p:nvPr/>
        </p:nvCxnSpPr>
        <p:spPr>
          <a:xfrm>
            <a:off x="5987625" y="915566"/>
            <a:ext cx="0" cy="5047084"/>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4EEC2AAC-C139-0F5E-538F-803049F7A730}"/>
              </a:ext>
            </a:extLst>
          </p:cNvPr>
          <p:cNvSpPr/>
          <p:nvPr/>
        </p:nvSpPr>
        <p:spPr>
          <a:xfrm>
            <a:off x="6273274" y="1228681"/>
            <a:ext cx="5732036" cy="145142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just"/>
            <a:r>
              <a:rPr lang="en-IN" sz="1200" dirty="0">
                <a:solidFill>
                  <a:sysClr val="windowText" lastClr="000000"/>
                </a:solidFill>
              </a:rPr>
              <a:t>The below table maps numerical risk scores basis the risk impact scales defined by the enterprise risk management team for each Business Impact Areas on CIAP. The risk scores are derived using the risk framework and the weightages that were assigned to each impact scale (from very low to very high). Each criteria defined as explained in slide 09 were part of the CIAP areas which were used to calculate the risk impact scores.</a:t>
            </a:r>
          </a:p>
        </p:txBody>
      </p:sp>
      <p:sp>
        <p:nvSpPr>
          <p:cNvPr id="2304" name="TextBox 2303">
            <a:extLst>
              <a:ext uri="{FF2B5EF4-FFF2-40B4-BE49-F238E27FC236}">
                <a16:creationId xmlns:a16="http://schemas.microsoft.com/office/drawing/2014/main" id="{15F7B636-58EA-6767-0387-5C6255381399}"/>
              </a:ext>
            </a:extLst>
          </p:cNvPr>
          <p:cNvSpPr txBox="1"/>
          <p:nvPr/>
        </p:nvSpPr>
        <p:spPr>
          <a:xfrm>
            <a:off x="6140650" y="920904"/>
            <a:ext cx="4658816" cy="307777"/>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IN" sz="1400" dirty="0"/>
              <a:t>Risk score matrix</a:t>
            </a:r>
          </a:p>
        </p:txBody>
      </p:sp>
    </p:spTree>
    <p:extLst>
      <p:ext uri="{BB962C8B-B14F-4D97-AF65-F5344CB8AC3E}">
        <p14:creationId xmlns:p14="http://schemas.microsoft.com/office/powerpoint/2010/main" val="5997074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0ACC24-8488-43C0-9A0A-195C0E6ED0D1}"/>
              </a:ext>
            </a:extLst>
          </p:cNvPr>
          <p:cNvSpPr txBox="1"/>
          <p:nvPr/>
        </p:nvSpPr>
        <p:spPr>
          <a:xfrm>
            <a:off x="6669587" y="3182939"/>
            <a:ext cx="5256627" cy="470898"/>
          </a:xfrm>
          <a:prstGeom prst="rect">
            <a:avLst/>
          </a:prstGeom>
          <a:noFill/>
        </p:spPr>
        <p:txBody>
          <a:bodyPr wrap="square" lIns="0" tIns="0" rIns="0" bIns="0" rtlCol="0">
            <a:spAutoFit/>
          </a:body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IN" sz="3600" b="1" i="0" u="none" strike="noStrike" kern="1200" cap="none" spc="0" normalizeH="0" baseline="0" noProof="0" dirty="0">
                <a:ln>
                  <a:noFill/>
                </a:ln>
                <a:solidFill>
                  <a:srgbClr val="FFFFFF"/>
                </a:solidFill>
                <a:effectLst/>
                <a:uLnTx/>
                <a:uFillTx/>
                <a:latin typeface="EYInterstate Light"/>
                <a:ea typeface="+mn-ea"/>
                <a:cs typeface="Arial" pitchFamily="34" charset="0"/>
              </a:rPr>
              <a:t>Way Forward</a:t>
            </a:r>
          </a:p>
        </p:txBody>
      </p:sp>
      <p:sp>
        <p:nvSpPr>
          <p:cNvPr id="3" name="TextBox 2">
            <a:extLst>
              <a:ext uri="{FF2B5EF4-FFF2-40B4-BE49-F238E27FC236}">
                <a16:creationId xmlns:a16="http://schemas.microsoft.com/office/drawing/2014/main" id="{561E47C9-B240-494C-9E62-B493CF52B358}"/>
              </a:ext>
            </a:extLst>
          </p:cNvPr>
          <p:cNvSpPr txBox="1"/>
          <p:nvPr/>
        </p:nvSpPr>
        <p:spPr>
          <a:xfrm>
            <a:off x="2894099" y="1710879"/>
            <a:ext cx="2076760" cy="1768794"/>
          </a:xfrm>
          <a:prstGeom prst="rect">
            <a:avLst/>
          </a:prstGeom>
          <a:noFill/>
        </p:spPr>
        <p:txBody>
          <a:bodyPr wrap="square" lIns="0" tIns="0" rIns="0" bIns="0" rtlCol="0">
            <a:spAutoFit/>
          </a:bodyPr>
          <a:lstStyle/>
          <a:p>
            <a:pPr marL="0" marR="0" lvl="0" indent="0" algn="l" defTabSz="913943" rtl="0" eaLnBrk="1" fontAlgn="auto" latinLnBrk="0" hangingPunct="1">
              <a:lnSpc>
                <a:spcPct val="100000"/>
              </a:lnSpc>
              <a:spcBef>
                <a:spcPts val="0"/>
              </a:spcBef>
              <a:spcAft>
                <a:spcPts val="1199"/>
              </a:spcAft>
              <a:buClrTx/>
              <a:buSzTx/>
              <a:buFontTx/>
              <a:buNone/>
              <a:tabLst/>
              <a:defRPr/>
            </a:pPr>
            <a:r>
              <a:rPr kumimoji="0" lang="en-US" sz="11494" b="1" i="0" u="none" strike="noStrike" kern="1200" cap="none" spc="0" normalizeH="0" baseline="0" noProof="0" dirty="0">
                <a:ln>
                  <a:noFill/>
                </a:ln>
                <a:solidFill>
                  <a:srgbClr val="2E2E38"/>
                </a:solidFill>
                <a:effectLst/>
                <a:uLnTx/>
                <a:uFillTx/>
                <a:latin typeface="EYInterstate Light"/>
                <a:ea typeface="+mn-ea"/>
                <a:cs typeface="+mn-cs"/>
              </a:rPr>
              <a:t>05</a:t>
            </a:r>
            <a:endParaRPr kumimoji="0" lang="en-CA" sz="11494"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1393768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Room with long wood table and modern round chairs on hardwood floor">
            <a:extLst>
              <a:ext uri="{FF2B5EF4-FFF2-40B4-BE49-F238E27FC236}">
                <a16:creationId xmlns:a16="http://schemas.microsoft.com/office/drawing/2014/main" id="{75954006-92EE-94AC-FCFF-41A365E7FF13}"/>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a:stretch/>
        </p:blipFill>
        <p:spPr>
          <a:xfrm>
            <a:off x="20" y="1"/>
            <a:ext cx="12191980" cy="6857999"/>
          </a:xfrm>
          <a:prstGeom prst="rect">
            <a:avLst/>
          </a:prstGeom>
        </p:spPr>
      </p:pic>
      <p:sp>
        <p:nvSpPr>
          <p:cNvPr id="5" name="Rectangle 4">
            <a:extLst>
              <a:ext uri="{FF2B5EF4-FFF2-40B4-BE49-F238E27FC236}">
                <a16:creationId xmlns:a16="http://schemas.microsoft.com/office/drawing/2014/main" id="{AF4AB73D-1E8D-49A9-96A2-4178D76BFC5A}"/>
              </a:ext>
            </a:extLst>
          </p:cNvPr>
          <p:cNvSpPr/>
          <p:nvPr/>
        </p:nvSpPr>
        <p:spPr>
          <a:xfrm>
            <a:off x="2557070" y="647700"/>
            <a:ext cx="8205604" cy="5309942"/>
          </a:xfrm>
          <a:prstGeom prst="rect">
            <a:avLst/>
          </a:prstGeom>
          <a:solidFill>
            <a:srgbClr val="000000">
              <a:lumMod val="85000"/>
              <a:lumOff val="15000"/>
              <a:alpha val="80000"/>
            </a:srgbClr>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2E2E38"/>
                </a:solidFill>
                <a:effectLst/>
                <a:uLnTx/>
                <a:uFillTx/>
                <a:latin typeface="EYInterstate Light" panose="02000506000000020004" pitchFamily="2" charset="0"/>
              </a:rPr>
              <a:t> </a:t>
            </a:r>
          </a:p>
        </p:txBody>
      </p:sp>
      <p:sp>
        <p:nvSpPr>
          <p:cNvPr id="7" name="Oval 6">
            <a:extLst>
              <a:ext uri="{FF2B5EF4-FFF2-40B4-BE49-F238E27FC236}">
                <a16:creationId xmlns:a16="http://schemas.microsoft.com/office/drawing/2014/main" id="{323A57C3-1225-4929-A68B-9C5317AC2C56}"/>
              </a:ext>
            </a:extLst>
          </p:cNvPr>
          <p:cNvSpPr/>
          <p:nvPr/>
        </p:nvSpPr>
        <p:spPr>
          <a:xfrm>
            <a:off x="1092200" y="1729020"/>
            <a:ext cx="3059932" cy="2934531"/>
          </a:xfrm>
          <a:prstGeom prst="ellipse">
            <a:avLst/>
          </a:prstGeom>
          <a:solidFill>
            <a:srgbClr val="FFE600"/>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9" name="TextBox 8">
            <a:extLst>
              <a:ext uri="{FF2B5EF4-FFF2-40B4-BE49-F238E27FC236}">
                <a16:creationId xmlns:a16="http://schemas.microsoft.com/office/drawing/2014/main" id="{2E85A2FD-5F15-4809-BFED-8EAFBA954587}"/>
              </a:ext>
            </a:extLst>
          </p:cNvPr>
          <p:cNvSpPr txBox="1"/>
          <p:nvPr/>
        </p:nvSpPr>
        <p:spPr>
          <a:xfrm>
            <a:off x="4395170" y="2034428"/>
            <a:ext cx="5627296" cy="3380413"/>
          </a:xfrm>
          <a:prstGeom prst="rect">
            <a:avLst/>
          </a:prstGeom>
          <a:noFill/>
        </p:spPr>
        <p:txBody>
          <a:bodyPr wrap="square" lIns="91440" tIns="45720" rIns="91440" bIns="45720" anchor="t">
            <a:spAutoFit/>
          </a:bodyPr>
          <a:lstStyle/>
          <a:p>
            <a:pPr marL="457200" marR="0" lvl="0" indent="-457200" algn="l" defTabSz="914400" rtl="0" eaLnBrk="1" fontAlgn="auto" latinLnBrk="0" hangingPunct="1">
              <a:lnSpc>
                <a:spcPct val="100000"/>
              </a:lnSpc>
              <a:spcBef>
                <a:spcPts val="800"/>
              </a:spcBef>
              <a:spcAft>
                <a:spcPts val="800"/>
              </a:spcAft>
              <a:buClr>
                <a:srgbClr val="FFE600"/>
              </a:buClr>
              <a:buSzPct val="100000"/>
              <a:buFont typeface="+mj-lt"/>
              <a:buAutoNum type="arabicPeriod"/>
              <a:tabLst/>
              <a:defRPr/>
            </a:pPr>
            <a:r>
              <a:rPr kumimoji="0" lang="en-IN" sz="2100" b="1" i="0" u="none" strike="noStrike" kern="1200" cap="none" spc="0" normalizeH="0" baseline="0" noProof="0" dirty="0">
                <a:ln>
                  <a:noFill/>
                </a:ln>
                <a:solidFill>
                  <a:srgbClr val="FFFFFF"/>
                </a:solidFill>
                <a:effectLst/>
                <a:uLnTx/>
                <a:uFillTx/>
                <a:latin typeface="EYInterstate Light" panose="02000506000000020004" pitchFamily="2" charset="0"/>
              </a:rPr>
              <a:t>Introduction</a:t>
            </a:r>
          </a:p>
          <a:p>
            <a:pPr marL="457200" marR="0" lvl="0" indent="-457200" algn="l" defTabSz="914400" rtl="0" eaLnBrk="1" fontAlgn="auto" latinLnBrk="0" hangingPunct="1">
              <a:lnSpc>
                <a:spcPct val="100000"/>
              </a:lnSpc>
              <a:spcBef>
                <a:spcPts val="800"/>
              </a:spcBef>
              <a:spcAft>
                <a:spcPts val="800"/>
              </a:spcAft>
              <a:buClr>
                <a:srgbClr val="FFE600"/>
              </a:buClr>
              <a:buSzPct val="100000"/>
              <a:buFont typeface="+mj-lt"/>
              <a:buAutoNum type="arabicPeriod"/>
              <a:tabLst/>
              <a:defRPr/>
            </a:pPr>
            <a:r>
              <a:rPr lang="en-US" sz="2100" b="1" dirty="0">
                <a:solidFill>
                  <a:srgbClr val="FFFFFF"/>
                </a:solidFill>
                <a:latin typeface="EYInterstate Light" panose="02000506000000020004" pitchFamily="2" charset="0"/>
              </a:rPr>
              <a:t>Objective &amp; </a:t>
            </a:r>
            <a:r>
              <a:rPr lang="en-IN" sz="2100" b="1" dirty="0">
                <a:solidFill>
                  <a:srgbClr val="FFFFFF"/>
                </a:solidFill>
                <a:latin typeface="EYInterstate Light" panose="02000506000000020004" pitchFamily="2" charset="0"/>
              </a:rPr>
              <a:t>Scope</a:t>
            </a:r>
            <a:endParaRPr kumimoji="0" lang="en-IN" sz="2100" b="1" i="0" u="none" strike="noStrike" kern="1200" cap="none" spc="0" normalizeH="0" baseline="0" noProof="0" dirty="0">
              <a:ln>
                <a:noFill/>
              </a:ln>
              <a:solidFill>
                <a:srgbClr val="FFFFFF"/>
              </a:solidFill>
              <a:effectLst/>
              <a:uLnTx/>
              <a:uFillTx/>
              <a:latin typeface="EYInterstate Light" panose="02000506000000020004" pitchFamily="2" charset="0"/>
            </a:endParaRPr>
          </a:p>
          <a:p>
            <a:pPr marL="457200" marR="0" lvl="0" indent="-457200" algn="l" defTabSz="914400" rtl="0" eaLnBrk="1" fontAlgn="auto" latinLnBrk="0" hangingPunct="1">
              <a:lnSpc>
                <a:spcPct val="100000"/>
              </a:lnSpc>
              <a:spcBef>
                <a:spcPts val="800"/>
              </a:spcBef>
              <a:spcAft>
                <a:spcPts val="800"/>
              </a:spcAft>
              <a:buClr>
                <a:srgbClr val="FFE600"/>
              </a:buClr>
              <a:buSzPct val="100000"/>
              <a:buFont typeface="+mj-lt"/>
              <a:buAutoNum type="arabicPeriod"/>
              <a:tabLst/>
              <a:defRPr/>
            </a:pPr>
            <a:r>
              <a:rPr kumimoji="0" lang="en-IN" sz="2100" b="1" i="0" u="none" strike="noStrike" kern="1200" cap="none" spc="0" normalizeH="0" baseline="0" noProof="0" dirty="0">
                <a:ln>
                  <a:noFill/>
                </a:ln>
                <a:solidFill>
                  <a:srgbClr val="FFFFFF"/>
                </a:solidFill>
                <a:effectLst/>
                <a:uLnTx/>
                <a:uFillTx/>
                <a:latin typeface="EYInterstate Light" panose="02000506000000020004" pitchFamily="2" charset="0"/>
              </a:rPr>
              <a:t>Steps </a:t>
            </a:r>
            <a:r>
              <a:rPr lang="en-IN" sz="2100" b="1" dirty="0">
                <a:solidFill>
                  <a:srgbClr val="FFFFFF"/>
                </a:solidFill>
                <a:latin typeface="EYInterstate Light" panose="02000506000000020004" pitchFamily="2" charset="0"/>
              </a:rPr>
              <a:t>of Business Impact Analysis Process</a:t>
            </a:r>
          </a:p>
          <a:p>
            <a:pPr marL="457200" marR="0" lvl="0" indent="-457200" algn="l" defTabSz="914400" rtl="0" eaLnBrk="1" fontAlgn="auto" latinLnBrk="0" hangingPunct="1">
              <a:lnSpc>
                <a:spcPct val="100000"/>
              </a:lnSpc>
              <a:spcBef>
                <a:spcPts val="800"/>
              </a:spcBef>
              <a:spcAft>
                <a:spcPts val="800"/>
              </a:spcAft>
              <a:buClr>
                <a:srgbClr val="FFE600"/>
              </a:buClr>
              <a:buSzPct val="100000"/>
              <a:buFont typeface="+mj-lt"/>
              <a:buAutoNum type="arabicPeriod"/>
              <a:tabLst/>
              <a:defRPr/>
            </a:pPr>
            <a:r>
              <a:rPr lang="en-IN" sz="2100" b="1" dirty="0">
                <a:solidFill>
                  <a:srgbClr val="FFFFFF"/>
                </a:solidFill>
                <a:latin typeface="EYInterstate Light" panose="02000506000000020004" pitchFamily="2" charset="0"/>
              </a:rPr>
              <a:t>BIA Approach </a:t>
            </a:r>
          </a:p>
          <a:p>
            <a:pPr marL="457200" marR="0" lvl="0" indent="-457200" algn="l" defTabSz="914400" rtl="0" eaLnBrk="1" fontAlgn="auto" latinLnBrk="0" hangingPunct="1">
              <a:lnSpc>
                <a:spcPct val="100000"/>
              </a:lnSpc>
              <a:spcBef>
                <a:spcPts val="800"/>
              </a:spcBef>
              <a:spcAft>
                <a:spcPts val="800"/>
              </a:spcAft>
              <a:buClr>
                <a:srgbClr val="FFE600"/>
              </a:buClr>
              <a:buSzPct val="100000"/>
              <a:buFont typeface="+mj-lt"/>
              <a:buAutoNum type="arabicPeriod"/>
              <a:tabLst/>
              <a:defRPr/>
            </a:pPr>
            <a:r>
              <a:rPr lang="en-IN" sz="2100" b="1" dirty="0">
                <a:solidFill>
                  <a:srgbClr val="FFFFFF"/>
                </a:solidFill>
                <a:latin typeface="EYInterstate Light" panose="02000506000000020004" pitchFamily="2" charset="0"/>
              </a:rPr>
              <a:t>Way Forward</a:t>
            </a:r>
          </a:p>
          <a:p>
            <a:pPr marL="457200" marR="0" lvl="0" indent="-457200" algn="l" defTabSz="914400" rtl="0" eaLnBrk="1" fontAlgn="auto" latinLnBrk="0" hangingPunct="1">
              <a:lnSpc>
                <a:spcPct val="100000"/>
              </a:lnSpc>
              <a:spcBef>
                <a:spcPts val="800"/>
              </a:spcBef>
              <a:spcAft>
                <a:spcPts val="800"/>
              </a:spcAft>
              <a:buClr>
                <a:srgbClr val="FFE600"/>
              </a:buClr>
              <a:buSzPct val="100000"/>
              <a:buFont typeface="+mj-lt"/>
              <a:buAutoNum type="arabicPeriod"/>
              <a:tabLst/>
              <a:defRPr/>
            </a:pPr>
            <a:endParaRPr kumimoji="0" lang="en-IN" sz="2100" b="1"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sp>
        <p:nvSpPr>
          <p:cNvPr id="10" name="Rectangle 9">
            <a:extLst>
              <a:ext uri="{FF2B5EF4-FFF2-40B4-BE49-F238E27FC236}">
                <a16:creationId xmlns:a16="http://schemas.microsoft.com/office/drawing/2014/main" id="{93983D2F-36F6-4BD3-BEBE-8697BD1605AC}"/>
              </a:ext>
            </a:extLst>
          </p:cNvPr>
          <p:cNvSpPr/>
          <p:nvPr/>
        </p:nvSpPr>
        <p:spPr>
          <a:xfrm>
            <a:off x="1335238" y="2697335"/>
            <a:ext cx="2751459" cy="830997"/>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4800" b="0" i="0" u="none" strike="noStrike" kern="1200" cap="none" spc="0" normalizeH="0" baseline="0" noProof="0" dirty="0">
                <a:ln>
                  <a:noFill/>
                </a:ln>
                <a:solidFill>
                  <a:schemeClr val="bg1"/>
                </a:solidFill>
                <a:effectLst/>
                <a:uLnTx/>
                <a:uFillTx/>
                <a:latin typeface="EYInterstate Light" panose="02000506000000020004" pitchFamily="2" charset="0"/>
              </a:rPr>
              <a:t>Contents</a:t>
            </a:r>
          </a:p>
        </p:txBody>
      </p:sp>
    </p:spTree>
    <p:extLst>
      <p:ext uri="{BB962C8B-B14F-4D97-AF65-F5344CB8AC3E}">
        <p14:creationId xmlns:p14="http://schemas.microsoft.com/office/powerpoint/2010/main" val="4256479026"/>
      </p:ext>
    </p:extLst>
  </p:cSld>
  <p:clrMapOvr>
    <a:overrideClrMapping bg1="dk1" tx1="lt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F09EF4-86D6-9E03-B2A5-F97B5B5F14FD}"/>
              </a:ext>
            </a:extLst>
          </p:cNvPr>
          <p:cNvSpPr txBox="1"/>
          <p:nvPr/>
        </p:nvSpPr>
        <p:spPr>
          <a:xfrm>
            <a:off x="609599" y="147456"/>
            <a:ext cx="10972802" cy="50783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3600" b="0" i="0" u="none" strike="noStrike" kern="1200" cap="none" spc="0" normalizeH="0" baseline="0" noProof="0" dirty="0">
                <a:ln>
                  <a:noFill/>
                </a:ln>
                <a:solidFill>
                  <a:prstClr val="white"/>
                </a:solidFill>
                <a:effectLst/>
                <a:uLnTx/>
                <a:uFillTx/>
                <a:latin typeface="EYInterstate Light"/>
                <a:ea typeface="+mn-ea"/>
                <a:cs typeface="+mn-cs"/>
              </a:rPr>
              <a:t>Next Step</a:t>
            </a:r>
          </a:p>
        </p:txBody>
      </p:sp>
      <p:sp>
        <p:nvSpPr>
          <p:cNvPr id="22" name="Rectangle 21">
            <a:extLst>
              <a:ext uri="{FF2B5EF4-FFF2-40B4-BE49-F238E27FC236}">
                <a16:creationId xmlns:a16="http://schemas.microsoft.com/office/drawing/2014/main" id="{221D350B-2681-580A-98B3-4CB39BEFFEB3}"/>
              </a:ext>
            </a:extLst>
          </p:cNvPr>
          <p:cNvSpPr/>
          <p:nvPr/>
        </p:nvSpPr>
        <p:spPr>
          <a:xfrm>
            <a:off x="467543" y="1046918"/>
            <a:ext cx="11486332" cy="48359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200" b="1" dirty="0">
                <a:solidFill>
                  <a:schemeClr val="bg1"/>
                </a:solidFill>
              </a:rPr>
              <a:t>The BIA exercise has led to a list of departments to be prioritized (explained in subsequent slides) for embarking on a ‘Data Governance’ exercise, which will involve the below main activities: </a:t>
            </a:r>
          </a:p>
        </p:txBody>
      </p:sp>
      <p:sp>
        <p:nvSpPr>
          <p:cNvPr id="24" name="TextBox 23">
            <a:extLst>
              <a:ext uri="{FF2B5EF4-FFF2-40B4-BE49-F238E27FC236}">
                <a16:creationId xmlns:a16="http://schemas.microsoft.com/office/drawing/2014/main" id="{1DD2252F-9E4E-9A3A-942A-7DFE3871F354}"/>
              </a:ext>
            </a:extLst>
          </p:cNvPr>
          <p:cNvSpPr txBox="1"/>
          <p:nvPr/>
        </p:nvSpPr>
        <p:spPr>
          <a:xfrm>
            <a:off x="2308650" y="1922147"/>
            <a:ext cx="2901658" cy="307777"/>
          </a:xfrm>
          <a:prstGeom prst="rect">
            <a:avLst/>
          </a:prstGeom>
          <a:noFill/>
        </p:spPr>
        <p:txBody>
          <a:bodyPr wrap="square" rtlCol="0">
            <a:spAutoFit/>
          </a:bodyPr>
          <a:lstStyle/>
          <a:p>
            <a:pPr algn="ctr"/>
            <a:r>
              <a:rPr lang="en-US" sz="1400" b="1" dirty="0">
                <a:solidFill>
                  <a:schemeClr val="bg1"/>
                </a:solidFill>
                <a:latin typeface="+mj-lt"/>
                <a:ea typeface="Arial" panose="020B0706030804020204" pitchFamily="34" charset="0"/>
                <a:cs typeface="Arial" panose="020B0706030804020204" pitchFamily="34" charset="0"/>
              </a:rPr>
              <a:t>Data flow and inventory</a:t>
            </a:r>
          </a:p>
        </p:txBody>
      </p:sp>
      <p:sp>
        <p:nvSpPr>
          <p:cNvPr id="25" name="Freeform 5">
            <a:extLst>
              <a:ext uri="{FF2B5EF4-FFF2-40B4-BE49-F238E27FC236}">
                <a16:creationId xmlns:a16="http://schemas.microsoft.com/office/drawing/2014/main" id="{9C614B77-2AB5-DC8A-8778-D53324B9140E}"/>
              </a:ext>
            </a:extLst>
          </p:cNvPr>
          <p:cNvSpPr/>
          <p:nvPr/>
        </p:nvSpPr>
        <p:spPr>
          <a:xfrm>
            <a:off x="877118" y="2411239"/>
            <a:ext cx="9371781" cy="2735390"/>
          </a:xfrm>
          <a:custGeom>
            <a:avLst/>
            <a:gdLst>
              <a:gd name="connsiteX0" fmla="*/ 0 w 8147539"/>
              <a:gd name="connsiteY0" fmla="*/ 0 h 3094892"/>
              <a:gd name="connsiteX1" fmla="*/ 8124093 w 8147539"/>
              <a:gd name="connsiteY1" fmla="*/ 0 h 3094892"/>
              <a:gd name="connsiteX2" fmla="*/ 8124093 w 8147539"/>
              <a:gd name="connsiteY2" fmla="*/ 1559169 h 3094892"/>
              <a:gd name="connsiteX3" fmla="*/ 0 w 8147539"/>
              <a:gd name="connsiteY3" fmla="*/ 1559169 h 3094892"/>
              <a:gd name="connsiteX4" fmla="*/ 0 w 8147539"/>
              <a:gd name="connsiteY4" fmla="*/ 3094892 h 3094892"/>
              <a:gd name="connsiteX5" fmla="*/ 8147539 w 8147539"/>
              <a:gd name="connsiteY5" fmla="*/ 3094892 h 309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47539" h="3094892">
                <a:moveTo>
                  <a:pt x="0" y="0"/>
                </a:moveTo>
                <a:lnTo>
                  <a:pt x="8124093" y="0"/>
                </a:lnTo>
                <a:lnTo>
                  <a:pt x="8124093" y="1559169"/>
                </a:lnTo>
                <a:lnTo>
                  <a:pt x="0" y="1559169"/>
                </a:lnTo>
                <a:lnTo>
                  <a:pt x="0" y="3094892"/>
                </a:lnTo>
                <a:lnTo>
                  <a:pt x="8147539" y="3094892"/>
                </a:lnTo>
              </a:path>
            </a:pathLst>
          </a:custGeom>
          <a:noFill/>
          <a:ln w="12700">
            <a:solidFill>
              <a:schemeClr val="bg1"/>
            </a:solidFill>
            <a:headEnd type="diamond"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26" name="TextBox 25">
            <a:extLst>
              <a:ext uri="{FF2B5EF4-FFF2-40B4-BE49-F238E27FC236}">
                <a16:creationId xmlns:a16="http://schemas.microsoft.com/office/drawing/2014/main" id="{9447143A-4B02-D732-BFB5-1682FB9152E6}"/>
              </a:ext>
            </a:extLst>
          </p:cNvPr>
          <p:cNvSpPr txBox="1"/>
          <p:nvPr/>
        </p:nvSpPr>
        <p:spPr>
          <a:xfrm>
            <a:off x="1784065" y="2543669"/>
            <a:ext cx="3595754" cy="657038"/>
          </a:xfrm>
          <a:prstGeom prst="rect">
            <a:avLst/>
          </a:prstGeom>
          <a:noFill/>
        </p:spPr>
        <p:txBody>
          <a:bodyPr wrap="square" rtlCol="0">
            <a:spAutoFit/>
          </a:bodyPr>
          <a:lstStyle/>
          <a:p>
            <a:pPr>
              <a:lnSpc>
                <a:spcPct val="114000"/>
              </a:lnSpc>
            </a:pPr>
            <a:r>
              <a:rPr lang="en-IN" sz="1100" dirty="0">
                <a:solidFill>
                  <a:schemeClr val="bg1"/>
                </a:solidFill>
                <a:latin typeface="+mj-lt"/>
              </a:rPr>
              <a:t>Capture entire data flow lifecycle (data touch points, applications / systems used, third-party access points) and prepare data inventory</a:t>
            </a:r>
            <a:endParaRPr lang="en-US" sz="1100" dirty="0">
              <a:solidFill>
                <a:schemeClr val="bg1"/>
              </a:solidFill>
              <a:latin typeface="+mj-lt"/>
            </a:endParaRPr>
          </a:p>
        </p:txBody>
      </p:sp>
      <p:sp>
        <p:nvSpPr>
          <p:cNvPr id="27" name="Hexagon 26">
            <a:extLst>
              <a:ext uri="{FF2B5EF4-FFF2-40B4-BE49-F238E27FC236}">
                <a16:creationId xmlns:a16="http://schemas.microsoft.com/office/drawing/2014/main" id="{F6E633EB-E76A-B9D6-4581-622C61A57218}"/>
              </a:ext>
            </a:extLst>
          </p:cNvPr>
          <p:cNvSpPr/>
          <p:nvPr/>
        </p:nvSpPr>
        <p:spPr>
          <a:xfrm>
            <a:off x="3263004" y="2261579"/>
            <a:ext cx="477177" cy="339432"/>
          </a:xfrm>
          <a:prstGeom prst="hexagon">
            <a:avLst>
              <a:gd name="adj" fmla="val 29153"/>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mj-lt"/>
              </a:rPr>
              <a:t>1</a:t>
            </a:r>
          </a:p>
        </p:txBody>
      </p:sp>
      <p:sp>
        <p:nvSpPr>
          <p:cNvPr id="28" name="Hexagon 27">
            <a:extLst>
              <a:ext uri="{FF2B5EF4-FFF2-40B4-BE49-F238E27FC236}">
                <a16:creationId xmlns:a16="http://schemas.microsoft.com/office/drawing/2014/main" id="{CCED4A09-DBA2-0AC6-EF1C-3B64606C5A81}"/>
              </a:ext>
            </a:extLst>
          </p:cNvPr>
          <p:cNvSpPr/>
          <p:nvPr/>
        </p:nvSpPr>
        <p:spPr>
          <a:xfrm>
            <a:off x="6889552" y="2261579"/>
            <a:ext cx="477177" cy="339432"/>
          </a:xfrm>
          <a:prstGeom prst="hexagon">
            <a:avLst>
              <a:gd name="adj" fmla="val 29153"/>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mj-lt"/>
              </a:rPr>
              <a:t>2</a:t>
            </a:r>
          </a:p>
        </p:txBody>
      </p:sp>
      <p:sp>
        <p:nvSpPr>
          <p:cNvPr id="29" name="TextBox 28">
            <a:extLst>
              <a:ext uri="{FF2B5EF4-FFF2-40B4-BE49-F238E27FC236}">
                <a16:creationId xmlns:a16="http://schemas.microsoft.com/office/drawing/2014/main" id="{BADE0874-C4DB-0D43-7417-294678B704D9}"/>
              </a:ext>
            </a:extLst>
          </p:cNvPr>
          <p:cNvSpPr txBox="1"/>
          <p:nvPr/>
        </p:nvSpPr>
        <p:spPr>
          <a:xfrm>
            <a:off x="5935197" y="1922147"/>
            <a:ext cx="2481322" cy="307777"/>
          </a:xfrm>
          <a:prstGeom prst="rect">
            <a:avLst/>
          </a:prstGeom>
          <a:noFill/>
        </p:spPr>
        <p:txBody>
          <a:bodyPr wrap="square" rtlCol="0">
            <a:spAutoFit/>
          </a:bodyPr>
          <a:lstStyle/>
          <a:p>
            <a:pPr algn="ctr"/>
            <a:r>
              <a:rPr lang="en-US" sz="1400" b="1" dirty="0">
                <a:solidFill>
                  <a:schemeClr val="bg1"/>
                </a:solidFill>
                <a:latin typeface="+mj-lt"/>
                <a:ea typeface="Arial" panose="020B0706030804020204" pitchFamily="34" charset="0"/>
                <a:cs typeface="Arial" panose="020B0706030804020204" pitchFamily="34" charset="0"/>
              </a:rPr>
              <a:t>Data classification</a:t>
            </a:r>
          </a:p>
        </p:txBody>
      </p:sp>
      <p:sp>
        <p:nvSpPr>
          <p:cNvPr id="30" name="TextBox 29">
            <a:extLst>
              <a:ext uri="{FF2B5EF4-FFF2-40B4-BE49-F238E27FC236}">
                <a16:creationId xmlns:a16="http://schemas.microsoft.com/office/drawing/2014/main" id="{CC8B1B31-F097-9833-EE88-A54F390E4F7D}"/>
              </a:ext>
            </a:extLst>
          </p:cNvPr>
          <p:cNvSpPr txBox="1"/>
          <p:nvPr/>
        </p:nvSpPr>
        <p:spPr>
          <a:xfrm>
            <a:off x="5917962" y="2516154"/>
            <a:ext cx="2880299" cy="464038"/>
          </a:xfrm>
          <a:prstGeom prst="rect">
            <a:avLst/>
          </a:prstGeom>
          <a:noFill/>
        </p:spPr>
        <p:txBody>
          <a:bodyPr wrap="square" rtlCol="0">
            <a:spAutoFit/>
          </a:bodyPr>
          <a:lstStyle/>
          <a:p>
            <a:pPr>
              <a:lnSpc>
                <a:spcPct val="114000"/>
              </a:lnSpc>
            </a:pPr>
            <a:r>
              <a:rPr lang="en-IN" sz="1100" dirty="0">
                <a:solidFill>
                  <a:schemeClr val="bg1"/>
                </a:solidFill>
                <a:latin typeface="+mj-lt"/>
              </a:rPr>
              <a:t>Perform data classification based on sensitivity of data</a:t>
            </a:r>
            <a:endParaRPr lang="en-US" sz="1100" dirty="0">
              <a:solidFill>
                <a:schemeClr val="bg1"/>
              </a:solidFill>
              <a:latin typeface="+mj-lt"/>
            </a:endParaRPr>
          </a:p>
        </p:txBody>
      </p:sp>
      <p:sp>
        <p:nvSpPr>
          <p:cNvPr id="31" name="Hexagon 30">
            <a:extLst>
              <a:ext uri="{FF2B5EF4-FFF2-40B4-BE49-F238E27FC236}">
                <a16:creationId xmlns:a16="http://schemas.microsoft.com/office/drawing/2014/main" id="{91CA9C59-58DC-BEFA-26EF-D79DA5712CD8}"/>
              </a:ext>
            </a:extLst>
          </p:cNvPr>
          <p:cNvSpPr/>
          <p:nvPr/>
        </p:nvSpPr>
        <p:spPr>
          <a:xfrm>
            <a:off x="5076278" y="3619308"/>
            <a:ext cx="477177" cy="339432"/>
          </a:xfrm>
          <a:prstGeom prst="hexagon">
            <a:avLst>
              <a:gd name="adj" fmla="val 29153"/>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mj-lt"/>
              </a:rPr>
              <a:t>3</a:t>
            </a:r>
          </a:p>
        </p:txBody>
      </p:sp>
      <p:sp>
        <p:nvSpPr>
          <p:cNvPr id="2304" name="TextBox 2303">
            <a:extLst>
              <a:ext uri="{FF2B5EF4-FFF2-40B4-BE49-F238E27FC236}">
                <a16:creationId xmlns:a16="http://schemas.microsoft.com/office/drawing/2014/main" id="{85A71982-A8FA-4A30-4172-20944CD52A43}"/>
              </a:ext>
            </a:extLst>
          </p:cNvPr>
          <p:cNvSpPr txBox="1"/>
          <p:nvPr/>
        </p:nvSpPr>
        <p:spPr>
          <a:xfrm>
            <a:off x="4026488" y="3279876"/>
            <a:ext cx="3098483" cy="307777"/>
          </a:xfrm>
          <a:prstGeom prst="rect">
            <a:avLst/>
          </a:prstGeom>
          <a:noFill/>
        </p:spPr>
        <p:txBody>
          <a:bodyPr wrap="square" rtlCol="0">
            <a:spAutoFit/>
          </a:bodyPr>
          <a:lstStyle/>
          <a:p>
            <a:pPr algn="ctr"/>
            <a:r>
              <a:rPr lang="en-US" sz="1400" b="1" dirty="0">
                <a:solidFill>
                  <a:schemeClr val="bg1"/>
                </a:solidFill>
                <a:latin typeface="+mj-lt"/>
                <a:ea typeface="Arial" panose="020B0706030804020204" pitchFamily="34" charset="0"/>
                <a:cs typeface="Arial" panose="020B0706030804020204" pitchFamily="34" charset="0"/>
              </a:rPr>
              <a:t>Data retention and disposal</a:t>
            </a:r>
          </a:p>
        </p:txBody>
      </p:sp>
      <p:sp>
        <p:nvSpPr>
          <p:cNvPr id="2305" name="TextBox 2304">
            <a:extLst>
              <a:ext uri="{FF2B5EF4-FFF2-40B4-BE49-F238E27FC236}">
                <a16:creationId xmlns:a16="http://schemas.microsoft.com/office/drawing/2014/main" id="{BBB7BB88-268B-4149-A34F-D00192D64F9D}"/>
              </a:ext>
            </a:extLst>
          </p:cNvPr>
          <p:cNvSpPr txBox="1"/>
          <p:nvPr/>
        </p:nvSpPr>
        <p:spPr>
          <a:xfrm>
            <a:off x="3740182" y="3958741"/>
            <a:ext cx="3989422" cy="657038"/>
          </a:xfrm>
          <a:prstGeom prst="rect">
            <a:avLst/>
          </a:prstGeom>
          <a:noFill/>
        </p:spPr>
        <p:txBody>
          <a:bodyPr wrap="square" rtlCol="0">
            <a:spAutoFit/>
          </a:bodyPr>
          <a:lstStyle/>
          <a:p>
            <a:pPr>
              <a:lnSpc>
                <a:spcPct val="114000"/>
              </a:lnSpc>
            </a:pPr>
            <a:r>
              <a:rPr lang="en-US" sz="1100" dirty="0">
                <a:solidFill>
                  <a:schemeClr val="bg1"/>
                </a:solidFill>
                <a:latin typeface="+mj-lt"/>
              </a:rPr>
              <a:t>Validate data retention periods based on regulatory requirements received from Bekaert and identify secure data retention and disposal methods</a:t>
            </a:r>
          </a:p>
        </p:txBody>
      </p:sp>
      <p:sp>
        <p:nvSpPr>
          <p:cNvPr id="2317" name="Hexagon 2316">
            <a:extLst>
              <a:ext uri="{FF2B5EF4-FFF2-40B4-BE49-F238E27FC236}">
                <a16:creationId xmlns:a16="http://schemas.microsoft.com/office/drawing/2014/main" id="{63BE5DA2-6E3B-2042-8EA7-A1F1B353847D}"/>
              </a:ext>
            </a:extLst>
          </p:cNvPr>
          <p:cNvSpPr/>
          <p:nvPr/>
        </p:nvSpPr>
        <p:spPr>
          <a:xfrm>
            <a:off x="3263004" y="4977038"/>
            <a:ext cx="477177" cy="339432"/>
          </a:xfrm>
          <a:prstGeom prst="hexagon">
            <a:avLst>
              <a:gd name="adj" fmla="val 29153"/>
              <a:gd name="vf" fmla="val 11547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mj-lt"/>
              </a:rPr>
              <a:t>4</a:t>
            </a:r>
          </a:p>
        </p:txBody>
      </p:sp>
      <p:sp>
        <p:nvSpPr>
          <p:cNvPr id="2318" name="TextBox 2317">
            <a:extLst>
              <a:ext uri="{FF2B5EF4-FFF2-40B4-BE49-F238E27FC236}">
                <a16:creationId xmlns:a16="http://schemas.microsoft.com/office/drawing/2014/main" id="{EA88B24B-66D3-0FD9-B19A-0BD3723355FE}"/>
              </a:ext>
            </a:extLst>
          </p:cNvPr>
          <p:cNvSpPr txBox="1"/>
          <p:nvPr/>
        </p:nvSpPr>
        <p:spPr>
          <a:xfrm>
            <a:off x="2308650" y="4664209"/>
            <a:ext cx="2481322" cy="307777"/>
          </a:xfrm>
          <a:prstGeom prst="rect">
            <a:avLst/>
          </a:prstGeom>
          <a:noFill/>
        </p:spPr>
        <p:txBody>
          <a:bodyPr wrap="square" rtlCol="0">
            <a:spAutoFit/>
          </a:bodyPr>
          <a:lstStyle/>
          <a:p>
            <a:pPr algn="ctr"/>
            <a:r>
              <a:rPr lang="en-US" sz="1400" b="1" dirty="0">
                <a:solidFill>
                  <a:schemeClr val="bg1"/>
                </a:solidFill>
                <a:latin typeface="+mj-lt"/>
                <a:ea typeface="Arial" panose="020B0706030804020204" pitchFamily="34" charset="0"/>
                <a:cs typeface="Arial" panose="020B0706030804020204" pitchFamily="34" charset="0"/>
              </a:rPr>
              <a:t>Data protection</a:t>
            </a:r>
          </a:p>
        </p:txBody>
      </p:sp>
      <p:sp>
        <p:nvSpPr>
          <p:cNvPr id="2319" name="TextBox 2318">
            <a:extLst>
              <a:ext uri="{FF2B5EF4-FFF2-40B4-BE49-F238E27FC236}">
                <a16:creationId xmlns:a16="http://schemas.microsoft.com/office/drawing/2014/main" id="{E43B8B86-FA9A-DB29-E3AB-C13908DBC541}"/>
              </a:ext>
            </a:extLst>
          </p:cNvPr>
          <p:cNvSpPr txBox="1"/>
          <p:nvPr/>
        </p:nvSpPr>
        <p:spPr>
          <a:xfrm>
            <a:off x="1909673" y="5343986"/>
            <a:ext cx="3452910" cy="430887"/>
          </a:xfrm>
          <a:prstGeom prst="rect">
            <a:avLst/>
          </a:prstGeom>
          <a:noFill/>
        </p:spPr>
        <p:txBody>
          <a:bodyPr wrap="square" rtlCol="0">
            <a:spAutoFit/>
          </a:bodyPr>
          <a:lstStyle/>
          <a:p>
            <a:pPr fontAlgn="ctr"/>
            <a:r>
              <a:rPr lang="en-US" sz="1100" dirty="0">
                <a:solidFill>
                  <a:schemeClr val="bg1"/>
                </a:solidFill>
                <a:latin typeface="+mj-lt"/>
              </a:rPr>
              <a:t>Determined the data protection and monitoring controls that should be implemented</a:t>
            </a:r>
          </a:p>
        </p:txBody>
      </p:sp>
      <p:sp>
        <p:nvSpPr>
          <p:cNvPr id="2320" name="Hexagon 2319">
            <a:extLst>
              <a:ext uri="{FF2B5EF4-FFF2-40B4-BE49-F238E27FC236}">
                <a16:creationId xmlns:a16="http://schemas.microsoft.com/office/drawing/2014/main" id="{358080B7-C385-1A98-79AC-F25AE4AAB5F5}"/>
              </a:ext>
            </a:extLst>
          </p:cNvPr>
          <p:cNvSpPr/>
          <p:nvPr/>
        </p:nvSpPr>
        <p:spPr>
          <a:xfrm>
            <a:off x="6889552" y="4977038"/>
            <a:ext cx="477177" cy="339432"/>
          </a:xfrm>
          <a:prstGeom prst="hexagon">
            <a:avLst>
              <a:gd name="adj" fmla="val 29153"/>
              <a:gd name="vf" fmla="val 11547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mj-lt"/>
              </a:rPr>
              <a:t>5</a:t>
            </a:r>
          </a:p>
        </p:txBody>
      </p:sp>
      <p:sp>
        <p:nvSpPr>
          <p:cNvPr id="2321" name="TextBox 2320">
            <a:extLst>
              <a:ext uri="{FF2B5EF4-FFF2-40B4-BE49-F238E27FC236}">
                <a16:creationId xmlns:a16="http://schemas.microsoft.com/office/drawing/2014/main" id="{25BF8DBB-C494-9205-81C3-7F3716028BB7}"/>
              </a:ext>
            </a:extLst>
          </p:cNvPr>
          <p:cNvSpPr txBox="1"/>
          <p:nvPr/>
        </p:nvSpPr>
        <p:spPr>
          <a:xfrm>
            <a:off x="5935197" y="4664209"/>
            <a:ext cx="2481322" cy="307777"/>
          </a:xfrm>
          <a:prstGeom prst="rect">
            <a:avLst/>
          </a:prstGeom>
          <a:noFill/>
        </p:spPr>
        <p:txBody>
          <a:bodyPr wrap="square" rtlCol="0">
            <a:spAutoFit/>
          </a:bodyPr>
          <a:lstStyle/>
          <a:p>
            <a:pPr algn="ctr"/>
            <a:r>
              <a:rPr lang="en-US" sz="1400" b="1" dirty="0">
                <a:solidFill>
                  <a:schemeClr val="bg1"/>
                </a:solidFill>
                <a:latin typeface="+mj-lt"/>
                <a:ea typeface="Arial" panose="020B0706030804020204" pitchFamily="34" charset="0"/>
                <a:cs typeface="Arial" panose="020B0706030804020204" pitchFamily="34" charset="0"/>
              </a:rPr>
              <a:t>Data governance</a:t>
            </a:r>
          </a:p>
        </p:txBody>
      </p:sp>
      <p:sp>
        <p:nvSpPr>
          <p:cNvPr id="2322" name="TextBox 2321">
            <a:extLst>
              <a:ext uri="{FF2B5EF4-FFF2-40B4-BE49-F238E27FC236}">
                <a16:creationId xmlns:a16="http://schemas.microsoft.com/office/drawing/2014/main" id="{B381C568-71BA-C00C-767B-A2BE7FC541A8}"/>
              </a:ext>
            </a:extLst>
          </p:cNvPr>
          <p:cNvSpPr txBox="1"/>
          <p:nvPr/>
        </p:nvSpPr>
        <p:spPr>
          <a:xfrm>
            <a:off x="5744326" y="5316470"/>
            <a:ext cx="3930087" cy="430887"/>
          </a:xfrm>
          <a:prstGeom prst="rect">
            <a:avLst/>
          </a:prstGeom>
          <a:noFill/>
        </p:spPr>
        <p:txBody>
          <a:bodyPr wrap="square" rtlCol="0">
            <a:spAutoFit/>
          </a:bodyPr>
          <a:lstStyle/>
          <a:p>
            <a:pPr fontAlgn="ctr"/>
            <a:r>
              <a:rPr lang="en-US" sz="1100" dirty="0">
                <a:solidFill>
                  <a:schemeClr val="bg1"/>
                </a:solidFill>
                <a:latin typeface="+mj-lt"/>
              </a:rPr>
              <a:t>Determine roles and responsibilities for data governance and develop data governance framework</a:t>
            </a:r>
          </a:p>
        </p:txBody>
      </p:sp>
      <p:sp>
        <p:nvSpPr>
          <p:cNvPr id="2323" name="TextBox 2322">
            <a:extLst>
              <a:ext uri="{FF2B5EF4-FFF2-40B4-BE49-F238E27FC236}">
                <a16:creationId xmlns:a16="http://schemas.microsoft.com/office/drawing/2014/main" id="{3CB1E7AB-18B4-3909-A3D1-CA14593D1DB9}"/>
              </a:ext>
            </a:extLst>
          </p:cNvPr>
          <p:cNvSpPr txBox="1"/>
          <p:nvPr/>
        </p:nvSpPr>
        <p:spPr>
          <a:xfrm>
            <a:off x="9955113" y="4891119"/>
            <a:ext cx="1728192" cy="868323"/>
          </a:xfrm>
          <a:prstGeom prst="round2DiagRect">
            <a:avLst/>
          </a:prstGeom>
          <a:solidFill>
            <a:schemeClr val="bg1"/>
          </a:solidFill>
          <a:ln w="19050">
            <a:solidFill>
              <a:schemeClr val="accent5"/>
            </a:solidFill>
          </a:ln>
        </p:spPr>
        <p:txBody>
          <a:bodyPr wrap="square" rtlCol="0">
            <a:spAutoFit/>
          </a:bodyPr>
          <a:lstStyle/>
          <a:p>
            <a:pPr algn="ctr" fontAlgn="ctr"/>
            <a:r>
              <a:rPr lang="en-US" sz="900" b="1" dirty="0"/>
              <a:t>These controls will provide a baseline for Bekaert to strengthen the data governance for remaining departments.</a:t>
            </a:r>
            <a:endParaRPr lang="en-IN" sz="900" b="1" dirty="0"/>
          </a:p>
        </p:txBody>
      </p:sp>
    </p:spTree>
    <p:extLst>
      <p:ext uri="{BB962C8B-B14F-4D97-AF65-F5344CB8AC3E}">
        <p14:creationId xmlns:p14="http://schemas.microsoft.com/office/powerpoint/2010/main" val="34954933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97C2208-A571-4571-AA77-28945D5CB7B2}"/>
              </a:ext>
            </a:extLst>
          </p:cNvPr>
          <p:cNvSpPr txBox="1"/>
          <p:nvPr/>
        </p:nvSpPr>
        <p:spPr>
          <a:xfrm>
            <a:off x="4306235" y="545967"/>
            <a:ext cx="4889635" cy="82176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6000" b="1" dirty="0">
                <a:solidFill>
                  <a:srgbClr val="FFE600"/>
                </a:solidFill>
              </a:rPr>
              <a:t>Thank you!</a:t>
            </a:r>
            <a:endParaRPr lang="en-IN" sz="6000" b="1" dirty="0">
              <a:solidFill>
                <a:srgbClr val="FFE600"/>
              </a:solidFill>
            </a:endParaRPr>
          </a:p>
        </p:txBody>
      </p:sp>
    </p:spTree>
    <p:extLst>
      <p:ext uri="{BB962C8B-B14F-4D97-AF65-F5344CB8AC3E}">
        <p14:creationId xmlns:p14="http://schemas.microsoft.com/office/powerpoint/2010/main" val="1142519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0ACC24-8488-43C0-9A0A-195C0E6ED0D1}"/>
              </a:ext>
            </a:extLst>
          </p:cNvPr>
          <p:cNvSpPr txBox="1"/>
          <p:nvPr/>
        </p:nvSpPr>
        <p:spPr>
          <a:xfrm>
            <a:off x="6669587" y="3182939"/>
            <a:ext cx="5256627" cy="470898"/>
          </a:xfrm>
          <a:prstGeom prst="rect">
            <a:avLst/>
          </a:prstGeom>
          <a:noFill/>
        </p:spPr>
        <p:txBody>
          <a:bodyPr wrap="square" lIns="0" tIns="0" rIns="0" bIns="0" rtlCol="0">
            <a:spAutoFit/>
          </a:body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IN" sz="3600" b="1" i="0" u="none" strike="noStrike" kern="1200" cap="none" spc="0" normalizeH="0" baseline="0" noProof="0" dirty="0">
                <a:ln>
                  <a:noFill/>
                </a:ln>
                <a:solidFill>
                  <a:srgbClr val="FFFFFF"/>
                </a:solidFill>
                <a:effectLst/>
                <a:uLnTx/>
                <a:uFillTx/>
                <a:latin typeface="EYInterstate Light"/>
                <a:ea typeface="+mn-ea"/>
                <a:cs typeface="Arial" pitchFamily="34" charset="0"/>
              </a:rPr>
              <a:t>Introduction</a:t>
            </a:r>
            <a:endParaRPr kumimoji="0" lang="en-US" sz="3600" b="1" i="0" u="none" strike="noStrike" kern="1200" cap="none" spc="0" normalizeH="0" baseline="0" noProof="0" dirty="0">
              <a:ln>
                <a:noFill/>
              </a:ln>
              <a:solidFill>
                <a:srgbClr val="FFFFFF"/>
              </a:solidFill>
              <a:effectLst/>
              <a:uLnTx/>
              <a:uFillTx/>
              <a:latin typeface="EYInterstate Light"/>
              <a:ea typeface="+mn-ea"/>
              <a:cs typeface="Arial" pitchFamily="34" charset="0"/>
            </a:endParaRPr>
          </a:p>
        </p:txBody>
      </p:sp>
      <p:sp>
        <p:nvSpPr>
          <p:cNvPr id="3" name="TextBox 2">
            <a:extLst>
              <a:ext uri="{FF2B5EF4-FFF2-40B4-BE49-F238E27FC236}">
                <a16:creationId xmlns:a16="http://schemas.microsoft.com/office/drawing/2014/main" id="{561E47C9-B240-494C-9E62-B493CF52B358}"/>
              </a:ext>
            </a:extLst>
          </p:cNvPr>
          <p:cNvSpPr txBox="1"/>
          <p:nvPr/>
        </p:nvSpPr>
        <p:spPr>
          <a:xfrm>
            <a:off x="2894099" y="1710879"/>
            <a:ext cx="2076760" cy="1768794"/>
          </a:xfrm>
          <a:prstGeom prst="rect">
            <a:avLst/>
          </a:prstGeom>
          <a:noFill/>
        </p:spPr>
        <p:txBody>
          <a:bodyPr wrap="square" lIns="0" tIns="0" rIns="0" bIns="0" rtlCol="0">
            <a:spAutoFit/>
          </a:bodyPr>
          <a:lstStyle/>
          <a:p>
            <a:pPr marL="0" marR="0" lvl="0" indent="0" algn="l" defTabSz="913943" rtl="0" eaLnBrk="1" fontAlgn="auto" latinLnBrk="0" hangingPunct="1">
              <a:lnSpc>
                <a:spcPct val="100000"/>
              </a:lnSpc>
              <a:spcBef>
                <a:spcPts val="0"/>
              </a:spcBef>
              <a:spcAft>
                <a:spcPts val="1199"/>
              </a:spcAft>
              <a:buClrTx/>
              <a:buSzTx/>
              <a:buFontTx/>
              <a:buNone/>
              <a:tabLst/>
              <a:defRPr/>
            </a:pPr>
            <a:r>
              <a:rPr kumimoji="0" lang="en-US" sz="11494" b="1" i="0" u="none" strike="noStrike" kern="1200" cap="none" spc="0" normalizeH="0" baseline="0" noProof="0" dirty="0">
                <a:ln>
                  <a:noFill/>
                </a:ln>
                <a:solidFill>
                  <a:srgbClr val="2E2E38"/>
                </a:solidFill>
                <a:effectLst/>
                <a:uLnTx/>
                <a:uFillTx/>
                <a:latin typeface="EYInterstate Light"/>
                <a:ea typeface="+mn-ea"/>
                <a:cs typeface="+mn-cs"/>
              </a:rPr>
              <a:t>01</a:t>
            </a:r>
            <a:endParaRPr kumimoji="0" lang="en-CA" sz="11494"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19533856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22C4214-8094-2B96-C1FF-9B458C9C467E}"/>
              </a:ext>
            </a:extLst>
          </p:cNvPr>
          <p:cNvSpPr txBox="1"/>
          <p:nvPr/>
        </p:nvSpPr>
        <p:spPr>
          <a:xfrm>
            <a:off x="376463" y="223520"/>
            <a:ext cx="11205938"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3600" dirty="0">
                <a:solidFill>
                  <a:schemeClr val="bg1"/>
                </a:solidFill>
              </a:rPr>
              <a:t>Introduction</a:t>
            </a:r>
          </a:p>
        </p:txBody>
      </p:sp>
      <p:sp>
        <p:nvSpPr>
          <p:cNvPr id="58" name="Rectangle 57">
            <a:extLst>
              <a:ext uri="{FF2B5EF4-FFF2-40B4-BE49-F238E27FC236}">
                <a16:creationId xmlns:a16="http://schemas.microsoft.com/office/drawing/2014/main" id="{52A24615-F384-4AEA-870A-84ED22F78320}"/>
              </a:ext>
            </a:extLst>
          </p:cNvPr>
          <p:cNvSpPr/>
          <p:nvPr/>
        </p:nvSpPr>
        <p:spPr>
          <a:xfrm>
            <a:off x="376463" y="996650"/>
            <a:ext cx="11462639" cy="333522"/>
          </a:xfrm>
          <a:prstGeom prst="rect">
            <a:avLst/>
          </a:prstGeom>
          <a:solidFill>
            <a:srgbClr val="FFE600"/>
          </a:solidFill>
          <a:ln w="3175" cap="flat" cmpd="sng" algn="ctr">
            <a:solidFill>
              <a:schemeClr val="bg2"/>
            </a:solidFill>
            <a:prstDash val="solid"/>
          </a:ln>
          <a:effectLst>
            <a:innerShdw blurRad="63500" dist="50800" dir="18900000">
              <a:prstClr val="black">
                <a:alpha val="50000"/>
              </a:prstClr>
            </a:innerShdw>
          </a:effectLst>
        </p:spPr>
        <p:txBody>
          <a:bodyPr rtlCol="0" anchor="ctr"/>
          <a:lstStyle/>
          <a:p>
            <a:pPr marL="0" marR="0" lvl="0" indent="0" algn="l" defTabSz="585846"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ea typeface="+mn-ea"/>
                <a:cs typeface="+mn-cs"/>
              </a:rPr>
              <a:t>What is Business </a:t>
            </a:r>
            <a:r>
              <a:rPr lang="en-US" sz="1399" b="1" kern="0" dirty="0">
                <a:solidFill>
                  <a:srgbClr val="000000"/>
                </a:solidFill>
              </a:rPr>
              <a:t>Impact Analysis (BIA)?</a:t>
            </a:r>
            <a:endParaRPr kumimoji="0" lang="en-IN" sz="1399" b="1" i="0" u="none" strike="noStrike" kern="0" cap="none" spc="0" normalizeH="0" baseline="0" noProof="0" dirty="0">
              <a:ln>
                <a:noFill/>
              </a:ln>
              <a:solidFill>
                <a:srgbClr val="000000"/>
              </a:solidFill>
              <a:effectLst/>
              <a:uLnTx/>
              <a:uFillTx/>
              <a:ea typeface="+mn-ea"/>
              <a:cs typeface="+mn-cs"/>
            </a:endParaRPr>
          </a:p>
        </p:txBody>
      </p:sp>
      <p:sp>
        <p:nvSpPr>
          <p:cNvPr id="59" name="TextBox 58">
            <a:extLst>
              <a:ext uri="{FF2B5EF4-FFF2-40B4-BE49-F238E27FC236}">
                <a16:creationId xmlns:a16="http://schemas.microsoft.com/office/drawing/2014/main" id="{DE06CF1B-7261-439B-A335-F1DAAA38B029}"/>
              </a:ext>
            </a:extLst>
          </p:cNvPr>
          <p:cNvSpPr txBox="1"/>
          <p:nvPr/>
        </p:nvSpPr>
        <p:spPr>
          <a:xfrm>
            <a:off x="396403" y="1386072"/>
            <a:ext cx="11442700" cy="1169551"/>
          </a:xfrm>
          <a:prstGeom prst="rect">
            <a:avLst/>
          </a:prstGeom>
          <a:noFill/>
          <a:ln w="3175">
            <a:solidFill>
              <a:srgbClr val="FFE600"/>
            </a:solidFill>
            <a:prstDash val="dash"/>
          </a:ln>
        </p:spPr>
        <p:txBody>
          <a:bodyPr wrap="square">
            <a:spAutoFit/>
          </a:bodyPr>
          <a:lstStyle/>
          <a:p>
            <a:r>
              <a:rPr lang="en-IN" sz="1400" b="0" i="0" dirty="0">
                <a:solidFill>
                  <a:schemeClr val="bg1"/>
                </a:solidFill>
                <a:effectLst/>
              </a:rPr>
              <a:t>A Business Impact Analysis (BIA) serves as an examination aimed at determining the consequences arising from business disruptions, particularly when it comes to the breakdown of critical IT functions.</a:t>
            </a:r>
          </a:p>
          <a:p>
            <a:r>
              <a:rPr lang="en-IN" sz="1400" b="0" i="0" dirty="0">
                <a:solidFill>
                  <a:schemeClr val="bg1"/>
                </a:solidFill>
                <a:effectLst/>
              </a:rPr>
              <a:t> In essence, a BIA assists in pinpointing the IT systems vital for an organization's continuity. To underscore, survivability denotes an organization's capacity to endure potential losses attributable to risks. Certain losses, if left unaddressed, have the potential to be so debilitating that they could ultimately lead to business failure.</a:t>
            </a:r>
          </a:p>
        </p:txBody>
      </p:sp>
      <p:sp>
        <p:nvSpPr>
          <p:cNvPr id="60" name="Rectangle 59">
            <a:extLst>
              <a:ext uri="{FF2B5EF4-FFF2-40B4-BE49-F238E27FC236}">
                <a16:creationId xmlns:a16="http://schemas.microsoft.com/office/drawing/2014/main" id="{1EA1F619-48C7-4DB7-8941-CE0A3000CAD4}"/>
              </a:ext>
            </a:extLst>
          </p:cNvPr>
          <p:cNvSpPr/>
          <p:nvPr/>
        </p:nvSpPr>
        <p:spPr>
          <a:xfrm>
            <a:off x="378297" y="2611523"/>
            <a:ext cx="11442700" cy="333522"/>
          </a:xfrm>
          <a:prstGeom prst="rect">
            <a:avLst/>
          </a:prstGeom>
          <a:solidFill>
            <a:srgbClr val="FFE600"/>
          </a:solidFill>
          <a:ln w="3175" cap="flat" cmpd="sng" algn="ctr">
            <a:solidFill>
              <a:schemeClr val="bg2"/>
            </a:solidFill>
            <a:prstDash val="solid"/>
          </a:ln>
          <a:effectLst>
            <a:innerShdw blurRad="63500" dist="50800" dir="18900000">
              <a:prstClr val="black">
                <a:alpha val="50000"/>
              </a:prstClr>
            </a:innerShdw>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err="1">
                <a:ln>
                  <a:noFill/>
                </a:ln>
                <a:solidFill>
                  <a:schemeClr val="tx1"/>
                </a:solidFill>
                <a:effectLst/>
                <a:uLnTx/>
                <a:uFillTx/>
                <a:ea typeface="+mn-ea"/>
                <a:cs typeface="+mn-cs"/>
              </a:rPr>
              <a:t>Ke</a:t>
            </a:r>
            <a:r>
              <a:rPr lang="en-IN" sz="1400" b="1" dirty="0"/>
              <a:t>y Terms for BIA</a:t>
            </a:r>
            <a:endParaRPr kumimoji="0" lang="en-US" sz="1400" b="1" i="0" u="none" strike="noStrike" kern="1200" cap="none" spc="0" normalizeH="0" baseline="0" noProof="0" dirty="0">
              <a:ln>
                <a:noFill/>
              </a:ln>
              <a:solidFill>
                <a:schemeClr val="tx1"/>
              </a:solidFill>
              <a:effectLst/>
              <a:uLnTx/>
              <a:uFillTx/>
              <a:ea typeface="+mn-ea"/>
              <a:cs typeface="+mn-cs"/>
            </a:endParaRPr>
          </a:p>
        </p:txBody>
      </p:sp>
      <p:sp>
        <p:nvSpPr>
          <p:cNvPr id="2" name="Rectangle 1">
            <a:extLst>
              <a:ext uri="{FF2B5EF4-FFF2-40B4-BE49-F238E27FC236}">
                <a16:creationId xmlns:a16="http://schemas.microsoft.com/office/drawing/2014/main" id="{BC1F187E-BBA4-CC49-C827-CED1379365BC}"/>
              </a:ext>
            </a:extLst>
          </p:cNvPr>
          <p:cNvSpPr/>
          <p:nvPr/>
        </p:nvSpPr>
        <p:spPr>
          <a:xfrm>
            <a:off x="405456" y="3000945"/>
            <a:ext cx="11424594" cy="714407"/>
          </a:xfrm>
          <a:prstGeom prst="rect">
            <a:avLst/>
          </a:prstGeom>
          <a:noFill/>
          <a:ln w="3175" cap="flat" cmpd="sng" algn="ctr">
            <a:solidFill>
              <a:srgbClr val="FFE600"/>
            </a:solidFill>
            <a:prstDash val="dash"/>
            <a:miter lim="800000"/>
          </a:ln>
          <a:effectLst/>
        </p:spPr>
        <p:txBody>
          <a:bodyPr rtlCol="0" anchor="ctr"/>
          <a:lstStyle/>
          <a:p>
            <a:pPr marL="171450" marR="0" lvl="0" indent="-171450" algn="l" defTabSz="914400" rtl="0" eaLnBrk="1" fontAlgn="auto" latinLnBrk="0" hangingPunct="1">
              <a:lnSpc>
                <a:spcPct val="100000"/>
              </a:lnSpc>
              <a:spcBef>
                <a:spcPts val="300"/>
              </a:spcBef>
              <a:spcAft>
                <a:spcPts val="300"/>
              </a:spcAft>
              <a:buSzPct val="125000"/>
              <a:buFontTx/>
              <a:buChar char="•"/>
              <a:tabLst/>
              <a:defRPr/>
            </a:pPr>
            <a:r>
              <a:rPr lang="en-IN" sz="1400" b="1" dirty="0">
                <a:solidFill>
                  <a:schemeClr val="bg1"/>
                </a:solidFill>
              </a:rPr>
              <a:t>Maximum Acceptable Outage (MAO): </a:t>
            </a:r>
          </a:p>
          <a:p>
            <a:pPr marR="0" lvl="0" algn="l" defTabSz="914400" rtl="0" eaLnBrk="1" fontAlgn="auto" latinLnBrk="0" hangingPunct="1">
              <a:lnSpc>
                <a:spcPct val="100000"/>
              </a:lnSpc>
              <a:spcBef>
                <a:spcPts val="300"/>
              </a:spcBef>
              <a:spcAft>
                <a:spcPts val="300"/>
              </a:spcAft>
              <a:buSzPct val="125000"/>
              <a:tabLst/>
              <a:defRPr/>
            </a:pPr>
            <a:r>
              <a:rPr lang="en-IN" sz="1200" b="1" i="0" dirty="0">
                <a:solidFill>
                  <a:schemeClr val="bg1"/>
                </a:solidFill>
                <a:effectLst/>
              </a:rPr>
              <a:t>M</a:t>
            </a:r>
            <a:r>
              <a:rPr lang="en-IN" sz="1200" b="1" dirty="0">
                <a:solidFill>
                  <a:schemeClr val="bg1"/>
                </a:solidFill>
              </a:rPr>
              <a:t>aximum Acceptable outage is the maximum amount of time a system or service can be down before affecting the mission. The MAO is sometimes referred to as maximum tolerable outage (MTO) or maximum tolerable period of disruption (MTPOD) </a:t>
            </a:r>
            <a:endPar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endParaRPr>
          </a:p>
        </p:txBody>
      </p:sp>
      <p:sp>
        <p:nvSpPr>
          <p:cNvPr id="4" name="Rectangle 3">
            <a:extLst>
              <a:ext uri="{FF2B5EF4-FFF2-40B4-BE49-F238E27FC236}">
                <a16:creationId xmlns:a16="http://schemas.microsoft.com/office/drawing/2014/main" id="{86EBEEC0-4FE8-1414-2667-332AA019BF93}"/>
              </a:ext>
            </a:extLst>
          </p:cNvPr>
          <p:cNvSpPr/>
          <p:nvPr/>
        </p:nvSpPr>
        <p:spPr>
          <a:xfrm>
            <a:off x="414508" y="3836974"/>
            <a:ext cx="11424594" cy="714407"/>
          </a:xfrm>
          <a:prstGeom prst="rect">
            <a:avLst/>
          </a:prstGeom>
          <a:noFill/>
          <a:ln w="3175" cap="flat" cmpd="sng" algn="ctr">
            <a:solidFill>
              <a:srgbClr val="FFE600"/>
            </a:solidFill>
            <a:prstDash val="dash"/>
            <a:miter lim="800000"/>
          </a:ln>
          <a:effectLst/>
        </p:spPr>
        <p:txBody>
          <a:bodyPr rtlCol="0" anchor="ctr"/>
          <a:lstStyle/>
          <a:p>
            <a:pPr marL="171450" marR="0" lvl="0" indent="-171450" algn="l" defTabSz="914400" rtl="0" eaLnBrk="1" fontAlgn="auto" latinLnBrk="0" hangingPunct="1">
              <a:lnSpc>
                <a:spcPct val="100000"/>
              </a:lnSpc>
              <a:spcBef>
                <a:spcPts val="300"/>
              </a:spcBef>
              <a:spcAft>
                <a:spcPts val="300"/>
              </a:spcAft>
              <a:buSzPct val="125000"/>
              <a:buFontTx/>
              <a:buChar char="•"/>
              <a:tabLst/>
              <a:defRPr/>
            </a:pPr>
            <a:r>
              <a:rPr lang="en-IN" sz="1400" b="1" dirty="0">
                <a:solidFill>
                  <a:schemeClr val="bg1"/>
                </a:solidFill>
              </a:rPr>
              <a:t>Customer Service Delivery Document: </a:t>
            </a:r>
          </a:p>
          <a:p>
            <a:pPr marR="0" lvl="0" algn="l" defTabSz="914400" rtl="0" eaLnBrk="1" fontAlgn="auto" latinLnBrk="0" hangingPunct="1">
              <a:lnSpc>
                <a:spcPct val="100000"/>
              </a:lnSpc>
              <a:spcBef>
                <a:spcPts val="300"/>
              </a:spcBef>
              <a:spcAft>
                <a:spcPts val="300"/>
              </a:spcAft>
              <a:buSzPct val="125000"/>
              <a:tabLst/>
              <a:defRPr/>
            </a:pPr>
            <a:r>
              <a:rPr lang="en-IN" sz="1200" b="1" i="0" dirty="0">
                <a:solidFill>
                  <a:schemeClr val="bg1"/>
                </a:solidFill>
                <a:effectLst/>
              </a:rPr>
              <a:t>A service level agreement (SLA) is a document that identifies an expected level of performance. It identifies the minimum uptime or the maximum downtime. Organizations use SLAs as a contract between a service provider and a customer. </a:t>
            </a:r>
            <a:endPar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endParaRPr>
          </a:p>
        </p:txBody>
      </p:sp>
      <p:sp>
        <p:nvSpPr>
          <p:cNvPr id="5" name="Rectangle 4">
            <a:extLst>
              <a:ext uri="{FF2B5EF4-FFF2-40B4-BE49-F238E27FC236}">
                <a16:creationId xmlns:a16="http://schemas.microsoft.com/office/drawing/2014/main" id="{588088D1-6B5E-8B22-A264-D1E84839F3BB}"/>
              </a:ext>
            </a:extLst>
          </p:cNvPr>
          <p:cNvSpPr/>
          <p:nvPr/>
        </p:nvSpPr>
        <p:spPr>
          <a:xfrm>
            <a:off x="414508" y="4630996"/>
            <a:ext cx="11424594" cy="714407"/>
          </a:xfrm>
          <a:prstGeom prst="rect">
            <a:avLst/>
          </a:prstGeom>
          <a:noFill/>
          <a:ln w="3175" cap="flat" cmpd="sng" algn="ctr">
            <a:solidFill>
              <a:srgbClr val="FFE600"/>
            </a:solidFill>
            <a:prstDash val="dash"/>
            <a:miter lim="800000"/>
          </a:ln>
          <a:effectLst/>
        </p:spPr>
        <p:txBody>
          <a:bodyPr rtlCol="0" anchor="ctr"/>
          <a:lstStyle/>
          <a:p>
            <a:pPr marL="171450" marR="0" lvl="0" indent="-171450" algn="l" defTabSz="914400" rtl="0" eaLnBrk="1" fontAlgn="auto" latinLnBrk="0" hangingPunct="1">
              <a:lnSpc>
                <a:spcPct val="100000"/>
              </a:lnSpc>
              <a:spcBef>
                <a:spcPts val="300"/>
              </a:spcBef>
              <a:spcAft>
                <a:spcPts val="300"/>
              </a:spcAft>
              <a:buSzPct val="125000"/>
              <a:buFontTx/>
              <a:buChar char="•"/>
              <a:tabLst/>
              <a:defRPr/>
            </a:pPr>
            <a:r>
              <a:rPr lang="en-IN" sz="1400" b="1" dirty="0">
                <a:solidFill>
                  <a:schemeClr val="bg1"/>
                </a:solidFill>
              </a:rPr>
              <a:t>Critical Business Functions (CBFs): </a:t>
            </a:r>
          </a:p>
          <a:p>
            <a:pPr marR="0" lvl="0" algn="l" defTabSz="914400" rtl="0" eaLnBrk="1" fontAlgn="auto" latinLnBrk="0" hangingPunct="1">
              <a:lnSpc>
                <a:spcPct val="100000"/>
              </a:lnSpc>
              <a:spcBef>
                <a:spcPts val="300"/>
              </a:spcBef>
              <a:spcAft>
                <a:spcPts val="300"/>
              </a:spcAft>
              <a:buSzPct val="125000"/>
              <a:tabLst/>
              <a:defRPr/>
            </a:pPr>
            <a:r>
              <a:rPr lang="en-IN" sz="1200" b="1" i="0" dirty="0">
                <a:solidFill>
                  <a:schemeClr val="bg1"/>
                </a:solidFill>
                <a:effectLst/>
              </a:rPr>
              <a:t>Any functions considered vital to an organization. If a CBF fails, the organization will lose the ability to perform essential operations. For example: sell products / services to the customer which in turn will lead to loss of revenue. </a:t>
            </a:r>
            <a:r>
              <a:rPr lang="en-IN" sz="1200" b="1" dirty="0">
                <a:solidFill>
                  <a:schemeClr val="bg1"/>
                </a:solidFill>
              </a:rPr>
              <a:t> </a:t>
            </a:r>
            <a:endPar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endParaRPr>
          </a:p>
        </p:txBody>
      </p:sp>
      <p:sp>
        <p:nvSpPr>
          <p:cNvPr id="6" name="Rectangle 5">
            <a:extLst>
              <a:ext uri="{FF2B5EF4-FFF2-40B4-BE49-F238E27FC236}">
                <a16:creationId xmlns:a16="http://schemas.microsoft.com/office/drawing/2014/main" id="{0FD9FACD-25E6-A119-C6D2-F263FC6AA330}"/>
              </a:ext>
            </a:extLst>
          </p:cNvPr>
          <p:cNvSpPr/>
          <p:nvPr/>
        </p:nvSpPr>
        <p:spPr>
          <a:xfrm>
            <a:off x="414508" y="5425018"/>
            <a:ext cx="11424594" cy="714407"/>
          </a:xfrm>
          <a:prstGeom prst="rect">
            <a:avLst/>
          </a:prstGeom>
          <a:noFill/>
          <a:ln w="3175" cap="flat" cmpd="sng" algn="ctr">
            <a:solidFill>
              <a:srgbClr val="FFE600"/>
            </a:solidFill>
            <a:prstDash val="dash"/>
            <a:miter lim="800000"/>
          </a:ln>
          <a:effectLst/>
        </p:spPr>
        <p:txBody>
          <a:bodyPr rtlCol="0" anchor="ctr"/>
          <a:lstStyle/>
          <a:p>
            <a:pPr marL="171450" marR="0" lvl="0" indent="-171450" algn="l" defTabSz="914400" rtl="0" eaLnBrk="1" fontAlgn="auto" latinLnBrk="0" hangingPunct="1">
              <a:lnSpc>
                <a:spcPct val="100000"/>
              </a:lnSpc>
              <a:spcBef>
                <a:spcPts val="300"/>
              </a:spcBef>
              <a:spcAft>
                <a:spcPts val="300"/>
              </a:spcAft>
              <a:buSzPct val="125000"/>
              <a:buFontTx/>
              <a:buChar char="•"/>
              <a:tabLst/>
              <a:defRPr/>
            </a:pPr>
            <a:r>
              <a:rPr lang="en-IN" sz="1400" b="1" dirty="0">
                <a:solidFill>
                  <a:schemeClr val="bg1"/>
                </a:solidFill>
              </a:rPr>
              <a:t>Critical Success Factors (CSFs): </a:t>
            </a:r>
          </a:p>
          <a:p>
            <a:pPr marR="0" lvl="0" algn="l" defTabSz="914400" rtl="0" eaLnBrk="1" fontAlgn="auto" latinLnBrk="0" hangingPunct="1">
              <a:lnSpc>
                <a:spcPct val="100000"/>
              </a:lnSpc>
              <a:spcBef>
                <a:spcPts val="300"/>
              </a:spcBef>
              <a:spcAft>
                <a:spcPts val="300"/>
              </a:spcAft>
              <a:buSzPct val="125000"/>
              <a:tabLst/>
              <a:defRPr/>
            </a:pPr>
            <a:r>
              <a:rPr lang="en-IN" sz="1200" b="1" i="0" dirty="0">
                <a:solidFill>
                  <a:schemeClr val="bg1"/>
                </a:solidFill>
                <a:effectLst/>
              </a:rPr>
              <a:t>Any element necessary to perform the mission of an organization. An organization will have a few elements that must succeed in order for the organization to succeed. Example: Reliable Network Infrastructure</a:t>
            </a:r>
            <a:r>
              <a:rPr lang="en-IN" sz="1200" b="1" dirty="0">
                <a:solidFill>
                  <a:schemeClr val="bg1"/>
                </a:solidFill>
              </a:rPr>
              <a:t>. </a:t>
            </a:r>
            <a:endPar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endParaRPr>
          </a:p>
        </p:txBody>
      </p:sp>
    </p:spTree>
    <p:extLst>
      <p:ext uri="{BB962C8B-B14F-4D97-AF65-F5344CB8AC3E}">
        <p14:creationId xmlns:p14="http://schemas.microsoft.com/office/powerpoint/2010/main" val="2775541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22C4214-8094-2B96-C1FF-9B458C9C467E}"/>
              </a:ext>
            </a:extLst>
          </p:cNvPr>
          <p:cNvSpPr txBox="1"/>
          <p:nvPr/>
        </p:nvSpPr>
        <p:spPr>
          <a:xfrm>
            <a:off x="376463" y="223520"/>
            <a:ext cx="11205938"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3600" dirty="0">
                <a:solidFill>
                  <a:schemeClr val="bg1"/>
                </a:solidFill>
              </a:rPr>
              <a:t>Key elements why BIA is crucial for organizations:</a:t>
            </a:r>
          </a:p>
        </p:txBody>
      </p:sp>
      <p:sp>
        <p:nvSpPr>
          <p:cNvPr id="17" name="Rectangle 16">
            <a:extLst>
              <a:ext uri="{FF2B5EF4-FFF2-40B4-BE49-F238E27FC236}">
                <a16:creationId xmlns:a16="http://schemas.microsoft.com/office/drawing/2014/main" id="{BFB6EAC8-F8B1-4F40-81C2-536B499729EA}"/>
              </a:ext>
            </a:extLst>
          </p:cNvPr>
          <p:cNvSpPr/>
          <p:nvPr/>
        </p:nvSpPr>
        <p:spPr>
          <a:xfrm>
            <a:off x="376463" y="7885383"/>
            <a:ext cx="5522904" cy="333522"/>
          </a:xfrm>
          <a:prstGeom prst="rect">
            <a:avLst/>
          </a:prstGeom>
          <a:noFill/>
          <a:ln w="3175" cap="flat" cmpd="sng" algn="ctr">
            <a:solidFill>
              <a:srgbClr val="FFE600"/>
            </a:solidFill>
            <a:prstDash val="dash"/>
            <a:miter lim="800000"/>
          </a:ln>
          <a:effectLst/>
        </p:spPr>
        <p:txBody>
          <a:bodyPr rtlCol="0" anchor="ctr"/>
          <a:lstStyle/>
          <a:p>
            <a:pPr marR="0" lvl="0" algn="l" defTabSz="914400" rtl="0" eaLnBrk="1" fontAlgn="auto" latinLnBrk="0" hangingPunct="1">
              <a:lnSpc>
                <a:spcPct val="100000"/>
              </a:lnSpc>
              <a:spcBef>
                <a:spcPts val="300"/>
              </a:spcBef>
              <a:spcAft>
                <a:spcPts val="300"/>
              </a:spcAft>
              <a:buSzPct val="125000"/>
              <a:tabLst/>
              <a:defRPr/>
            </a:pPr>
            <a:r>
              <a:rPr kumimoji="0" lang="en-IN" sz="1200" b="1" u="none" strike="noStrike" kern="1200" cap="none" spc="0" normalizeH="0" baseline="0" noProof="0" dirty="0">
                <a:ln>
                  <a:noFill/>
                </a:ln>
                <a:solidFill>
                  <a:schemeClr val="bg1"/>
                </a:solidFill>
                <a:uLnTx/>
                <a:uFillTx/>
                <a:ea typeface="+mn-ea"/>
                <a:cs typeface="Mangal" panose="02040503050203030202" pitchFamily="18" charset="0"/>
              </a:rPr>
              <a:t>5. Reduced Downtime</a:t>
            </a:r>
            <a:endPar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endParaRPr>
          </a:p>
        </p:txBody>
      </p:sp>
      <p:sp>
        <p:nvSpPr>
          <p:cNvPr id="18" name="Rectangle 17">
            <a:extLst>
              <a:ext uri="{FF2B5EF4-FFF2-40B4-BE49-F238E27FC236}">
                <a16:creationId xmlns:a16="http://schemas.microsoft.com/office/drawing/2014/main" id="{FDAC8677-EDB9-4472-B7B3-BE5B9763B36A}"/>
              </a:ext>
            </a:extLst>
          </p:cNvPr>
          <p:cNvSpPr/>
          <p:nvPr/>
        </p:nvSpPr>
        <p:spPr>
          <a:xfrm>
            <a:off x="6148558" y="7885383"/>
            <a:ext cx="5690544" cy="333522"/>
          </a:xfrm>
          <a:prstGeom prst="rect">
            <a:avLst/>
          </a:prstGeom>
          <a:noFill/>
          <a:ln w="3175" cap="flat" cmpd="sng" algn="ctr">
            <a:solidFill>
              <a:srgbClr val="FFE600"/>
            </a:solidFill>
            <a:prstDash val="dash"/>
            <a:miter lim="800000"/>
          </a:ln>
          <a:effectLst/>
        </p:spPr>
        <p:txBody>
          <a:bodyPr rtlCol="0" anchor="ctr"/>
          <a:lstStyle/>
          <a:p>
            <a:pPr marR="0" lvl="0" algn="l" defTabSz="914400" rtl="0" eaLnBrk="1" fontAlgn="auto" latinLnBrk="0" hangingPunct="1">
              <a:lnSpc>
                <a:spcPct val="100000"/>
              </a:lnSpc>
              <a:spcBef>
                <a:spcPts val="300"/>
              </a:spcBef>
              <a:spcAft>
                <a:spcPts val="300"/>
              </a:spcAft>
              <a:buSzPct val="125000"/>
              <a:tabLst/>
              <a:defRPr/>
            </a:pPr>
            <a:r>
              <a:rPr kumimoji="0" lang="en-IN" sz="1200" b="1" u="none" strike="noStrike" kern="1200" cap="none" spc="0" normalizeH="0" baseline="0" noProof="0" dirty="0">
                <a:ln>
                  <a:noFill/>
                </a:ln>
                <a:solidFill>
                  <a:schemeClr val="bg1"/>
                </a:solidFill>
                <a:uLnTx/>
                <a:uFillTx/>
                <a:ea typeface="+mn-ea"/>
                <a:cs typeface="Mangal" panose="02040503050203030202" pitchFamily="18" charset="0"/>
              </a:rPr>
              <a:t>10. Competitive Advantage</a:t>
            </a:r>
            <a:endPar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endParaRPr>
          </a:p>
        </p:txBody>
      </p:sp>
      <p:sp>
        <p:nvSpPr>
          <p:cNvPr id="7" name="Rectangle 6">
            <a:extLst>
              <a:ext uri="{FF2B5EF4-FFF2-40B4-BE49-F238E27FC236}">
                <a16:creationId xmlns:a16="http://schemas.microsoft.com/office/drawing/2014/main" id="{324F7AAD-8AF9-7D92-A0B5-9874E45FE4DB}"/>
              </a:ext>
            </a:extLst>
          </p:cNvPr>
          <p:cNvSpPr/>
          <p:nvPr/>
        </p:nvSpPr>
        <p:spPr>
          <a:xfrm>
            <a:off x="414508" y="958826"/>
            <a:ext cx="11424594" cy="613403"/>
          </a:xfrm>
          <a:prstGeom prst="rect">
            <a:avLst/>
          </a:prstGeom>
          <a:noFill/>
          <a:ln w="3175" cap="flat" cmpd="sng" algn="ctr">
            <a:solidFill>
              <a:srgbClr val="FFE600"/>
            </a:solidFill>
            <a:prstDash val="dash"/>
            <a:miter lim="800000"/>
          </a:ln>
          <a:effectLst/>
        </p:spPr>
        <p:txBody>
          <a:bodyPr rtlCol="0" anchor="ctr"/>
          <a:lstStyle/>
          <a:p>
            <a:pPr marL="171450" marR="0" lvl="0" indent="-171450" algn="l" defTabSz="914400" rtl="0" eaLnBrk="1" fontAlgn="auto" latinLnBrk="0" hangingPunct="1">
              <a:lnSpc>
                <a:spcPct val="100000"/>
              </a:lnSpc>
              <a:spcBef>
                <a:spcPts val="300"/>
              </a:spcBef>
              <a:spcAft>
                <a:spcPts val="300"/>
              </a:spcAft>
              <a:buSzPct val="125000"/>
              <a:buFontTx/>
              <a:buChar char="•"/>
              <a:tabLst/>
              <a:defRPr/>
            </a:pPr>
            <a:r>
              <a:rPr lang="en-IN" sz="1200" b="1" i="0" dirty="0">
                <a:solidFill>
                  <a:schemeClr val="bg1"/>
                </a:solidFill>
                <a:effectLst/>
              </a:rPr>
              <a:t>Risk Identification and Prioritization:</a:t>
            </a:r>
            <a:r>
              <a:rPr lang="en-IN" sz="1200" b="0" i="0" dirty="0">
                <a:solidFill>
                  <a:schemeClr val="bg1"/>
                </a:solidFill>
                <a:effectLst/>
              </a:rPr>
              <a:t> BIA helps organizations identify potential risks and vulnerabilities that could disrupt critical business operations. By prioritizing these risks based on their potential impact, organizations can allocate resources more effectively to mitigate the most significant threats.</a:t>
            </a:r>
            <a:endPar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endParaRPr>
          </a:p>
        </p:txBody>
      </p:sp>
      <p:sp>
        <p:nvSpPr>
          <p:cNvPr id="8" name="Rectangle 7">
            <a:extLst>
              <a:ext uri="{FF2B5EF4-FFF2-40B4-BE49-F238E27FC236}">
                <a16:creationId xmlns:a16="http://schemas.microsoft.com/office/drawing/2014/main" id="{704CF3BF-FE9E-D129-A570-18AF93751C51}"/>
              </a:ext>
            </a:extLst>
          </p:cNvPr>
          <p:cNvSpPr/>
          <p:nvPr/>
        </p:nvSpPr>
        <p:spPr>
          <a:xfrm>
            <a:off x="423560" y="2427226"/>
            <a:ext cx="11424594" cy="613403"/>
          </a:xfrm>
          <a:prstGeom prst="rect">
            <a:avLst/>
          </a:prstGeom>
          <a:noFill/>
          <a:ln w="3175" cap="flat" cmpd="sng" algn="ctr">
            <a:solidFill>
              <a:srgbClr val="FFE600"/>
            </a:solidFill>
            <a:prstDash val="dash"/>
            <a:miter lim="800000"/>
          </a:ln>
          <a:effectLst/>
        </p:spPr>
        <p:txBody>
          <a:bodyPr rtlCol="0" anchor="ctr"/>
          <a:lstStyle/>
          <a:p>
            <a:pPr marL="171450" marR="0" lvl="0" indent="-171450" algn="l" defTabSz="914400" rtl="0" eaLnBrk="1" fontAlgn="auto" latinLnBrk="0" hangingPunct="1">
              <a:lnSpc>
                <a:spcPct val="100000"/>
              </a:lnSpc>
              <a:spcBef>
                <a:spcPts val="300"/>
              </a:spcBef>
              <a:spcAft>
                <a:spcPts val="300"/>
              </a:spcAft>
              <a:buSzPct val="125000"/>
              <a:buFontTx/>
              <a:buChar char="•"/>
              <a:tabLst/>
              <a:defRPr/>
            </a:pPr>
            <a:r>
              <a:rPr lang="en-IN" sz="1200" b="1" i="0" dirty="0">
                <a:solidFill>
                  <a:schemeClr val="bg1"/>
                </a:solidFill>
                <a:effectLst/>
              </a:rPr>
              <a:t>Cost Management: By understanding the potential financial impact of disruptions, organizations can develop cost-effective recovery plans. BIA helps in making informed decisions about insurance coverage, disaster recovery infrastructure, and other expenditures related to continuity planning.</a:t>
            </a:r>
            <a:endPar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endParaRPr>
          </a:p>
        </p:txBody>
      </p:sp>
      <p:sp>
        <p:nvSpPr>
          <p:cNvPr id="9" name="Rectangle 8">
            <a:extLst>
              <a:ext uri="{FF2B5EF4-FFF2-40B4-BE49-F238E27FC236}">
                <a16:creationId xmlns:a16="http://schemas.microsoft.com/office/drawing/2014/main" id="{BD7776B5-E254-59B6-8EE5-57F79C8A30C9}"/>
              </a:ext>
            </a:extLst>
          </p:cNvPr>
          <p:cNvSpPr/>
          <p:nvPr/>
        </p:nvSpPr>
        <p:spPr>
          <a:xfrm>
            <a:off x="423560" y="1693026"/>
            <a:ext cx="11424594" cy="613403"/>
          </a:xfrm>
          <a:prstGeom prst="rect">
            <a:avLst/>
          </a:prstGeom>
          <a:noFill/>
          <a:ln w="3175" cap="flat" cmpd="sng" algn="ctr">
            <a:solidFill>
              <a:srgbClr val="FFE600"/>
            </a:solidFill>
            <a:prstDash val="dash"/>
            <a:miter lim="800000"/>
          </a:ln>
          <a:effectLst/>
        </p:spPr>
        <p:txBody>
          <a:bodyPr rtlCol="0" anchor="ctr"/>
          <a:lstStyle/>
          <a:p>
            <a:pPr marL="171450" marR="0" lvl="0" indent="-171450" algn="l" defTabSz="914400" rtl="0" eaLnBrk="1" fontAlgn="auto" latinLnBrk="0" hangingPunct="1">
              <a:lnSpc>
                <a:spcPct val="100000"/>
              </a:lnSpc>
              <a:spcBef>
                <a:spcPts val="300"/>
              </a:spcBef>
              <a:spcAft>
                <a:spcPts val="300"/>
              </a:spcAft>
              <a:buSzPct val="125000"/>
              <a:buFontTx/>
              <a:buChar char="•"/>
              <a:tabLst/>
              <a:defRPr/>
            </a:pPr>
            <a:r>
              <a:rPr lang="en-IN" sz="1200" b="1" i="0" dirty="0">
                <a:solidFill>
                  <a:schemeClr val="bg1"/>
                </a:solidFill>
                <a:effectLst/>
              </a:rPr>
              <a:t>Resource Allocation:</a:t>
            </a:r>
            <a:r>
              <a:rPr lang="en-IN" sz="1200" b="0" i="0" dirty="0">
                <a:solidFill>
                  <a:schemeClr val="bg1"/>
                </a:solidFill>
                <a:effectLst/>
              </a:rPr>
              <a:t> BIA provides data that enables organizations to allocate resources strategically. It helps determine where investments should be made in terms of technology, personnel, facilities, and other critical assets to ensure business continuity</a:t>
            </a:r>
            <a:endPar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endParaRPr>
          </a:p>
        </p:txBody>
      </p:sp>
      <p:sp>
        <p:nvSpPr>
          <p:cNvPr id="19" name="Rectangle 18">
            <a:extLst>
              <a:ext uri="{FF2B5EF4-FFF2-40B4-BE49-F238E27FC236}">
                <a16:creationId xmlns:a16="http://schemas.microsoft.com/office/drawing/2014/main" id="{D10242B9-1C71-93DF-93A7-8237842CEE07}"/>
              </a:ext>
            </a:extLst>
          </p:cNvPr>
          <p:cNvSpPr/>
          <p:nvPr/>
        </p:nvSpPr>
        <p:spPr>
          <a:xfrm>
            <a:off x="414508" y="3161426"/>
            <a:ext cx="11424594" cy="613403"/>
          </a:xfrm>
          <a:prstGeom prst="rect">
            <a:avLst/>
          </a:prstGeom>
          <a:noFill/>
          <a:ln w="3175" cap="flat" cmpd="sng" algn="ctr">
            <a:solidFill>
              <a:srgbClr val="FFE600"/>
            </a:solidFill>
            <a:prstDash val="dash"/>
            <a:miter lim="800000"/>
          </a:ln>
          <a:effectLst/>
        </p:spPr>
        <p:txBody>
          <a:bodyPr rtlCol="0" anchor="ctr"/>
          <a:lstStyle/>
          <a:p>
            <a:pPr marL="171450" marR="0" lvl="0" indent="-171450" algn="l" defTabSz="914400" rtl="0" eaLnBrk="1" fontAlgn="auto" latinLnBrk="0" hangingPunct="1">
              <a:lnSpc>
                <a:spcPct val="100000"/>
              </a:lnSpc>
              <a:spcBef>
                <a:spcPts val="300"/>
              </a:spcBef>
              <a:spcAft>
                <a:spcPts val="300"/>
              </a:spcAft>
              <a:buSzPct val="125000"/>
              <a:buFontTx/>
              <a:buChar char="•"/>
              <a:tabLst/>
              <a:defRPr/>
            </a:pPr>
            <a:r>
              <a:rPr lang="en-IN" sz="1200" b="1" i="0" dirty="0">
                <a:solidFill>
                  <a:schemeClr val="bg1"/>
                </a:solidFill>
                <a:effectLst/>
              </a:rPr>
              <a:t>Reduced Downtime: With a comprehensive BIA, organizations can establish Recovery Time Objectives (RTOs) and Recovery Point Objectives (RPOs) for critical processes. This enables them to minimize downtime and maintain service levels during disruptions.</a:t>
            </a:r>
            <a:endPar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endParaRPr>
          </a:p>
        </p:txBody>
      </p:sp>
      <p:sp>
        <p:nvSpPr>
          <p:cNvPr id="20" name="Rectangle 19">
            <a:extLst>
              <a:ext uri="{FF2B5EF4-FFF2-40B4-BE49-F238E27FC236}">
                <a16:creationId xmlns:a16="http://schemas.microsoft.com/office/drawing/2014/main" id="{2B9CE4F6-1793-55A0-536E-CF8C42120352}"/>
              </a:ext>
            </a:extLst>
          </p:cNvPr>
          <p:cNvSpPr/>
          <p:nvPr/>
        </p:nvSpPr>
        <p:spPr>
          <a:xfrm>
            <a:off x="436261" y="3895626"/>
            <a:ext cx="11424594" cy="613403"/>
          </a:xfrm>
          <a:prstGeom prst="rect">
            <a:avLst/>
          </a:prstGeom>
          <a:noFill/>
          <a:ln w="3175" cap="flat" cmpd="sng" algn="ctr">
            <a:solidFill>
              <a:srgbClr val="FFE600"/>
            </a:solidFill>
            <a:prstDash val="dash"/>
            <a:miter lim="800000"/>
          </a:ln>
          <a:effectLst/>
        </p:spPr>
        <p:txBody>
          <a:bodyPr rtlCol="0" anchor="ctr"/>
          <a:lstStyle/>
          <a:p>
            <a:pPr marL="171450" indent="-171450">
              <a:spcBef>
                <a:spcPts val="300"/>
              </a:spcBef>
              <a:spcAft>
                <a:spcPts val="300"/>
              </a:spcAft>
              <a:buSzPct val="125000"/>
              <a:buFontTx/>
              <a:buChar char="•"/>
              <a:defRPr/>
            </a:pPr>
            <a:r>
              <a:rPr lang="en-IN" sz="1200" b="1" dirty="0">
                <a:solidFill>
                  <a:schemeClr val="bg1"/>
                </a:solidFill>
              </a:rPr>
              <a:t>Compliance and Regulatory Requirements: Identify gaps in the existing compliance agreements (whether regulatory like HIPAA, GDPR). Ensure compliance with cyber liability insurance policies and other IT compliance policies unique to your organization, industry, geography, etc.</a:t>
            </a:r>
            <a:endPar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endParaRPr>
          </a:p>
        </p:txBody>
      </p:sp>
      <p:sp>
        <p:nvSpPr>
          <p:cNvPr id="21" name="Rectangle 20">
            <a:extLst>
              <a:ext uri="{FF2B5EF4-FFF2-40B4-BE49-F238E27FC236}">
                <a16:creationId xmlns:a16="http://schemas.microsoft.com/office/drawing/2014/main" id="{6F7642E4-032E-46C4-257B-D4C024E1070A}"/>
              </a:ext>
            </a:extLst>
          </p:cNvPr>
          <p:cNvSpPr/>
          <p:nvPr/>
        </p:nvSpPr>
        <p:spPr>
          <a:xfrm>
            <a:off x="436261" y="4629826"/>
            <a:ext cx="11424594" cy="613403"/>
          </a:xfrm>
          <a:prstGeom prst="rect">
            <a:avLst/>
          </a:prstGeom>
          <a:noFill/>
          <a:ln w="3175" cap="flat" cmpd="sng" algn="ctr">
            <a:solidFill>
              <a:srgbClr val="FFE600"/>
            </a:solidFill>
            <a:prstDash val="dash"/>
            <a:miter lim="800000"/>
          </a:ln>
          <a:effectLst/>
        </p:spPr>
        <p:txBody>
          <a:bodyPr rtlCol="0" anchor="ctr"/>
          <a:lstStyle/>
          <a:p>
            <a:pPr marL="171450" indent="-171450">
              <a:spcBef>
                <a:spcPts val="300"/>
              </a:spcBef>
              <a:spcAft>
                <a:spcPts val="300"/>
              </a:spcAft>
              <a:buSzPct val="125000"/>
              <a:buFontTx/>
              <a:buChar char="•"/>
              <a:defRPr/>
            </a:pPr>
            <a:r>
              <a:rPr lang="en-IN" sz="1200" b="1" dirty="0">
                <a:solidFill>
                  <a:schemeClr val="bg1"/>
                </a:solidFill>
              </a:rPr>
              <a:t>Reputation Management: BIA exercises helps organisation identify the various critical risk from IT &amp; Non IT perspective and acts as an early indicator warning if there are any breaches that could be avoided as reputational damages. </a:t>
            </a:r>
          </a:p>
        </p:txBody>
      </p:sp>
      <p:sp>
        <p:nvSpPr>
          <p:cNvPr id="23" name="Rectangle 22">
            <a:extLst>
              <a:ext uri="{FF2B5EF4-FFF2-40B4-BE49-F238E27FC236}">
                <a16:creationId xmlns:a16="http://schemas.microsoft.com/office/drawing/2014/main" id="{EBF95893-D819-5FD7-2688-F3A62CD95037}"/>
              </a:ext>
            </a:extLst>
          </p:cNvPr>
          <p:cNvSpPr/>
          <p:nvPr/>
        </p:nvSpPr>
        <p:spPr>
          <a:xfrm>
            <a:off x="436261" y="5364026"/>
            <a:ext cx="11424594" cy="613403"/>
          </a:xfrm>
          <a:prstGeom prst="rect">
            <a:avLst/>
          </a:prstGeom>
          <a:noFill/>
          <a:ln w="3175" cap="flat" cmpd="sng" algn="ctr">
            <a:solidFill>
              <a:srgbClr val="FFE600"/>
            </a:solidFill>
            <a:prstDash val="dash"/>
            <a:miter lim="800000"/>
          </a:ln>
          <a:effectLst/>
        </p:spPr>
        <p:txBody>
          <a:bodyPr rtlCol="0" anchor="ctr"/>
          <a:lstStyle/>
          <a:p>
            <a:pPr marL="171450" indent="-171450">
              <a:spcBef>
                <a:spcPts val="300"/>
              </a:spcBef>
              <a:spcAft>
                <a:spcPts val="300"/>
              </a:spcAft>
              <a:buSzPct val="125000"/>
              <a:buFontTx/>
              <a:buChar char="•"/>
              <a:defRPr/>
            </a:pPr>
            <a:r>
              <a:rPr lang="en-IN" sz="1200" b="1" dirty="0">
                <a:solidFill>
                  <a:schemeClr val="bg1"/>
                </a:solidFill>
              </a:rPr>
              <a:t>Other elements include Operational Resilience, Stakeholder Confidence, Decision Support etc. which brings in more confidence in the customer / client. Ensure that clear decisions are made regarding any investment in technical aspects and also as a long-term vision of the organisation.  . </a:t>
            </a:r>
          </a:p>
        </p:txBody>
      </p:sp>
    </p:spTree>
    <p:extLst>
      <p:ext uri="{BB962C8B-B14F-4D97-AF65-F5344CB8AC3E}">
        <p14:creationId xmlns:p14="http://schemas.microsoft.com/office/powerpoint/2010/main" val="28490897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0ACC24-8488-43C0-9A0A-195C0E6ED0D1}"/>
              </a:ext>
            </a:extLst>
          </p:cNvPr>
          <p:cNvSpPr txBox="1"/>
          <p:nvPr/>
        </p:nvSpPr>
        <p:spPr>
          <a:xfrm>
            <a:off x="6669587" y="3182939"/>
            <a:ext cx="5256627" cy="470898"/>
          </a:xfrm>
          <a:prstGeom prst="rect">
            <a:avLst/>
          </a:prstGeom>
          <a:noFill/>
        </p:spPr>
        <p:txBody>
          <a:bodyPr wrap="square" lIns="0" tIns="0" rIns="0" bIns="0" rtlCol="0">
            <a:spAutoFit/>
          </a:body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IN" sz="3600" b="1" i="0" u="none" strike="noStrike" kern="1200" cap="none" spc="0" normalizeH="0" baseline="0" noProof="0" dirty="0">
                <a:ln>
                  <a:noFill/>
                </a:ln>
                <a:solidFill>
                  <a:srgbClr val="FFFFFF"/>
                </a:solidFill>
                <a:effectLst/>
                <a:uLnTx/>
                <a:uFillTx/>
                <a:latin typeface="EYInterstate Light"/>
                <a:ea typeface="+mn-ea"/>
                <a:cs typeface="Arial" pitchFamily="34" charset="0"/>
              </a:rPr>
              <a:t>Scope and Objective</a:t>
            </a:r>
            <a:endParaRPr kumimoji="0" lang="en-US" sz="3600" b="1" i="0" u="none" strike="noStrike" kern="1200" cap="none" spc="0" normalizeH="0" baseline="0" noProof="0" dirty="0">
              <a:ln>
                <a:noFill/>
              </a:ln>
              <a:solidFill>
                <a:srgbClr val="FFFFFF"/>
              </a:solidFill>
              <a:effectLst/>
              <a:uLnTx/>
              <a:uFillTx/>
              <a:latin typeface="EYInterstate Light"/>
              <a:ea typeface="+mn-ea"/>
              <a:cs typeface="Arial" pitchFamily="34" charset="0"/>
            </a:endParaRPr>
          </a:p>
        </p:txBody>
      </p:sp>
      <p:sp>
        <p:nvSpPr>
          <p:cNvPr id="3" name="TextBox 2">
            <a:extLst>
              <a:ext uri="{FF2B5EF4-FFF2-40B4-BE49-F238E27FC236}">
                <a16:creationId xmlns:a16="http://schemas.microsoft.com/office/drawing/2014/main" id="{561E47C9-B240-494C-9E62-B493CF52B358}"/>
              </a:ext>
            </a:extLst>
          </p:cNvPr>
          <p:cNvSpPr txBox="1"/>
          <p:nvPr/>
        </p:nvSpPr>
        <p:spPr>
          <a:xfrm>
            <a:off x="2894099" y="1710879"/>
            <a:ext cx="2076760" cy="1768794"/>
          </a:xfrm>
          <a:prstGeom prst="rect">
            <a:avLst/>
          </a:prstGeom>
          <a:noFill/>
        </p:spPr>
        <p:txBody>
          <a:bodyPr wrap="square" lIns="0" tIns="0" rIns="0" bIns="0" rtlCol="0">
            <a:spAutoFit/>
          </a:bodyPr>
          <a:lstStyle/>
          <a:p>
            <a:pPr marL="0" marR="0" lvl="0" indent="0" algn="l" defTabSz="913943" rtl="0" eaLnBrk="1" fontAlgn="auto" latinLnBrk="0" hangingPunct="1">
              <a:lnSpc>
                <a:spcPct val="100000"/>
              </a:lnSpc>
              <a:spcBef>
                <a:spcPts val="0"/>
              </a:spcBef>
              <a:spcAft>
                <a:spcPts val="1199"/>
              </a:spcAft>
              <a:buClrTx/>
              <a:buSzTx/>
              <a:buFontTx/>
              <a:buNone/>
              <a:tabLst/>
              <a:defRPr/>
            </a:pPr>
            <a:r>
              <a:rPr kumimoji="0" lang="en-US" sz="11494" b="1" i="0" u="none" strike="noStrike" kern="1200" cap="none" spc="0" normalizeH="0" baseline="0" noProof="0" dirty="0">
                <a:ln>
                  <a:noFill/>
                </a:ln>
                <a:solidFill>
                  <a:srgbClr val="2E2E38"/>
                </a:solidFill>
                <a:effectLst/>
                <a:uLnTx/>
                <a:uFillTx/>
                <a:latin typeface="EYInterstate Light"/>
                <a:ea typeface="+mn-ea"/>
                <a:cs typeface="+mn-cs"/>
              </a:rPr>
              <a:t>02</a:t>
            </a:r>
            <a:endParaRPr kumimoji="0" lang="en-CA" sz="11494" b="1" i="0" u="none" strike="noStrike" kern="1200" cap="none" spc="0" normalizeH="0" baseline="0" noProof="0" dirty="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14442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0F55759-1492-9F02-0863-A08285FBE928}"/>
              </a:ext>
            </a:extLst>
          </p:cNvPr>
          <p:cNvSpPr txBox="1"/>
          <p:nvPr/>
        </p:nvSpPr>
        <p:spPr>
          <a:xfrm>
            <a:off x="309540" y="223520"/>
            <a:ext cx="11272861"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3600" dirty="0">
                <a:solidFill>
                  <a:schemeClr val="bg1"/>
                </a:solidFill>
              </a:rPr>
              <a:t>Scope</a:t>
            </a:r>
          </a:p>
        </p:txBody>
      </p:sp>
      <p:sp>
        <p:nvSpPr>
          <p:cNvPr id="25" name="Rectangle 24">
            <a:extLst>
              <a:ext uri="{FF2B5EF4-FFF2-40B4-BE49-F238E27FC236}">
                <a16:creationId xmlns:a16="http://schemas.microsoft.com/office/drawing/2014/main" id="{700D6245-A0A4-4899-8D0C-2FAEB9BE078F}"/>
              </a:ext>
            </a:extLst>
          </p:cNvPr>
          <p:cNvSpPr>
            <a:spLocks/>
          </p:cNvSpPr>
          <p:nvPr/>
        </p:nvSpPr>
        <p:spPr>
          <a:xfrm>
            <a:off x="8319189" y="1132053"/>
            <a:ext cx="3514461" cy="2296947"/>
          </a:xfrm>
          <a:prstGeom prst="rect">
            <a:avLst/>
          </a:prstGeom>
          <a:solidFill>
            <a:schemeClr val="bg1">
              <a:lumMod val="85000"/>
              <a:alpha val="89804"/>
            </a:schemeClr>
          </a:solidFill>
          <a:ln w="12700" cap="sq" cmpd="sng" algn="ctr">
            <a:noFill/>
            <a:prstDash val="solid"/>
            <a:miter lim="800000"/>
            <a:tailEnd type="none"/>
          </a:ln>
          <a:effectLst/>
        </p:spPr>
        <p:txBody>
          <a:bodyPr rot="0" spcFirstLastPara="0" vertOverflow="overflow" horzOverflow="overflow" vert="horz" wrap="square" lIns="108000" tIns="72000" rIns="72000" bIns="72000" numCol="1" spcCol="0" rtlCol="0" fromWordArt="0" anchor="b" anchorCtr="0" forceAA="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r>
              <a:rPr lang="en-IN" sz="1600" b="1" i="0" dirty="0">
                <a:effectLst/>
              </a:rPr>
              <a:t>Size-Dependent Scope:</a:t>
            </a:r>
            <a:r>
              <a:rPr lang="en-IN" sz="1600" b="0" i="0" dirty="0">
                <a:solidFill>
                  <a:srgbClr val="374151"/>
                </a:solidFill>
                <a:effectLst/>
              </a:rPr>
              <a:t> The organization's size influences the BIA scope; it can encompass the entire organization for small entities or specific areas for larger ones.</a:t>
            </a:r>
            <a:endParaRPr kumimoji="0" lang="en-US" sz="1600" b="1" i="0" u="none" strike="noStrike" kern="0" cap="none" spc="0" normalizeH="0" baseline="0" noProof="0" dirty="0">
              <a:ln>
                <a:noFill/>
              </a:ln>
              <a:solidFill>
                <a:srgbClr val="000000"/>
              </a:solidFill>
              <a:effectLst/>
              <a:uLnTx/>
              <a:uFillTx/>
            </a:endParaRPr>
          </a:p>
        </p:txBody>
      </p:sp>
      <p:sp>
        <p:nvSpPr>
          <p:cNvPr id="26" name="Rectangle 25">
            <a:extLst>
              <a:ext uri="{FF2B5EF4-FFF2-40B4-BE49-F238E27FC236}">
                <a16:creationId xmlns:a16="http://schemas.microsoft.com/office/drawing/2014/main" id="{C41CFEAB-A4DA-4A36-90D9-79C6EF4EFC22}"/>
              </a:ext>
            </a:extLst>
          </p:cNvPr>
          <p:cNvSpPr>
            <a:spLocks/>
          </p:cNvSpPr>
          <p:nvPr/>
        </p:nvSpPr>
        <p:spPr>
          <a:xfrm>
            <a:off x="626657" y="2815263"/>
            <a:ext cx="3514461" cy="1530190"/>
          </a:xfrm>
          <a:prstGeom prst="rect">
            <a:avLst/>
          </a:prstGeom>
          <a:solidFill>
            <a:schemeClr val="bg1">
              <a:lumMod val="60000"/>
              <a:lumOff val="40000"/>
              <a:alpha val="63000"/>
            </a:schemeClr>
          </a:solidFill>
          <a:ln w="12700" cap="sq" cmpd="sng" algn="ctr">
            <a:noFill/>
            <a:prstDash val="solid"/>
            <a:miter lim="800000"/>
            <a:tailEnd type="none"/>
          </a:ln>
          <a:effectLst/>
        </p:spPr>
        <p:txBody>
          <a:bodyPr rot="0" spcFirstLastPara="0" vertOverflow="overflow" horzOverflow="overflow" vert="horz" wrap="square" lIns="108000" tIns="72000" rIns="72000" bIns="72000" numCol="1" spcCol="0" rtlCol="0" fromWordArt="0" anchor="b" anchorCtr="0" forceAA="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r>
              <a:rPr lang="en-IN" sz="1600" b="1" i="0" dirty="0">
                <a:effectLst/>
              </a:rPr>
              <a:t>Scope Boundaries:</a:t>
            </a:r>
            <a:r>
              <a:rPr lang="en-IN" sz="1600" b="0" i="0" dirty="0">
                <a:solidFill>
                  <a:srgbClr val="374151"/>
                </a:solidFill>
                <a:effectLst/>
              </a:rPr>
              <a:t> The scope sets clear boundaries for the BIA, ensuring a focused analysis on specific aspects.</a:t>
            </a:r>
            <a:endParaRPr kumimoji="0" lang="en-US" sz="1600" b="0" i="0" u="none" strike="noStrike" kern="0" cap="none" spc="0" normalizeH="0" baseline="0" noProof="0" dirty="0">
              <a:ln>
                <a:noFill/>
              </a:ln>
              <a:effectLst/>
              <a:uLnTx/>
              <a:uFillTx/>
            </a:endParaRPr>
          </a:p>
        </p:txBody>
      </p:sp>
      <p:sp>
        <p:nvSpPr>
          <p:cNvPr id="27" name="Rectangle 26">
            <a:extLst>
              <a:ext uri="{FF2B5EF4-FFF2-40B4-BE49-F238E27FC236}">
                <a16:creationId xmlns:a16="http://schemas.microsoft.com/office/drawing/2014/main" id="{67D5D552-871E-4297-A67E-5880626795EF}"/>
              </a:ext>
            </a:extLst>
          </p:cNvPr>
          <p:cNvSpPr>
            <a:spLocks/>
          </p:cNvSpPr>
          <p:nvPr/>
        </p:nvSpPr>
        <p:spPr>
          <a:xfrm>
            <a:off x="4492565" y="2815263"/>
            <a:ext cx="3514461" cy="1530190"/>
          </a:xfrm>
          <a:prstGeom prst="rect">
            <a:avLst/>
          </a:prstGeom>
          <a:solidFill>
            <a:srgbClr val="FFFFFF">
              <a:alpha val="62745"/>
            </a:srgbClr>
          </a:solidFill>
          <a:ln w="12700" cap="sq" cmpd="sng" algn="ctr">
            <a:noFill/>
            <a:prstDash val="solid"/>
            <a:miter lim="800000"/>
            <a:tailEnd type="none"/>
          </a:ln>
          <a:effectLst/>
        </p:spPr>
        <p:txBody>
          <a:bodyPr rot="0" spcFirstLastPara="0" vertOverflow="overflow" horzOverflow="overflow" vert="horz" wrap="square" lIns="108000" tIns="72000" rIns="72000" bIns="72000" numCol="1" spcCol="0" rtlCol="0" fromWordArt="0" anchor="b" anchorCtr="0" forceAA="0" compatLnSpc="1">
            <a:prstTxWarp prst="textNoShape">
              <a:avLst/>
            </a:prstTxWarp>
            <a:noAutofit/>
          </a:bodyPr>
          <a:lstStyle/>
          <a:p>
            <a:pPr>
              <a:defRPr/>
            </a:pPr>
            <a:r>
              <a:rPr lang="en-IN" sz="1600" b="1" i="0" dirty="0">
                <a:effectLst/>
              </a:rPr>
              <a:t>Early Scope Definition:</a:t>
            </a:r>
            <a:r>
              <a:rPr lang="en-IN" sz="1600" b="0" i="0" dirty="0">
                <a:solidFill>
                  <a:srgbClr val="374151"/>
                </a:solidFill>
                <a:effectLst/>
              </a:rPr>
              <a:t> Defining the scope of a Business Impact Analysis (BIA) at the project's outset is crucial.</a:t>
            </a:r>
            <a:endParaRPr kumimoji="0" lang="en-US" sz="1600" b="0" i="0" u="none" strike="noStrike" kern="0" cap="none" spc="0" normalizeH="0" baseline="0" noProof="0" dirty="0">
              <a:ln>
                <a:noFill/>
              </a:ln>
              <a:effectLst/>
              <a:uLnTx/>
              <a:uFillTx/>
            </a:endParaRPr>
          </a:p>
        </p:txBody>
      </p:sp>
      <p:sp>
        <p:nvSpPr>
          <p:cNvPr id="48" name="Rectangle 47">
            <a:extLst>
              <a:ext uri="{FF2B5EF4-FFF2-40B4-BE49-F238E27FC236}">
                <a16:creationId xmlns:a16="http://schemas.microsoft.com/office/drawing/2014/main" id="{D8F4DF86-D1B5-4B30-80A6-B0FEFE188C6B}"/>
              </a:ext>
            </a:extLst>
          </p:cNvPr>
          <p:cNvSpPr>
            <a:spLocks/>
          </p:cNvSpPr>
          <p:nvPr/>
        </p:nvSpPr>
        <p:spPr>
          <a:xfrm>
            <a:off x="8338489" y="3572860"/>
            <a:ext cx="3514461" cy="2378481"/>
          </a:xfrm>
          <a:prstGeom prst="rect">
            <a:avLst/>
          </a:prstGeom>
          <a:solidFill>
            <a:schemeClr val="bg1">
              <a:lumMod val="60000"/>
              <a:lumOff val="40000"/>
              <a:alpha val="63000"/>
            </a:schemeClr>
          </a:solidFill>
          <a:ln w="12700" cap="sq" cmpd="sng" algn="ctr">
            <a:noFill/>
            <a:prstDash val="solid"/>
            <a:miter lim="800000"/>
            <a:tailEnd type="none"/>
          </a:ln>
          <a:effectLst/>
        </p:spPr>
        <p:txBody>
          <a:bodyPr rot="0" spcFirstLastPara="0" vertOverflow="overflow" horzOverflow="overflow" vert="horz" wrap="square" lIns="108000" tIns="72000" rIns="72000" bIns="72000" numCol="1" spcCol="0" rtlCol="0" fromWordArt="0" anchor="b" anchorCtr="0" forceAA="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r>
              <a:rPr lang="en-IN" sz="1600" b="1" i="0" dirty="0">
                <a:effectLst/>
              </a:rPr>
              <a:t>Phase-Based Analysis:</a:t>
            </a:r>
            <a:r>
              <a:rPr lang="en-IN" sz="1600" b="0" i="0" dirty="0">
                <a:solidFill>
                  <a:srgbClr val="374151"/>
                </a:solidFill>
                <a:effectLst/>
              </a:rPr>
              <a:t> The BIA can be phase-based, focusing on critical functions, such as those supporting online sales, while excluding non-critical phases like product shipment</a:t>
            </a:r>
            <a:endParaRPr kumimoji="0" lang="en-US" sz="1600" b="0" i="0" u="none" strike="noStrike" kern="0" cap="none" spc="0" normalizeH="0" baseline="0" noProof="0" dirty="0">
              <a:ln>
                <a:noFill/>
              </a:ln>
              <a:effectLst/>
              <a:uLnTx/>
              <a:uFillTx/>
            </a:endParaRPr>
          </a:p>
        </p:txBody>
      </p:sp>
      <p:sp>
        <p:nvSpPr>
          <p:cNvPr id="49" name="Rectangle 48">
            <a:extLst>
              <a:ext uri="{FF2B5EF4-FFF2-40B4-BE49-F238E27FC236}">
                <a16:creationId xmlns:a16="http://schemas.microsoft.com/office/drawing/2014/main" id="{12AFB5BA-8EDD-4CEF-B3C7-5C0319A5558F}"/>
              </a:ext>
            </a:extLst>
          </p:cNvPr>
          <p:cNvSpPr>
            <a:spLocks/>
          </p:cNvSpPr>
          <p:nvPr/>
        </p:nvSpPr>
        <p:spPr>
          <a:xfrm>
            <a:off x="620232" y="4498471"/>
            <a:ext cx="7369280" cy="1446526"/>
          </a:xfrm>
          <a:prstGeom prst="rect">
            <a:avLst/>
          </a:prstGeom>
          <a:solidFill>
            <a:schemeClr val="bg1">
              <a:lumMod val="60000"/>
              <a:lumOff val="40000"/>
              <a:alpha val="63000"/>
            </a:schemeClr>
          </a:solidFill>
          <a:ln w="12700" cap="sq" cmpd="sng" algn="ctr">
            <a:noFill/>
            <a:prstDash val="solid"/>
            <a:miter lim="800000"/>
            <a:tailEnd type="none"/>
          </a:ln>
          <a:effectLst/>
        </p:spPr>
        <p:txBody>
          <a:bodyPr rot="0" spcFirstLastPara="0" vertOverflow="overflow" horzOverflow="overflow" vert="horz" wrap="square" lIns="108000" tIns="72000" rIns="72000" bIns="72000" numCol="1" spcCol="0" rtlCol="0" fromWordArt="0" anchor="b" anchorCtr="0" forceAA="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r>
              <a:rPr lang="en-IN" sz="1600" b="1" i="0" dirty="0">
                <a:effectLst/>
              </a:rPr>
              <a:t>Importance of Clear Scope:</a:t>
            </a:r>
            <a:r>
              <a:rPr lang="en-IN" sz="1600" b="0" i="0" dirty="0">
                <a:solidFill>
                  <a:srgbClr val="374151"/>
                </a:solidFill>
                <a:effectLst/>
              </a:rPr>
              <a:t> It's crucial to define the scope clearly to prevent misinterpretation. Well-defined scope statements ensure the BIA is comprehensive and cost-effective.</a:t>
            </a:r>
            <a:endParaRPr kumimoji="0" lang="en-US" sz="1600" b="0" i="0" u="none" strike="noStrike" kern="0" cap="none" spc="0" normalizeH="0" baseline="0" noProof="0" dirty="0">
              <a:ln>
                <a:noFill/>
              </a:ln>
              <a:effectLst/>
              <a:uLnTx/>
              <a:uFillTx/>
            </a:endParaRPr>
          </a:p>
        </p:txBody>
      </p:sp>
      <p:sp>
        <p:nvSpPr>
          <p:cNvPr id="51" name="Rectangle 50">
            <a:extLst>
              <a:ext uri="{FF2B5EF4-FFF2-40B4-BE49-F238E27FC236}">
                <a16:creationId xmlns:a16="http://schemas.microsoft.com/office/drawing/2014/main" id="{47D4E207-10E1-4F0E-8BCB-A65F6F0E89DF}"/>
              </a:ext>
            </a:extLst>
          </p:cNvPr>
          <p:cNvSpPr/>
          <p:nvPr/>
        </p:nvSpPr>
        <p:spPr>
          <a:xfrm>
            <a:off x="649612" y="931243"/>
            <a:ext cx="7380368" cy="1530190"/>
          </a:xfrm>
          <a:prstGeom prst="rect">
            <a:avLst/>
          </a:prstGeom>
          <a:solidFill>
            <a:srgbClr val="000000">
              <a:lumMod val="95000"/>
              <a:lumOff val="5000"/>
              <a:alpha val="9000"/>
            </a:srgbClr>
          </a:solidFill>
          <a:ln w="12700" cap="sq" cmpd="sng" algn="ctr">
            <a:noFill/>
            <a:prstDash val="solid"/>
            <a:miter lim="800000"/>
            <a:tailEnd type="none"/>
          </a:ln>
          <a:effectLst/>
        </p:spPr>
        <p:txBody>
          <a:bodyPr rot="0" spcFirstLastPara="0" vertOverflow="overflow" horzOverflow="overflow" vert="horz" wrap="square" lIns="108000" tIns="72000" rIns="0" bIns="72000" numCol="1" spcCol="0" rtlCol="0" fromWordArt="0" anchor="b" anchorCtr="0" forceAA="0" compatLnSpc="1">
            <a:prstTxWarp prst="textNoShape">
              <a:avLst/>
            </a:prstTxWarp>
            <a:noAutofit/>
          </a:bodyPr>
          <a:lstStyle/>
          <a:p>
            <a:pPr marL="0" marR="0" lvl="0" indent="0" defTabSz="914400" eaLnBrk="1" fontAlgn="auto" latinLnBrk="0" hangingPunct="1">
              <a:lnSpc>
                <a:spcPct val="80000"/>
              </a:lnSpc>
              <a:spcBef>
                <a:spcPts val="0"/>
              </a:spcBef>
              <a:spcAft>
                <a:spcPts val="0"/>
              </a:spcAft>
              <a:buClrTx/>
              <a:buSzTx/>
              <a:buFontTx/>
              <a:buNone/>
              <a:tabLst/>
              <a:defRPr/>
            </a:pPr>
            <a:endParaRPr kumimoji="0" lang="en-US" sz="5400" b="0" i="0" u="none" strike="noStrike" kern="0" cap="none" spc="0" normalizeH="0" baseline="0" noProof="0" dirty="0">
              <a:ln>
                <a:noFill/>
              </a:ln>
              <a:solidFill>
                <a:srgbClr val="FFFFFF">
                  <a:alpha val="50000"/>
                </a:srgbClr>
              </a:solidFill>
              <a:effectLst/>
              <a:uLnTx/>
              <a:uFillTx/>
            </a:endParaRPr>
          </a:p>
        </p:txBody>
      </p:sp>
      <p:sp>
        <p:nvSpPr>
          <p:cNvPr id="52" name="TextBox 51">
            <a:extLst>
              <a:ext uri="{FF2B5EF4-FFF2-40B4-BE49-F238E27FC236}">
                <a16:creationId xmlns:a16="http://schemas.microsoft.com/office/drawing/2014/main" id="{8978B5A8-FEBE-4CBA-84B5-EC0C2B627612}"/>
              </a:ext>
            </a:extLst>
          </p:cNvPr>
          <p:cNvSpPr txBox="1">
            <a:spLocks/>
          </p:cNvSpPr>
          <p:nvPr/>
        </p:nvSpPr>
        <p:spPr>
          <a:xfrm>
            <a:off x="8391506" y="1067277"/>
            <a:ext cx="3501586" cy="1221630"/>
          </a:xfrm>
          <a:prstGeom prst="rect">
            <a:avLst/>
          </a:prstGeom>
          <a:noFill/>
          <a:ln w="12700" cap="sq">
            <a:noFill/>
            <a:miter lim="800000"/>
          </a:ln>
        </p:spPr>
        <p:txBody>
          <a:bodyPr wrap="square" lIns="72000" tIns="0" rIns="0" bIns="0" rtlCol="0">
            <a:noAutofit/>
          </a:bodyPr>
          <a:lstStyle/>
          <a:p>
            <a:pPr marL="0" marR="0" lvl="0" indent="0" defTabSz="685434" eaLnBrk="1" fontAlgn="auto" latinLnBrk="0" hangingPunct="1">
              <a:lnSpc>
                <a:spcPct val="100000"/>
              </a:lnSpc>
              <a:spcBef>
                <a:spcPct val="20000"/>
              </a:spcBef>
              <a:spcAft>
                <a:spcPts val="0"/>
              </a:spcAft>
              <a:buClr>
                <a:srgbClr val="FFE600"/>
              </a:buClr>
              <a:buSzPct val="80000"/>
              <a:buFontTx/>
              <a:buNone/>
              <a:tabLst/>
              <a:defRPr/>
            </a:pPr>
            <a:r>
              <a:rPr kumimoji="0" lang="en-US" sz="3200" b="0" i="0" u="none" strike="noStrike" kern="0" cap="none" spc="0" normalizeH="0" baseline="0" noProof="0" dirty="0">
                <a:ln>
                  <a:noFill/>
                </a:ln>
                <a:solidFill>
                  <a:schemeClr val="bg1"/>
                </a:solidFill>
                <a:effectLst/>
                <a:uLnTx/>
                <a:uFillTx/>
              </a:rPr>
              <a:t>1</a:t>
            </a:r>
          </a:p>
        </p:txBody>
      </p:sp>
      <p:sp>
        <p:nvSpPr>
          <p:cNvPr id="53" name="TextBox 52">
            <a:extLst>
              <a:ext uri="{FF2B5EF4-FFF2-40B4-BE49-F238E27FC236}">
                <a16:creationId xmlns:a16="http://schemas.microsoft.com/office/drawing/2014/main" id="{CBC42663-817F-4883-B245-FD56B08E3D7C}"/>
              </a:ext>
            </a:extLst>
          </p:cNvPr>
          <p:cNvSpPr txBox="1">
            <a:spLocks/>
          </p:cNvSpPr>
          <p:nvPr/>
        </p:nvSpPr>
        <p:spPr>
          <a:xfrm>
            <a:off x="649612" y="2751683"/>
            <a:ext cx="3501586" cy="838868"/>
          </a:xfrm>
          <a:prstGeom prst="rect">
            <a:avLst/>
          </a:prstGeom>
          <a:noFill/>
          <a:ln w="12700" cap="sq">
            <a:noFill/>
            <a:miter lim="800000"/>
          </a:ln>
        </p:spPr>
        <p:txBody>
          <a:bodyPr wrap="square" lIns="72000" tIns="0" rIns="0" bIns="0" rtlCol="0" anchor="t">
            <a:noAutofit/>
          </a:bodyPr>
          <a:lstStyle/>
          <a:p>
            <a:pPr marL="0" marR="0" lvl="0" indent="0" defTabSz="685434" eaLnBrk="1" fontAlgn="auto" latinLnBrk="0" hangingPunct="1">
              <a:lnSpc>
                <a:spcPct val="100000"/>
              </a:lnSpc>
              <a:spcBef>
                <a:spcPct val="20000"/>
              </a:spcBef>
              <a:spcAft>
                <a:spcPts val="0"/>
              </a:spcAft>
              <a:buClr>
                <a:srgbClr val="FFE600"/>
              </a:buClr>
              <a:buSzPct val="80000"/>
              <a:buFontTx/>
              <a:buNone/>
              <a:tabLst/>
              <a:defRPr/>
            </a:pPr>
            <a:r>
              <a:rPr kumimoji="0" lang="en-US" sz="3200" b="0" i="0" u="none" strike="noStrike" kern="0" cap="none" spc="0" normalizeH="0" baseline="0" noProof="0" dirty="0">
                <a:ln>
                  <a:noFill/>
                </a:ln>
                <a:solidFill>
                  <a:srgbClr val="FFFFFF"/>
                </a:solidFill>
                <a:effectLst/>
                <a:uLnTx/>
                <a:uFillTx/>
              </a:rPr>
              <a:t>2</a:t>
            </a:r>
          </a:p>
        </p:txBody>
      </p:sp>
      <p:sp>
        <p:nvSpPr>
          <p:cNvPr id="54" name="TextBox 53">
            <a:extLst>
              <a:ext uri="{FF2B5EF4-FFF2-40B4-BE49-F238E27FC236}">
                <a16:creationId xmlns:a16="http://schemas.microsoft.com/office/drawing/2014/main" id="{6842545C-D53B-40DD-8B19-856D92F5B10A}"/>
              </a:ext>
            </a:extLst>
          </p:cNvPr>
          <p:cNvSpPr txBox="1">
            <a:spLocks/>
          </p:cNvSpPr>
          <p:nvPr/>
        </p:nvSpPr>
        <p:spPr>
          <a:xfrm>
            <a:off x="4511369" y="2751683"/>
            <a:ext cx="3501586" cy="838868"/>
          </a:xfrm>
          <a:prstGeom prst="rect">
            <a:avLst/>
          </a:prstGeom>
          <a:noFill/>
          <a:ln w="12700" cap="sq">
            <a:noFill/>
            <a:miter lim="800000"/>
          </a:ln>
        </p:spPr>
        <p:txBody>
          <a:bodyPr wrap="square" lIns="72000" tIns="0" rIns="0" bIns="0" rtlCol="0" anchor="t">
            <a:noAutofit/>
          </a:bodyPr>
          <a:lstStyle/>
          <a:p>
            <a:pPr marL="0" marR="0" lvl="0" indent="0" defTabSz="685434" eaLnBrk="1" fontAlgn="auto" latinLnBrk="0" hangingPunct="1">
              <a:lnSpc>
                <a:spcPct val="100000"/>
              </a:lnSpc>
              <a:spcBef>
                <a:spcPct val="20000"/>
              </a:spcBef>
              <a:spcAft>
                <a:spcPts val="0"/>
              </a:spcAft>
              <a:buClr>
                <a:srgbClr val="FFE600"/>
              </a:buClr>
              <a:buSzPct val="80000"/>
              <a:buFontTx/>
              <a:buNone/>
              <a:tabLst/>
              <a:defRPr/>
            </a:pPr>
            <a:r>
              <a:rPr kumimoji="0" lang="en-US" sz="3200" b="0" i="0" u="none" strike="noStrike" kern="0" cap="none" spc="0" normalizeH="0" baseline="0" noProof="0" dirty="0">
                <a:ln>
                  <a:noFill/>
                </a:ln>
                <a:solidFill>
                  <a:srgbClr val="FFFFFF"/>
                </a:solidFill>
                <a:effectLst/>
                <a:uLnTx/>
                <a:uFillTx/>
              </a:rPr>
              <a:t>3</a:t>
            </a:r>
          </a:p>
        </p:txBody>
      </p:sp>
      <p:sp>
        <p:nvSpPr>
          <p:cNvPr id="55" name="TextBox 54">
            <a:extLst>
              <a:ext uri="{FF2B5EF4-FFF2-40B4-BE49-F238E27FC236}">
                <a16:creationId xmlns:a16="http://schemas.microsoft.com/office/drawing/2014/main" id="{AC564BC8-276A-46FF-B95C-50BAB7C8F5A0}"/>
              </a:ext>
            </a:extLst>
          </p:cNvPr>
          <p:cNvSpPr txBox="1"/>
          <p:nvPr/>
        </p:nvSpPr>
        <p:spPr>
          <a:xfrm>
            <a:off x="8332064" y="3678865"/>
            <a:ext cx="3501586" cy="1303911"/>
          </a:xfrm>
          <a:prstGeom prst="rect">
            <a:avLst/>
          </a:prstGeom>
          <a:noFill/>
          <a:ln w="12700" cap="sq">
            <a:noFill/>
            <a:miter lim="800000"/>
          </a:ln>
        </p:spPr>
        <p:txBody>
          <a:bodyPr wrap="square" lIns="72000" tIns="0" rIns="0" bIns="0" rtlCol="0" anchor="t">
            <a:noAutofit/>
          </a:bodyPr>
          <a:lstStyle/>
          <a:p>
            <a:pPr marL="0" marR="0" lvl="0" indent="0" defTabSz="685434" eaLnBrk="1" fontAlgn="auto" latinLnBrk="0" hangingPunct="1">
              <a:lnSpc>
                <a:spcPct val="100000"/>
              </a:lnSpc>
              <a:spcBef>
                <a:spcPct val="20000"/>
              </a:spcBef>
              <a:spcAft>
                <a:spcPts val="0"/>
              </a:spcAft>
              <a:buClr>
                <a:srgbClr val="FFE600"/>
              </a:buClr>
              <a:buSzPct val="80000"/>
              <a:buFontTx/>
              <a:buNone/>
              <a:tabLst/>
              <a:defRPr/>
            </a:pPr>
            <a:r>
              <a:rPr kumimoji="0" lang="en-US" sz="3200" b="0" i="0" u="none" strike="noStrike" kern="0" cap="none" spc="0" normalizeH="0" baseline="0" noProof="0" dirty="0">
                <a:ln>
                  <a:noFill/>
                </a:ln>
                <a:solidFill>
                  <a:srgbClr val="FFFFFF"/>
                </a:solidFill>
                <a:effectLst/>
                <a:uLnTx/>
                <a:uFillTx/>
              </a:rPr>
              <a:t>4</a:t>
            </a:r>
          </a:p>
        </p:txBody>
      </p:sp>
      <p:sp>
        <p:nvSpPr>
          <p:cNvPr id="56" name="TextBox 55">
            <a:extLst>
              <a:ext uri="{FF2B5EF4-FFF2-40B4-BE49-F238E27FC236}">
                <a16:creationId xmlns:a16="http://schemas.microsoft.com/office/drawing/2014/main" id="{6F21F92B-0B91-4733-83FF-D1148B2AB07F}"/>
              </a:ext>
            </a:extLst>
          </p:cNvPr>
          <p:cNvSpPr txBox="1"/>
          <p:nvPr/>
        </p:nvSpPr>
        <p:spPr>
          <a:xfrm>
            <a:off x="643186" y="4501770"/>
            <a:ext cx="7480088" cy="507831"/>
          </a:xfrm>
          <a:prstGeom prst="rect">
            <a:avLst/>
          </a:prstGeom>
          <a:noFill/>
          <a:ln w="12700" cap="sq">
            <a:noFill/>
            <a:miter lim="800000"/>
          </a:ln>
        </p:spPr>
        <p:txBody>
          <a:bodyPr wrap="square" lIns="72000" tIns="0" rIns="0" bIns="0" rtlCol="0" anchor="t">
            <a:noAutofit/>
          </a:bodyPr>
          <a:lstStyle/>
          <a:p>
            <a:pPr marL="0" marR="0" lvl="0" indent="0" defTabSz="685434" eaLnBrk="1" fontAlgn="auto" latinLnBrk="0" hangingPunct="1">
              <a:lnSpc>
                <a:spcPct val="100000"/>
              </a:lnSpc>
              <a:spcBef>
                <a:spcPct val="20000"/>
              </a:spcBef>
              <a:spcAft>
                <a:spcPts val="0"/>
              </a:spcAft>
              <a:buClr>
                <a:srgbClr val="FFE600"/>
              </a:buClr>
              <a:buSzPct val="80000"/>
              <a:buFontTx/>
              <a:buNone/>
              <a:tabLst/>
              <a:defRPr/>
            </a:pPr>
            <a:r>
              <a:rPr kumimoji="0" lang="en-US" sz="3200" b="0" i="0" u="none" strike="noStrike" kern="0" cap="none" spc="0" normalizeH="0" baseline="0" noProof="0" dirty="0">
                <a:ln>
                  <a:noFill/>
                </a:ln>
                <a:solidFill>
                  <a:srgbClr val="FFFFFF"/>
                </a:solidFill>
                <a:effectLst/>
                <a:uLnTx/>
                <a:uFillTx/>
              </a:rPr>
              <a:t>5</a:t>
            </a:r>
          </a:p>
        </p:txBody>
      </p:sp>
      <p:sp>
        <p:nvSpPr>
          <p:cNvPr id="57" name="Rectangle 56">
            <a:extLst>
              <a:ext uri="{FF2B5EF4-FFF2-40B4-BE49-F238E27FC236}">
                <a16:creationId xmlns:a16="http://schemas.microsoft.com/office/drawing/2014/main" id="{802DDA08-7C92-4446-BAF1-B8EA748D085B}"/>
              </a:ext>
            </a:extLst>
          </p:cNvPr>
          <p:cNvSpPr>
            <a:spLocks/>
          </p:cNvSpPr>
          <p:nvPr/>
        </p:nvSpPr>
        <p:spPr>
          <a:xfrm>
            <a:off x="634781" y="4498471"/>
            <a:ext cx="3514461" cy="1530190"/>
          </a:xfrm>
          <a:prstGeom prst="rect">
            <a:avLst/>
          </a:prstGeom>
          <a:noFill/>
          <a:ln w="12700" cap="sq" cmpd="sng" algn="ctr">
            <a:noFill/>
            <a:prstDash val="solid"/>
            <a:miter lim="800000"/>
            <a:tailEnd type="none"/>
          </a:ln>
          <a:effectLst/>
        </p:spPr>
        <p:txBody>
          <a:bodyPr rot="0" spcFirstLastPara="0" vertOverflow="overflow" horzOverflow="overflow" vert="horz" wrap="square" lIns="108000" tIns="72000" rIns="0" bIns="72000" numCol="1" spcCol="0" rtlCol="0" fromWordArt="0" anchor="b" anchorCtr="0" forceAA="0" compatLnSpc="1">
            <a:prstTxWarp prst="textNoShape">
              <a:avLst/>
            </a:prstTxWarp>
            <a:noAutofit/>
          </a:bodyPr>
          <a:lstStyle/>
          <a:p>
            <a:pPr marL="0" marR="0" lvl="0" indent="0" defTabSz="914400" eaLnBrk="1" fontAlgn="auto" latinLnBrk="0" hangingPunct="1">
              <a:lnSpc>
                <a:spcPct val="8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8" name="Rectangle 57">
            <a:extLst>
              <a:ext uri="{FF2B5EF4-FFF2-40B4-BE49-F238E27FC236}">
                <a16:creationId xmlns:a16="http://schemas.microsoft.com/office/drawing/2014/main" id="{B684B0C6-ECA2-4257-BBC3-5C74BD9637CB}"/>
              </a:ext>
            </a:extLst>
          </p:cNvPr>
          <p:cNvSpPr/>
          <p:nvPr/>
        </p:nvSpPr>
        <p:spPr>
          <a:xfrm>
            <a:off x="526372" y="1215719"/>
            <a:ext cx="7164409" cy="1600438"/>
          </a:xfrm>
          <a:prstGeom prst="rect">
            <a:avLst/>
          </a:prstGeom>
        </p:spPr>
        <p:txBody>
          <a:bodyPr wrap="square">
            <a:spAutoFit/>
          </a:bodyPr>
          <a:lstStyle/>
          <a:p>
            <a:r>
              <a:rPr lang="en-IN" sz="1400" b="0" i="0" dirty="0">
                <a:solidFill>
                  <a:schemeClr val="bg1"/>
                </a:solidFill>
                <a:effectLst/>
              </a:rPr>
              <a:t>Defining the early scope of a Business Impact Analysis (BIA) is crucial for maintaining focus. The scope depends on the organization's size; smaller ones may encompass everything, while larger ones might target specific areas. It's essential to distinguish critical phases, like online sales, from less critical ones, like product shipment. A clear scope statement prevents misinterpretation and ensures the BIA accurately identifies vital functions for continuity. </a:t>
            </a:r>
            <a:br>
              <a:rPr lang="en-IN" sz="1400" dirty="0">
                <a:solidFill>
                  <a:schemeClr val="bg1"/>
                </a:solidFill>
              </a:rPr>
            </a:br>
            <a:r>
              <a:rPr lang="en-IN" sz="1400" dirty="0">
                <a:solidFill>
                  <a:schemeClr val="bg1"/>
                </a:solidFill>
              </a:rPr>
              <a:t>The following points can help us understand and analyse the scope of BIA:</a:t>
            </a:r>
            <a:endParaRPr lang="en-IN" sz="1400" b="0" i="0" dirty="0">
              <a:solidFill>
                <a:schemeClr val="bg1"/>
              </a:solidFill>
              <a:effectLst/>
            </a:endParaRPr>
          </a:p>
        </p:txBody>
      </p:sp>
      <p:sp>
        <p:nvSpPr>
          <p:cNvPr id="59" name="Rectangle: Rounded Corners 58">
            <a:extLst>
              <a:ext uri="{FF2B5EF4-FFF2-40B4-BE49-F238E27FC236}">
                <a16:creationId xmlns:a16="http://schemas.microsoft.com/office/drawing/2014/main" id="{ADCAB8E8-4407-4408-A05E-DCEB6BB0B460}"/>
              </a:ext>
            </a:extLst>
          </p:cNvPr>
          <p:cNvSpPr/>
          <p:nvPr/>
        </p:nvSpPr>
        <p:spPr>
          <a:xfrm>
            <a:off x="591918" y="1034128"/>
            <a:ext cx="1231723" cy="70943"/>
          </a:xfrm>
          <a:prstGeom prst="roundRect">
            <a:avLst>
              <a:gd name="adj" fmla="val 50000"/>
            </a:avLst>
          </a:prstGeom>
          <a:solidFill>
            <a:srgbClr val="FFE60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4199066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994091E-296F-FE4D-766C-89802AE41C39}"/>
              </a:ext>
            </a:extLst>
          </p:cNvPr>
          <p:cNvSpPr txBox="1"/>
          <p:nvPr/>
        </p:nvSpPr>
        <p:spPr>
          <a:xfrm>
            <a:off x="376463" y="223520"/>
            <a:ext cx="11205938"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3600" dirty="0">
                <a:solidFill>
                  <a:schemeClr val="bg1"/>
                </a:solidFill>
              </a:rPr>
              <a:t>Objective</a:t>
            </a:r>
          </a:p>
        </p:txBody>
      </p:sp>
      <p:sp>
        <p:nvSpPr>
          <p:cNvPr id="127" name="Rectangle: Rounded Corners 126">
            <a:extLst>
              <a:ext uri="{FF2B5EF4-FFF2-40B4-BE49-F238E27FC236}">
                <a16:creationId xmlns:a16="http://schemas.microsoft.com/office/drawing/2014/main" id="{57EBF6E5-7EAF-4D9A-9530-42480636CDC4}"/>
              </a:ext>
            </a:extLst>
          </p:cNvPr>
          <p:cNvSpPr/>
          <p:nvPr/>
        </p:nvSpPr>
        <p:spPr>
          <a:xfrm>
            <a:off x="431156" y="2331085"/>
            <a:ext cx="2535045" cy="3011077"/>
          </a:xfrm>
          <a:prstGeom prst="roundRect">
            <a:avLst/>
          </a:prstGeom>
          <a:solidFill>
            <a:schemeClr val="bg1">
              <a:alpha val="70000"/>
            </a:schemeClr>
          </a:solidFill>
          <a:ln w="6350">
            <a:solidFill>
              <a:schemeClr val="bg1">
                <a:lumMod val="20000"/>
                <a:lumOff val="80000"/>
              </a:schemeClr>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00" dirty="0">
              <a:solidFill>
                <a:schemeClr val="tx1"/>
              </a:solidFill>
            </a:endParaRPr>
          </a:p>
        </p:txBody>
      </p:sp>
      <p:sp>
        <p:nvSpPr>
          <p:cNvPr id="128" name="TextBox 127">
            <a:extLst>
              <a:ext uri="{FF2B5EF4-FFF2-40B4-BE49-F238E27FC236}">
                <a16:creationId xmlns:a16="http://schemas.microsoft.com/office/drawing/2014/main" id="{BF37D9E6-5E03-4C6B-AB82-385728C5E8B2}"/>
              </a:ext>
            </a:extLst>
          </p:cNvPr>
          <p:cNvSpPr txBox="1"/>
          <p:nvPr/>
        </p:nvSpPr>
        <p:spPr>
          <a:xfrm>
            <a:off x="640144" y="2523198"/>
            <a:ext cx="1015571" cy="523220"/>
          </a:xfrm>
          <a:prstGeom prst="rect">
            <a:avLst/>
          </a:prstGeom>
          <a:noFill/>
        </p:spPr>
        <p:txBody>
          <a:bodyPr wrap="square">
            <a:spAutoFit/>
          </a:bodyPr>
          <a:lstStyle/>
          <a:p>
            <a:pPr algn="ctr"/>
            <a:r>
              <a:rPr lang="en-IN" sz="2800" b="1" dirty="0">
                <a:solidFill>
                  <a:schemeClr val="tx2"/>
                </a:solidFill>
              </a:rPr>
              <a:t>01</a:t>
            </a:r>
          </a:p>
        </p:txBody>
      </p:sp>
      <p:cxnSp>
        <p:nvCxnSpPr>
          <p:cNvPr id="129" name="Straight Connector 128">
            <a:extLst>
              <a:ext uri="{FF2B5EF4-FFF2-40B4-BE49-F238E27FC236}">
                <a16:creationId xmlns:a16="http://schemas.microsoft.com/office/drawing/2014/main" id="{860E2D61-0EA3-4E55-A9EB-49FE787C2474}"/>
              </a:ext>
            </a:extLst>
          </p:cNvPr>
          <p:cNvCxnSpPr>
            <a:cxnSpLocks/>
          </p:cNvCxnSpPr>
          <p:nvPr/>
        </p:nvCxnSpPr>
        <p:spPr>
          <a:xfrm>
            <a:off x="829754" y="3159644"/>
            <a:ext cx="2054506" cy="0"/>
          </a:xfrm>
          <a:prstGeom prst="line">
            <a:avLst/>
          </a:prstGeom>
          <a:ln w="9525">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85E74DEE-D9B5-4DA0-9840-4E372F314EDF}"/>
              </a:ext>
            </a:extLst>
          </p:cNvPr>
          <p:cNvSpPr/>
          <p:nvPr/>
        </p:nvSpPr>
        <p:spPr>
          <a:xfrm>
            <a:off x="601215" y="3284034"/>
            <a:ext cx="2220171" cy="646331"/>
          </a:xfrm>
          <a:prstGeom prst="rect">
            <a:avLst/>
          </a:prstGeom>
        </p:spPr>
        <p:txBody>
          <a:bodyPr wrap="square">
            <a:spAutoFit/>
          </a:bodyPr>
          <a:lstStyle/>
          <a:p>
            <a:r>
              <a:rPr lang="en-IN" b="1" dirty="0"/>
              <a:t>Identify Critical Business Functions</a:t>
            </a:r>
          </a:p>
        </p:txBody>
      </p:sp>
      <p:sp>
        <p:nvSpPr>
          <p:cNvPr id="131" name="Rectangle: Rounded Corners 130">
            <a:extLst>
              <a:ext uri="{FF2B5EF4-FFF2-40B4-BE49-F238E27FC236}">
                <a16:creationId xmlns:a16="http://schemas.microsoft.com/office/drawing/2014/main" id="{EBFAAE1E-B78C-46A3-9199-4B19CCB0644A}"/>
              </a:ext>
            </a:extLst>
          </p:cNvPr>
          <p:cNvSpPr/>
          <p:nvPr/>
        </p:nvSpPr>
        <p:spPr>
          <a:xfrm>
            <a:off x="748490" y="3128562"/>
            <a:ext cx="754331" cy="66589"/>
          </a:xfrm>
          <a:prstGeom prst="roundRect">
            <a:avLst>
              <a:gd name="adj" fmla="val 5000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00" dirty="0">
              <a:solidFill>
                <a:schemeClr val="tx1"/>
              </a:solidFill>
            </a:endParaRPr>
          </a:p>
        </p:txBody>
      </p:sp>
      <p:sp>
        <p:nvSpPr>
          <p:cNvPr id="135" name="Rectangle 134">
            <a:extLst>
              <a:ext uri="{FF2B5EF4-FFF2-40B4-BE49-F238E27FC236}">
                <a16:creationId xmlns:a16="http://schemas.microsoft.com/office/drawing/2014/main" id="{D4CDDFF3-7566-4EE1-A34C-235B0B660D11}"/>
              </a:ext>
            </a:extLst>
          </p:cNvPr>
          <p:cNvSpPr/>
          <p:nvPr/>
        </p:nvSpPr>
        <p:spPr>
          <a:xfrm>
            <a:off x="3003162" y="3284034"/>
            <a:ext cx="1815123" cy="923330"/>
          </a:xfrm>
          <a:prstGeom prst="rect">
            <a:avLst/>
          </a:prstGeom>
        </p:spPr>
        <p:txBody>
          <a:bodyPr wrap="square">
            <a:spAutoFit/>
          </a:bodyPr>
          <a:lstStyle/>
          <a:p>
            <a:r>
              <a:rPr lang="en-IN" b="1" dirty="0"/>
              <a:t>Lorem Ipsum is simply dummy text</a:t>
            </a:r>
          </a:p>
        </p:txBody>
      </p:sp>
      <p:sp>
        <p:nvSpPr>
          <p:cNvPr id="140" name="Rectangle 139">
            <a:extLst>
              <a:ext uri="{FF2B5EF4-FFF2-40B4-BE49-F238E27FC236}">
                <a16:creationId xmlns:a16="http://schemas.microsoft.com/office/drawing/2014/main" id="{BBFAB623-52D9-4B9A-B047-35C298226A34}"/>
              </a:ext>
            </a:extLst>
          </p:cNvPr>
          <p:cNvSpPr/>
          <p:nvPr/>
        </p:nvSpPr>
        <p:spPr>
          <a:xfrm>
            <a:off x="5220230" y="3284034"/>
            <a:ext cx="1815123" cy="923330"/>
          </a:xfrm>
          <a:prstGeom prst="rect">
            <a:avLst/>
          </a:prstGeom>
        </p:spPr>
        <p:txBody>
          <a:bodyPr wrap="square">
            <a:spAutoFit/>
          </a:bodyPr>
          <a:lstStyle/>
          <a:p>
            <a:r>
              <a:rPr lang="en-IN" b="1" dirty="0"/>
              <a:t>Lorem Ipsum is simply dummy text</a:t>
            </a:r>
          </a:p>
        </p:txBody>
      </p:sp>
      <p:sp>
        <p:nvSpPr>
          <p:cNvPr id="155" name="Rectangle: Rounded Corners 154">
            <a:extLst>
              <a:ext uri="{FF2B5EF4-FFF2-40B4-BE49-F238E27FC236}">
                <a16:creationId xmlns:a16="http://schemas.microsoft.com/office/drawing/2014/main" id="{38865177-4945-42C3-B73F-12B73E3753C7}"/>
              </a:ext>
            </a:extLst>
          </p:cNvPr>
          <p:cNvSpPr/>
          <p:nvPr/>
        </p:nvSpPr>
        <p:spPr>
          <a:xfrm>
            <a:off x="3341130" y="2339110"/>
            <a:ext cx="2535045" cy="3011077"/>
          </a:xfrm>
          <a:prstGeom prst="roundRect">
            <a:avLst/>
          </a:prstGeom>
          <a:solidFill>
            <a:schemeClr val="bg1">
              <a:alpha val="70000"/>
            </a:schemeClr>
          </a:solidFill>
          <a:ln w="6350">
            <a:solidFill>
              <a:schemeClr val="bg1">
                <a:lumMod val="20000"/>
                <a:lumOff val="80000"/>
              </a:schemeClr>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00" dirty="0">
              <a:solidFill>
                <a:schemeClr val="tx1"/>
              </a:solidFill>
            </a:endParaRPr>
          </a:p>
        </p:txBody>
      </p:sp>
      <p:sp>
        <p:nvSpPr>
          <p:cNvPr id="156" name="TextBox 155">
            <a:extLst>
              <a:ext uri="{FF2B5EF4-FFF2-40B4-BE49-F238E27FC236}">
                <a16:creationId xmlns:a16="http://schemas.microsoft.com/office/drawing/2014/main" id="{2DB75323-CEBE-4B9C-A16F-20C10BC06041}"/>
              </a:ext>
            </a:extLst>
          </p:cNvPr>
          <p:cNvSpPr txBox="1"/>
          <p:nvPr/>
        </p:nvSpPr>
        <p:spPr>
          <a:xfrm>
            <a:off x="3550118" y="2531223"/>
            <a:ext cx="1015571" cy="523220"/>
          </a:xfrm>
          <a:prstGeom prst="rect">
            <a:avLst/>
          </a:prstGeom>
          <a:noFill/>
        </p:spPr>
        <p:txBody>
          <a:bodyPr wrap="square">
            <a:spAutoFit/>
          </a:bodyPr>
          <a:lstStyle/>
          <a:p>
            <a:pPr algn="ctr"/>
            <a:r>
              <a:rPr lang="en-IN" sz="2800" b="1" dirty="0">
                <a:solidFill>
                  <a:schemeClr val="tx2"/>
                </a:solidFill>
              </a:rPr>
              <a:t>02</a:t>
            </a:r>
          </a:p>
        </p:txBody>
      </p:sp>
      <p:cxnSp>
        <p:nvCxnSpPr>
          <p:cNvPr id="157" name="Straight Connector 156">
            <a:extLst>
              <a:ext uri="{FF2B5EF4-FFF2-40B4-BE49-F238E27FC236}">
                <a16:creationId xmlns:a16="http://schemas.microsoft.com/office/drawing/2014/main" id="{AF3D0583-A55D-4F38-A0A9-C54BC9ABB416}"/>
              </a:ext>
            </a:extLst>
          </p:cNvPr>
          <p:cNvCxnSpPr>
            <a:cxnSpLocks/>
          </p:cNvCxnSpPr>
          <p:nvPr/>
        </p:nvCxnSpPr>
        <p:spPr>
          <a:xfrm>
            <a:off x="3739728" y="3167669"/>
            <a:ext cx="2054506" cy="0"/>
          </a:xfrm>
          <a:prstGeom prst="line">
            <a:avLst/>
          </a:prstGeom>
          <a:ln w="9525">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58" name="Rectangle 157">
            <a:extLst>
              <a:ext uri="{FF2B5EF4-FFF2-40B4-BE49-F238E27FC236}">
                <a16:creationId xmlns:a16="http://schemas.microsoft.com/office/drawing/2014/main" id="{BAD1B051-4981-45DC-8BB4-1FDAC3A333C8}"/>
              </a:ext>
            </a:extLst>
          </p:cNvPr>
          <p:cNvSpPr/>
          <p:nvPr/>
        </p:nvSpPr>
        <p:spPr>
          <a:xfrm>
            <a:off x="3511189" y="3292059"/>
            <a:ext cx="2220171" cy="646331"/>
          </a:xfrm>
          <a:prstGeom prst="rect">
            <a:avLst/>
          </a:prstGeom>
        </p:spPr>
        <p:txBody>
          <a:bodyPr wrap="square">
            <a:spAutoFit/>
          </a:bodyPr>
          <a:lstStyle/>
          <a:p>
            <a:r>
              <a:rPr lang="en-IN" b="1" dirty="0"/>
              <a:t>Identify Critical Resources</a:t>
            </a:r>
          </a:p>
        </p:txBody>
      </p:sp>
      <p:sp>
        <p:nvSpPr>
          <p:cNvPr id="159" name="Rectangle: Rounded Corners 158">
            <a:extLst>
              <a:ext uri="{FF2B5EF4-FFF2-40B4-BE49-F238E27FC236}">
                <a16:creationId xmlns:a16="http://schemas.microsoft.com/office/drawing/2014/main" id="{91CAAB54-D8C6-4E15-90D5-40591163F3C1}"/>
              </a:ext>
            </a:extLst>
          </p:cNvPr>
          <p:cNvSpPr/>
          <p:nvPr/>
        </p:nvSpPr>
        <p:spPr>
          <a:xfrm>
            <a:off x="3658464" y="3136587"/>
            <a:ext cx="754331" cy="66589"/>
          </a:xfrm>
          <a:prstGeom prst="roundRect">
            <a:avLst>
              <a:gd name="adj" fmla="val 5000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00" dirty="0">
              <a:solidFill>
                <a:schemeClr val="tx1"/>
              </a:solidFill>
            </a:endParaRPr>
          </a:p>
        </p:txBody>
      </p:sp>
      <p:sp>
        <p:nvSpPr>
          <p:cNvPr id="160" name="Rectangle: Rounded Corners 159">
            <a:extLst>
              <a:ext uri="{FF2B5EF4-FFF2-40B4-BE49-F238E27FC236}">
                <a16:creationId xmlns:a16="http://schemas.microsoft.com/office/drawing/2014/main" id="{3923CFB3-6608-46AD-98C1-116F39ABD682}"/>
              </a:ext>
            </a:extLst>
          </p:cNvPr>
          <p:cNvSpPr/>
          <p:nvPr/>
        </p:nvSpPr>
        <p:spPr>
          <a:xfrm>
            <a:off x="6276142" y="2367985"/>
            <a:ext cx="2535045" cy="3011077"/>
          </a:xfrm>
          <a:prstGeom prst="roundRect">
            <a:avLst/>
          </a:prstGeom>
          <a:solidFill>
            <a:schemeClr val="bg1">
              <a:alpha val="70000"/>
            </a:schemeClr>
          </a:solidFill>
          <a:ln w="6350">
            <a:solidFill>
              <a:schemeClr val="bg1">
                <a:lumMod val="20000"/>
                <a:lumOff val="80000"/>
              </a:schemeClr>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00" dirty="0">
              <a:solidFill>
                <a:schemeClr val="tx1"/>
              </a:solidFill>
            </a:endParaRPr>
          </a:p>
        </p:txBody>
      </p:sp>
      <p:sp>
        <p:nvSpPr>
          <p:cNvPr id="161" name="TextBox 160">
            <a:extLst>
              <a:ext uri="{FF2B5EF4-FFF2-40B4-BE49-F238E27FC236}">
                <a16:creationId xmlns:a16="http://schemas.microsoft.com/office/drawing/2014/main" id="{E1EAB0B0-30B7-4005-87CB-069DFE2E5373}"/>
              </a:ext>
            </a:extLst>
          </p:cNvPr>
          <p:cNvSpPr txBox="1"/>
          <p:nvPr/>
        </p:nvSpPr>
        <p:spPr>
          <a:xfrm>
            <a:off x="6485130" y="2560098"/>
            <a:ext cx="1015571" cy="523220"/>
          </a:xfrm>
          <a:prstGeom prst="rect">
            <a:avLst/>
          </a:prstGeom>
          <a:noFill/>
        </p:spPr>
        <p:txBody>
          <a:bodyPr wrap="square">
            <a:spAutoFit/>
          </a:bodyPr>
          <a:lstStyle/>
          <a:p>
            <a:pPr algn="ctr"/>
            <a:r>
              <a:rPr lang="en-IN" sz="2800" b="1" dirty="0">
                <a:solidFill>
                  <a:schemeClr val="tx2"/>
                </a:solidFill>
              </a:rPr>
              <a:t>03</a:t>
            </a:r>
          </a:p>
        </p:txBody>
      </p:sp>
      <p:cxnSp>
        <p:nvCxnSpPr>
          <p:cNvPr id="162" name="Straight Connector 161">
            <a:extLst>
              <a:ext uri="{FF2B5EF4-FFF2-40B4-BE49-F238E27FC236}">
                <a16:creationId xmlns:a16="http://schemas.microsoft.com/office/drawing/2014/main" id="{B6C0F5E8-FEB9-43FF-8505-8B3A0E9F85A4}"/>
              </a:ext>
            </a:extLst>
          </p:cNvPr>
          <p:cNvCxnSpPr>
            <a:cxnSpLocks/>
          </p:cNvCxnSpPr>
          <p:nvPr/>
        </p:nvCxnSpPr>
        <p:spPr>
          <a:xfrm>
            <a:off x="6674739" y="3196544"/>
            <a:ext cx="2054506" cy="0"/>
          </a:xfrm>
          <a:prstGeom prst="line">
            <a:avLst/>
          </a:prstGeom>
          <a:ln w="9525">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FAE6C425-96F7-47A8-8215-589DE3B05FDC}"/>
              </a:ext>
            </a:extLst>
          </p:cNvPr>
          <p:cNvSpPr/>
          <p:nvPr/>
        </p:nvSpPr>
        <p:spPr>
          <a:xfrm>
            <a:off x="6446201" y="3320934"/>
            <a:ext cx="2220171" cy="646331"/>
          </a:xfrm>
          <a:prstGeom prst="rect">
            <a:avLst/>
          </a:prstGeom>
        </p:spPr>
        <p:txBody>
          <a:bodyPr wrap="square">
            <a:spAutoFit/>
          </a:bodyPr>
          <a:lstStyle/>
          <a:p>
            <a:r>
              <a:rPr lang="en-IN" b="1" dirty="0"/>
              <a:t>Identify MAO and Impact</a:t>
            </a:r>
          </a:p>
        </p:txBody>
      </p:sp>
      <p:sp>
        <p:nvSpPr>
          <p:cNvPr id="164" name="Rectangle: Rounded Corners 163">
            <a:extLst>
              <a:ext uri="{FF2B5EF4-FFF2-40B4-BE49-F238E27FC236}">
                <a16:creationId xmlns:a16="http://schemas.microsoft.com/office/drawing/2014/main" id="{55573729-BD91-4CB9-9102-CE77CB7D6136}"/>
              </a:ext>
            </a:extLst>
          </p:cNvPr>
          <p:cNvSpPr/>
          <p:nvPr/>
        </p:nvSpPr>
        <p:spPr>
          <a:xfrm>
            <a:off x="6593476" y="3165462"/>
            <a:ext cx="754331" cy="66589"/>
          </a:xfrm>
          <a:prstGeom prst="roundRect">
            <a:avLst>
              <a:gd name="adj" fmla="val 5000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00" dirty="0">
              <a:solidFill>
                <a:schemeClr val="tx1"/>
              </a:solidFill>
            </a:endParaRPr>
          </a:p>
        </p:txBody>
      </p:sp>
      <p:sp>
        <p:nvSpPr>
          <p:cNvPr id="165" name="Rectangle: Rounded Corners 164">
            <a:extLst>
              <a:ext uri="{FF2B5EF4-FFF2-40B4-BE49-F238E27FC236}">
                <a16:creationId xmlns:a16="http://schemas.microsoft.com/office/drawing/2014/main" id="{E850C5C2-F826-46B4-90EF-1D018AF43EAD}"/>
              </a:ext>
            </a:extLst>
          </p:cNvPr>
          <p:cNvSpPr/>
          <p:nvPr/>
        </p:nvSpPr>
        <p:spPr>
          <a:xfrm>
            <a:off x="9245829" y="2358356"/>
            <a:ext cx="2535045" cy="3011077"/>
          </a:xfrm>
          <a:prstGeom prst="roundRect">
            <a:avLst/>
          </a:prstGeom>
          <a:solidFill>
            <a:schemeClr val="bg1">
              <a:alpha val="70000"/>
            </a:schemeClr>
          </a:solidFill>
          <a:ln w="6350">
            <a:solidFill>
              <a:schemeClr val="bg1">
                <a:lumMod val="20000"/>
                <a:lumOff val="80000"/>
              </a:schemeClr>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00" dirty="0">
              <a:solidFill>
                <a:schemeClr val="tx1"/>
              </a:solidFill>
            </a:endParaRPr>
          </a:p>
        </p:txBody>
      </p:sp>
      <p:sp>
        <p:nvSpPr>
          <p:cNvPr id="166" name="TextBox 165">
            <a:extLst>
              <a:ext uri="{FF2B5EF4-FFF2-40B4-BE49-F238E27FC236}">
                <a16:creationId xmlns:a16="http://schemas.microsoft.com/office/drawing/2014/main" id="{F81502B0-1DDE-4E1F-9A57-C312DF3F7A3B}"/>
              </a:ext>
            </a:extLst>
          </p:cNvPr>
          <p:cNvSpPr txBox="1"/>
          <p:nvPr/>
        </p:nvSpPr>
        <p:spPr>
          <a:xfrm>
            <a:off x="9415888" y="2521397"/>
            <a:ext cx="1015571" cy="523220"/>
          </a:xfrm>
          <a:prstGeom prst="rect">
            <a:avLst/>
          </a:prstGeom>
          <a:noFill/>
        </p:spPr>
        <p:txBody>
          <a:bodyPr wrap="square">
            <a:spAutoFit/>
          </a:bodyPr>
          <a:lstStyle/>
          <a:p>
            <a:pPr algn="ctr"/>
            <a:r>
              <a:rPr lang="en-IN" sz="2800" b="1" dirty="0">
                <a:solidFill>
                  <a:schemeClr val="tx2"/>
                </a:solidFill>
              </a:rPr>
              <a:t>04</a:t>
            </a:r>
          </a:p>
        </p:txBody>
      </p:sp>
      <p:cxnSp>
        <p:nvCxnSpPr>
          <p:cNvPr id="167" name="Straight Connector 166">
            <a:extLst>
              <a:ext uri="{FF2B5EF4-FFF2-40B4-BE49-F238E27FC236}">
                <a16:creationId xmlns:a16="http://schemas.microsoft.com/office/drawing/2014/main" id="{D450A104-1F32-443B-86F9-A38BF062C56C}"/>
              </a:ext>
            </a:extLst>
          </p:cNvPr>
          <p:cNvCxnSpPr>
            <a:cxnSpLocks/>
          </p:cNvCxnSpPr>
          <p:nvPr/>
        </p:nvCxnSpPr>
        <p:spPr>
          <a:xfrm>
            <a:off x="9644426" y="3216270"/>
            <a:ext cx="2054506" cy="0"/>
          </a:xfrm>
          <a:prstGeom prst="line">
            <a:avLst/>
          </a:prstGeom>
          <a:ln w="9525">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B6660645-CA5F-47E3-9F81-ECD6A9387304}"/>
              </a:ext>
            </a:extLst>
          </p:cNvPr>
          <p:cNvSpPr/>
          <p:nvPr/>
        </p:nvSpPr>
        <p:spPr>
          <a:xfrm>
            <a:off x="9415888" y="3263660"/>
            <a:ext cx="2220171" cy="646331"/>
          </a:xfrm>
          <a:prstGeom prst="rect">
            <a:avLst/>
          </a:prstGeom>
        </p:spPr>
        <p:txBody>
          <a:bodyPr wrap="square">
            <a:spAutoFit/>
          </a:bodyPr>
          <a:lstStyle/>
          <a:p>
            <a:r>
              <a:rPr lang="en-IN" b="1" dirty="0"/>
              <a:t>Identify Recovery Requirements</a:t>
            </a:r>
          </a:p>
        </p:txBody>
      </p:sp>
      <p:sp>
        <p:nvSpPr>
          <p:cNvPr id="169" name="Rectangle: Rounded Corners 168">
            <a:extLst>
              <a:ext uri="{FF2B5EF4-FFF2-40B4-BE49-F238E27FC236}">
                <a16:creationId xmlns:a16="http://schemas.microsoft.com/office/drawing/2014/main" id="{26E60354-A748-45C2-B536-6ED48D323D57}"/>
              </a:ext>
            </a:extLst>
          </p:cNvPr>
          <p:cNvSpPr/>
          <p:nvPr/>
        </p:nvSpPr>
        <p:spPr>
          <a:xfrm>
            <a:off x="9563163" y="3185188"/>
            <a:ext cx="754331" cy="66589"/>
          </a:xfrm>
          <a:prstGeom prst="roundRect">
            <a:avLst>
              <a:gd name="adj" fmla="val 5000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00" dirty="0">
              <a:solidFill>
                <a:schemeClr val="tx1"/>
              </a:solidFill>
            </a:endParaRPr>
          </a:p>
        </p:txBody>
      </p:sp>
      <p:sp>
        <p:nvSpPr>
          <p:cNvPr id="170" name="Rectangle 169">
            <a:extLst>
              <a:ext uri="{FF2B5EF4-FFF2-40B4-BE49-F238E27FC236}">
                <a16:creationId xmlns:a16="http://schemas.microsoft.com/office/drawing/2014/main" id="{07ACFDB4-4E77-49B3-8E88-D2B399673A30}"/>
              </a:ext>
            </a:extLst>
          </p:cNvPr>
          <p:cNvSpPr/>
          <p:nvPr/>
        </p:nvSpPr>
        <p:spPr>
          <a:xfrm>
            <a:off x="601215" y="3960069"/>
            <a:ext cx="2220171" cy="830997"/>
          </a:xfrm>
          <a:prstGeom prst="rect">
            <a:avLst/>
          </a:prstGeom>
        </p:spPr>
        <p:txBody>
          <a:bodyPr wrap="square">
            <a:spAutoFit/>
          </a:bodyPr>
          <a:lstStyle/>
          <a:p>
            <a:r>
              <a:rPr lang="en-IN" sz="1200" b="0" i="0" dirty="0">
                <a:solidFill>
                  <a:srgbClr val="374151"/>
                </a:solidFill>
                <a:effectLst/>
              </a:rPr>
              <a:t>Determine which business processes are essential for the organization's survival and success.</a:t>
            </a:r>
            <a:endParaRPr lang="en-IN" sz="1200" b="1" dirty="0"/>
          </a:p>
        </p:txBody>
      </p:sp>
      <p:sp>
        <p:nvSpPr>
          <p:cNvPr id="171" name="Rectangle 170">
            <a:extLst>
              <a:ext uri="{FF2B5EF4-FFF2-40B4-BE49-F238E27FC236}">
                <a16:creationId xmlns:a16="http://schemas.microsoft.com/office/drawing/2014/main" id="{C88E21BC-590D-4907-A642-9A0FF869DAA5}"/>
              </a:ext>
            </a:extLst>
          </p:cNvPr>
          <p:cNvSpPr/>
          <p:nvPr/>
        </p:nvSpPr>
        <p:spPr>
          <a:xfrm>
            <a:off x="3485374" y="3930365"/>
            <a:ext cx="2220171" cy="646331"/>
          </a:xfrm>
          <a:prstGeom prst="rect">
            <a:avLst/>
          </a:prstGeom>
        </p:spPr>
        <p:txBody>
          <a:bodyPr wrap="square">
            <a:spAutoFit/>
          </a:bodyPr>
          <a:lstStyle/>
          <a:p>
            <a:r>
              <a:rPr lang="en-IN" sz="1200" b="0" i="0" dirty="0">
                <a:solidFill>
                  <a:srgbClr val="374151"/>
                </a:solidFill>
                <a:effectLst/>
              </a:rPr>
              <a:t>The critical resources are those that are required to support the CBFs</a:t>
            </a:r>
            <a:endParaRPr lang="en-IN" sz="1200" b="1" dirty="0"/>
          </a:p>
        </p:txBody>
      </p:sp>
      <p:sp>
        <p:nvSpPr>
          <p:cNvPr id="172" name="Rectangle 171">
            <a:extLst>
              <a:ext uri="{FF2B5EF4-FFF2-40B4-BE49-F238E27FC236}">
                <a16:creationId xmlns:a16="http://schemas.microsoft.com/office/drawing/2014/main" id="{4D1C3E16-2D95-47C8-9D16-3F75B10755FA}"/>
              </a:ext>
            </a:extLst>
          </p:cNvPr>
          <p:cNvSpPr/>
          <p:nvPr/>
        </p:nvSpPr>
        <p:spPr>
          <a:xfrm>
            <a:off x="6485130" y="3909991"/>
            <a:ext cx="2220171" cy="1015663"/>
          </a:xfrm>
          <a:prstGeom prst="rect">
            <a:avLst/>
          </a:prstGeom>
        </p:spPr>
        <p:txBody>
          <a:bodyPr wrap="square">
            <a:spAutoFit/>
          </a:bodyPr>
          <a:lstStyle/>
          <a:p>
            <a:r>
              <a:rPr lang="en-IN" sz="1200" b="0" i="0" dirty="0">
                <a:solidFill>
                  <a:srgbClr val="374151"/>
                </a:solidFill>
                <a:effectLst/>
              </a:rPr>
              <a:t>The MAO helps you determine which CBFs you need to recover and restart as soon as possible after a disaster</a:t>
            </a:r>
            <a:endParaRPr lang="en-IN" sz="1200" b="1" dirty="0"/>
          </a:p>
        </p:txBody>
      </p:sp>
      <p:sp>
        <p:nvSpPr>
          <p:cNvPr id="173" name="Rectangle 172">
            <a:extLst>
              <a:ext uri="{FF2B5EF4-FFF2-40B4-BE49-F238E27FC236}">
                <a16:creationId xmlns:a16="http://schemas.microsoft.com/office/drawing/2014/main" id="{1CA0C9F9-2C77-431E-A263-DE29692692A9}"/>
              </a:ext>
            </a:extLst>
          </p:cNvPr>
          <p:cNvSpPr/>
          <p:nvPr/>
        </p:nvSpPr>
        <p:spPr>
          <a:xfrm>
            <a:off x="9428541" y="3883591"/>
            <a:ext cx="2220171" cy="1015663"/>
          </a:xfrm>
          <a:prstGeom prst="rect">
            <a:avLst/>
          </a:prstGeom>
        </p:spPr>
        <p:txBody>
          <a:bodyPr wrap="square">
            <a:spAutoFit/>
          </a:bodyPr>
          <a:lstStyle/>
          <a:p>
            <a:r>
              <a:rPr lang="en-IN" sz="1200" b="0" i="0" dirty="0">
                <a:solidFill>
                  <a:srgbClr val="374151"/>
                </a:solidFill>
                <a:effectLst/>
              </a:rPr>
              <a:t>The recovery requirements show the time frame in which systems must be recoverable. </a:t>
            </a:r>
          </a:p>
          <a:p>
            <a:r>
              <a:rPr lang="en-IN" sz="1200" b="0" i="0" dirty="0">
                <a:solidFill>
                  <a:srgbClr val="374151"/>
                </a:solidFill>
                <a:effectLst/>
              </a:rPr>
              <a:t>They also identify the data that must be recovered. </a:t>
            </a:r>
            <a:endParaRPr lang="en-IN" sz="1200" b="1" dirty="0"/>
          </a:p>
        </p:txBody>
      </p:sp>
      <p:sp>
        <p:nvSpPr>
          <p:cNvPr id="174" name="Rectangle 173">
            <a:extLst>
              <a:ext uri="{FF2B5EF4-FFF2-40B4-BE49-F238E27FC236}">
                <a16:creationId xmlns:a16="http://schemas.microsoft.com/office/drawing/2014/main" id="{4A43767E-D2A1-4FF0-A36E-5917968F4B3D}"/>
              </a:ext>
            </a:extLst>
          </p:cNvPr>
          <p:cNvSpPr/>
          <p:nvPr/>
        </p:nvSpPr>
        <p:spPr>
          <a:xfrm>
            <a:off x="375137" y="988550"/>
            <a:ext cx="11297915" cy="387956"/>
          </a:xfrm>
          <a:prstGeom prst="rect">
            <a:avLst/>
          </a:prstGeom>
          <a:solidFill>
            <a:srgbClr val="FFE600"/>
          </a:solidFill>
          <a:ln w="3175" cap="flat" cmpd="sng" algn="ctr">
            <a:solidFill>
              <a:schemeClr val="bg2"/>
            </a:solidFill>
            <a:prstDash val="solid"/>
          </a:ln>
          <a:effectLst>
            <a:innerShdw blurRad="63500" dist="50800" dir="18900000">
              <a:prstClr val="black">
                <a:alpha val="50000"/>
              </a:prstClr>
            </a:innerShdw>
          </a:effectLst>
        </p:spPr>
        <p:txBody>
          <a:bodyPr rtlCol="0" anchor="ctr"/>
          <a:lstStyle/>
          <a:p>
            <a:pPr marL="0" marR="0" lvl="0" indent="0" algn="l" defTabSz="585846" rtl="0" eaLnBrk="1" fontAlgn="auto" latinLnBrk="0" hangingPunct="1">
              <a:lnSpc>
                <a:spcPct val="100000"/>
              </a:lnSpc>
              <a:spcBef>
                <a:spcPts val="0"/>
              </a:spcBef>
              <a:spcAft>
                <a:spcPts val="0"/>
              </a:spcAft>
              <a:buClrTx/>
              <a:buSzTx/>
              <a:buFontTx/>
              <a:buNone/>
              <a:tabLst/>
              <a:defRPr/>
            </a:pPr>
            <a:r>
              <a:rPr kumimoji="0" lang="en-IN" sz="1399" b="1" i="0" u="none" strike="noStrike" kern="0" cap="none" spc="0" normalizeH="0" baseline="0" noProof="0" dirty="0">
                <a:ln>
                  <a:noFill/>
                </a:ln>
                <a:solidFill>
                  <a:srgbClr val="000000"/>
                </a:solidFill>
                <a:effectLst/>
                <a:uLnTx/>
                <a:uFillTx/>
                <a:ea typeface="+mn-ea"/>
                <a:cs typeface="+mn-cs"/>
              </a:rPr>
              <a:t>Objectives of Business Impact Analysis</a:t>
            </a:r>
          </a:p>
        </p:txBody>
      </p:sp>
      <p:sp>
        <p:nvSpPr>
          <p:cNvPr id="175" name="TextBox 174">
            <a:extLst>
              <a:ext uri="{FF2B5EF4-FFF2-40B4-BE49-F238E27FC236}">
                <a16:creationId xmlns:a16="http://schemas.microsoft.com/office/drawing/2014/main" id="{FC85EA84-EF9C-4AF5-B551-A11B690AC9A1}"/>
              </a:ext>
            </a:extLst>
          </p:cNvPr>
          <p:cNvSpPr txBox="1"/>
          <p:nvPr/>
        </p:nvSpPr>
        <p:spPr>
          <a:xfrm>
            <a:off x="395077" y="1473669"/>
            <a:ext cx="11278263" cy="523220"/>
          </a:xfrm>
          <a:prstGeom prst="rect">
            <a:avLst/>
          </a:prstGeom>
          <a:noFill/>
          <a:ln w="3175">
            <a:solidFill>
              <a:srgbClr val="FFE600"/>
            </a:solidFill>
            <a:prstDash val="dash"/>
          </a:ln>
        </p:spPr>
        <p:txBody>
          <a:bodyPr wrap="square">
            <a:spAutoFit/>
          </a:bodyPr>
          <a:lstStyle/>
          <a:p>
            <a:r>
              <a:rPr lang="en-IN" sz="1400" b="0" i="0" dirty="0">
                <a:solidFill>
                  <a:schemeClr val="bg1"/>
                </a:solidFill>
                <a:effectLst/>
              </a:rPr>
              <a:t>The overall objective of the BIA is to identify the impact of outages. More speciﬁcally, the goal is to identify the critical functions that can affect the organization. After identifying these, you can identify the critical resources that support these functions. </a:t>
            </a:r>
          </a:p>
        </p:txBody>
      </p:sp>
      <p:sp>
        <p:nvSpPr>
          <p:cNvPr id="37" name="Rectangle 36">
            <a:extLst>
              <a:ext uri="{FF2B5EF4-FFF2-40B4-BE49-F238E27FC236}">
                <a16:creationId xmlns:a16="http://schemas.microsoft.com/office/drawing/2014/main" id="{E20B82FE-3B60-4E2B-9E0A-CDA76F62DBEA}"/>
              </a:ext>
            </a:extLst>
          </p:cNvPr>
          <p:cNvSpPr/>
          <p:nvPr/>
        </p:nvSpPr>
        <p:spPr>
          <a:xfrm>
            <a:off x="1606114" y="5579203"/>
            <a:ext cx="8376239" cy="471164"/>
          </a:xfrm>
          <a:prstGeom prst="rect">
            <a:avLst/>
          </a:prstGeom>
          <a:noFill/>
          <a:ln w="3175" cap="flat" cmpd="sng" algn="ctr">
            <a:solidFill>
              <a:srgbClr val="FFE600"/>
            </a:solidFill>
            <a:prstDash val="dash"/>
            <a:miter lim="800000"/>
          </a:ln>
          <a:effectLst/>
        </p:spPr>
        <p:txBody>
          <a:bodyPr rtlCol="0" anchor="ctr"/>
          <a:lstStyle/>
          <a:p>
            <a:pPr marR="0" lvl="0" algn="l" defTabSz="914400" rtl="0" eaLnBrk="1" fontAlgn="auto" latinLnBrk="0" hangingPunct="1">
              <a:lnSpc>
                <a:spcPct val="100000"/>
              </a:lnSpc>
              <a:spcBef>
                <a:spcPts val="300"/>
              </a:spcBef>
              <a:spcAft>
                <a:spcPts val="300"/>
              </a:spcAft>
              <a:buSzPct val="125000"/>
              <a:tabLst/>
              <a:defRPr/>
            </a:pPr>
            <a:r>
              <a:rPr kumimoji="0" lang="en-IN" sz="1200" b="0" i="0" u="none" strike="noStrike" kern="1200" cap="none" spc="0" normalizeH="0" baseline="0" noProof="0" dirty="0">
                <a:ln>
                  <a:noFill/>
                </a:ln>
                <a:solidFill>
                  <a:schemeClr val="bg1"/>
                </a:solidFill>
                <a:effectLst/>
                <a:uLnTx/>
                <a:uFillTx/>
                <a:ea typeface="+mn-ea"/>
                <a:cs typeface="Mangal" panose="02040503050203030202" pitchFamily="18" charset="0"/>
              </a:rPr>
              <a:t>CBF- Critical Business Function                      MAO- Maximum Acceptable Outage                   CSF- Critical Success Factor</a:t>
            </a:r>
          </a:p>
        </p:txBody>
      </p:sp>
    </p:spTree>
    <p:extLst>
      <p:ext uri="{BB962C8B-B14F-4D97-AF65-F5344CB8AC3E}">
        <p14:creationId xmlns:p14="http://schemas.microsoft.com/office/powerpoint/2010/main" val="30918266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994091E-296F-FE4D-766C-89802AE41C39}"/>
              </a:ext>
            </a:extLst>
          </p:cNvPr>
          <p:cNvSpPr txBox="1"/>
          <p:nvPr/>
        </p:nvSpPr>
        <p:spPr>
          <a:xfrm>
            <a:off x="376463" y="223520"/>
            <a:ext cx="11205938"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3600" dirty="0">
                <a:solidFill>
                  <a:schemeClr val="bg1"/>
                </a:solidFill>
              </a:rPr>
              <a:t>Objectives, outcomes, and impact of BIA exercise</a:t>
            </a:r>
          </a:p>
        </p:txBody>
      </p:sp>
      <p:sp>
        <p:nvSpPr>
          <p:cNvPr id="4" name="Rectangle 3">
            <a:extLst>
              <a:ext uri="{FF2B5EF4-FFF2-40B4-BE49-F238E27FC236}">
                <a16:creationId xmlns:a16="http://schemas.microsoft.com/office/drawing/2014/main" id="{B0C1871F-D2B5-C876-39A3-B628F8E052CC}"/>
              </a:ext>
            </a:extLst>
          </p:cNvPr>
          <p:cNvSpPr/>
          <p:nvPr/>
        </p:nvSpPr>
        <p:spPr>
          <a:xfrm>
            <a:off x="366938" y="4702578"/>
            <a:ext cx="10142092" cy="58104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b="1" dirty="0">
                <a:solidFill>
                  <a:srgbClr val="FFFFFF"/>
                </a:solidFill>
                <a:latin typeface="EYInterstate Light" panose="02000506000000020004" pitchFamily="2" charset="0"/>
                <a:ea typeface="Arial" panose="020B0706030804020204" pitchFamily="34" charset="0"/>
                <a:cs typeface="Arial" panose="020B0706030804020204" pitchFamily="34" charset="0"/>
              </a:rPr>
              <a:t>Impact</a:t>
            </a:r>
          </a:p>
        </p:txBody>
      </p:sp>
      <p:grpSp>
        <p:nvGrpSpPr>
          <p:cNvPr id="5" name="Group 4">
            <a:extLst>
              <a:ext uri="{FF2B5EF4-FFF2-40B4-BE49-F238E27FC236}">
                <a16:creationId xmlns:a16="http://schemas.microsoft.com/office/drawing/2014/main" id="{B8AA5E8D-1C06-9511-975B-5AD92CAAFF7D}"/>
              </a:ext>
            </a:extLst>
          </p:cNvPr>
          <p:cNvGrpSpPr>
            <a:grpSpLocks noChangeAspect="1"/>
          </p:cNvGrpSpPr>
          <p:nvPr/>
        </p:nvGrpSpPr>
        <p:grpSpPr bwMode="auto">
          <a:xfrm>
            <a:off x="10672594" y="4702578"/>
            <a:ext cx="897316" cy="503035"/>
            <a:chOff x="3302" y="1541"/>
            <a:chExt cx="1805" cy="1475"/>
          </a:xfrm>
        </p:grpSpPr>
        <p:sp>
          <p:nvSpPr>
            <p:cNvPr id="18" name="Line 5">
              <a:extLst>
                <a:ext uri="{FF2B5EF4-FFF2-40B4-BE49-F238E27FC236}">
                  <a16:creationId xmlns:a16="http://schemas.microsoft.com/office/drawing/2014/main" id="{D1108709-3A9D-7F3B-8A8E-3C3CD72B95AB}"/>
                </a:ext>
              </a:extLst>
            </p:cNvPr>
            <p:cNvSpPr>
              <a:spLocks noChangeShapeType="1"/>
            </p:cNvSpPr>
            <p:nvPr/>
          </p:nvSpPr>
          <p:spPr bwMode="auto">
            <a:xfrm>
              <a:off x="4209" y="1772"/>
              <a:ext cx="0" cy="27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BE"/>
            </a:p>
          </p:txBody>
        </p:sp>
        <p:sp>
          <p:nvSpPr>
            <p:cNvPr id="19" name="Line 6">
              <a:extLst>
                <a:ext uri="{FF2B5EF4-FFF2-40B4-BE49-F238E27FC236}">
                  <a16:creationId xmlns:a16="http://schemas.microsoft.com/office/drawing/2014/main" id="{5763B4D8-3C6F-3ABD-CCC6-81F2A28F2C8F}"/>
                </a:ext>
              </a:extLst>
            </p:cNvPr>
            <p:cNvSpPr>
              <a:spLocks noChangeShapeType="1"/>
            </p:cNvSpPr>
            <p:nvPr/>
          </p:nvSpPr>
          <p:spPr bwMode="auto">
            <a:xfrm flipH="1">
              <a:off x="4070" y="1913"/>
              <a:ext cx="279"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BE"/>
            </a:p>
          </p:txBody>
        </p:sp>
        <p:sp>
          <p:nvSpPr>
            <p:cNvPr id="20" name="Line 7">
              <a:extLst>
                <a:ext uri="{FF2B5EF4-FFF2-40B4-BE49-F238E27FC236}">
                  <a16:creationId xmlns:a16="http://schemas.microsoft.com/office/drawing/2014/main" id="{D53221A0-C5DE-8F9A-77F0-5FA5B177ABFF}"/>
                </a:ext>
              </a:extLst>
            </p:cNvPr>
            <p:cNvSpPr>
              <a:spLocks noChangeShapeType="1"/>
            </p:cNvSpPr>
            <p:nvPr/>
          </p:nvSpPr>
          <p:spPr bwMode="auto">
            <a:xfrm>
              <a:off x="4566" y="1541"/>
              <a:ext cx="0" cy="27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BE"/>
            </a:p>
          </p:txBody>
        </p:sp>
        <p:sp>
          <p:nvSpPr>
            <p:cNvPr id="21" name="Line 8">
              <a:extLst>
                <a:ext uri="{FF2B5EF4-FFF2-40B4-BE49-F238E27FC236}">
                  <a16:creationId xmlns:a16="http://schemas.microsoft.com/office/drawing/2014/main" id="{C0789914-75C6-EE38-A0B3-4F0FB4CB84DF}"/>
                </a:ext>
              </a:extLst>
            </p:cNvPr>
            <p:cNvSpPr>
              <a:spLocks noChangeShapeType="1"/>
            </p:cNvSpPr>
            <p:nvPr/>
          </p:nvSpPr>
          <p:spPr bwMode="auto">
            <a:xfrm flipH="1">
              <a:off x="4426" y="1682"/>
              <a:ext cx="281"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BE"/>
            </a:p>
          </p:txBody>
        </p:sp>
        <p:sp>
          <p:nvSpPr>
            <p:cNvPr id="22" name="Freeform 9">
              <a:extLst>
                <a:ext uri="{FF2B5EF4-FFF2-40B4-BE49-F238E27FC236}">
                  <a16:creationId xmlns:a16="http://schemas.microsoft.com/office/drawing/2014/main" id="{7867E68C-A8D4-93BE-8661-5A7EA369D36F}"/>
                </a:ext>
              </a:extLst>
            </p:cNvPr>
            <p:cNvSpPr>
              <a:spLocks/>
            </p:cNvSpPr>
            <p:nvPr/>
          </p:nvSpPr>
          <p:spPr bwMode="auto">
            <a:xfrm>
              <a:off x="3302" y="2467"/>
              <a:ext cx="460" cy="549"/>
            </a:xfrm>
            <a:custGeom>
              <a:avLst/>
              <a:gdLst>
                <a:gd name="T0" fmla="*/ 0 w 460"/>
                <a:gd name="T1" fmla="*/ 87 h 549"/>
                <a:gd name="T2" fmla="*/ 173 w 460"/>
                <a:gd name="T3" fmla="*/ 0 h 549"/>
                <a:gd name="T4" fmla="*/ 460 w 460"/>
                <a:gd name="T5" fmla="*/ 462 h 549"/>
                <a:gd name="T6" fmla="*/ 288 w 460"/>
                <a:gd name="T7" fmla="*/ 549 h 549"/>
                <a:gd name="T8" fmla="*/ 0 w 460"/>
                <a:gd name="T9" fmla="*/ 87 h 549"/>
              </a:gdLst>
              <a:ahLst/>
              <a:cxnLst>
                <a:cxn ang="0">
                  <a:pos x="T0" y="T1"/>
                </a:cxn>
                <a:cxn ang="0">
                  <a:pos x="T2" y="T3"/>
                </a:cxn>
                <a:cxn ang="0">
                  <a:pos x="T4" y="T5"/>
                </a:cxn>
                <a:cxn ang="0">
                  <a:pos x="T6" y="T7"/>
                </a:cxn>
                <a:cxn ang="0">
                  <a:pos x="T8" y="T9"/>
                </a:cxn>
              </a:cxnLst>
              <a:rect l="0" t="0" r="r" b="b"/>
              <a:pathLst>
                <a:path w="460" h="549">
                  <a:moveTo>
                    <a:pt x="0" y="87"/>
                  </a:moveTo>
                  <a:lnTo>
                    <a:pt x="173" y="0"/>
                  </a:lnTo>
                  <a:lnTo>
                    <a:pt x="460" y="462"/>
                  </a:lnTo>
                  <a:lnTo>
                    <a:pt x="288" y="549"/>
                  </a:lnTo>
                  <a:lnTo>
                    <a:pt x="0" y="87"/>
                  </a:ln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BE" dirty="0"/>
            </a:p>
          </p:txBody>
        </p:sp>
        <p:sp>
          <p:nvSpPr>
            <p:cNvPr id="23" name="Freeform 10">
              <a:extLst>
                <a:ext uri="{FF2B5EF4-FFF2-40B4-BE49-F238E27FC236}">
                  <a16:creationId xmlns:a16="http://schemas.microsoft.com/office/drawing/2014/main" id="{05FF35EB-6714-B344-57A0-F908AB7A3A78}"/>
                </a:ext>
              </a:extLst>
            </p:cNvPr>
            <p:cNvSpPr>
              <a:spLocks/>
            </p:cNvSpPr>
            <p:nvPr/>
          </p:nvSpPr>
          <p:spPr bwMode="auto">
            <a:xfrm>
              <a:off x="3533" y="2295"/>
              <a:ext cx="981" cy="231"/>
            </a:xfrm>
            <a:custGeom>
              <a:avLst/>
              <a:gdLst>
                <a:gd name="T0" fmla="*/ 258 w 488"/>
                <a:gd name="T1" fmla="*/ 115 h 115"/>
                <a:gd name="T2" fmla="*/ 431 w 488"/>
                <a:gd name="T3" fmla="*/ 115 h 115"/>
                <a:gd name="T4" fmla="*/ 488 w 488"/>
                <a:gd name="T5" fmla="*/ 58 h 115"/>
                <a:gd name="T6" fmla="*/ 488 w 488"/>
                <a:gd name="T7" fmla="*/ 58 h 115"/>
                <a:gd name="T8" fmla="*/ 431 w 488"/>
                <a:gd name="T9" fmla="*/ 0 h 115"/>
                <a:gd name="T10" fmla="*/ 203 w 488"/>
                <a:gd name="T11" fmla="*/ 0 h 115"/>
                <a:gd name="T12" fmla="*/ 145 w 488"/>
                <a:gd name="T13" fmla="*/ 16 h 115"/>
                <a:gd name="T14" fmla="*/ 0 w 488"/>
                <a:gd name="T15" fmla="*/ 101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115">
                  <a:moveTo>
                    <a:pt x="258" y="115"/>
                  </a:moveTo>
                  <a:cubicBezTo>
                    <a:pt x="431" y="115"/>
                    <a:pt x="431" y="115"/>
                    <a:pt x="431" y="115"/>
                  </a:cubicBezTo>
                  <a:cubicBezTo>
                    <a:pt x="462" y="115"/>
                    <a:pt x="488" y="89"/>
                    <a:pt x="488" y="58"/>
                  </a:cubicBezTo>
                  <a:cubicBezTo>
                    <a:pt x="488" y="58"/>
                    <a:pt x="488" y="58"/>
                    <a:pt x="488" y="58"/>
                  </a:cubicBezTo>
                  <a:cubicBezTo>
                    <a:pt x="488" y="26"/>
                    <a:pt x="462" y="0"/>
                    <a:pt x="431" y="0"/>
                  </a:cubicBezTo>
                  <a:cubicBezTo>
                    <a:pt x="203" y="0"/>
                    <a:pt x="203" y="0"/>
                    <a:pt x="203" y="0"/>
                  </a:cubicBezTo>
                  <a:cubicBezTo>
                    <a:pt x="183" y="0"/>
                    <a:pt x="163" y="6"/>
                    <a:pt x="145" y="16"/>
                  </a:cubicBezTo>
                  <a:cubicBezTo>
                    <a:pt x="0" y="101"/>
                    <a:pt x="0" y="101"/>
                    <a:pt x="0" y="101"/>
                  </a:cubicBezTo>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BE"/>
            </a:p>
          </p:txBody>
        </p:sp>
        <p:sp>
          <p:nvSpPr>
            <p:cNvPr id="24" name="Freeform 11">
              <a:extLst>
                <a:ext uri="{FF2B5EF4-FFF2-40B4-BE49-F238E27FC236}">
                  <a16:creationId xmlns:a16="http://schemas.microsoft.com/office/drawing/2014/main" id="{6F78B52C-6949-6EFA-8BEF-F1F8A6B27A9B}"/>
                </a:ext>
              </a:extLst>
            </p:cNvPr>
            <p:cNvSpPr>
              <a:spLocks/>
            </p:cNvSpPr>
            <p:nvPr/>
          </p:nvSpPr>
          <p:spPr bwMode="auto">
            <a:xfrm>
              <a:off x="3752" y="2309"/>
              <a:ext cx="1355" cy="562"/>
            </a:xfrm>
            <a:custGeom>
              <a:avLst/>
              <a:gdLst>
                <a:gd name="T0" fmla="*/ 336 w 674"/>
                <a:gd name="T1" fmla="*/ 108 h 280"/>
                <a:gd name="T2" fmla="*/ 587 w 674"/>
                <a:gd name="T3" fmla="*/ 12 h 280"/>
                <a:gd name="T4" fmla="*/ 662 w 674"/>
                <a:gd name="T5" fmla="*/ 43 h 280"/>
                <a:gd name="T6" fmla="*/ 662 w 674"/>
                <a:gd name="T7" fmla="*/ 43 h 280"/>
                <a:gd name="T8" fmla="*/ 631 w 674"/>
                <a:gd name="T9" fmla="*/ 118 h 280"/>
                <a:gd name="T10" fmla="*/ 377 w 674"/>
                <a:gd name="T11" fmla="*/ 226 h 280"/>
                <a:gd name="T12" fmla="*/ 321 w 674"/>
                <a:gd name="T13" fmla="*/ 237 h 280"/>
                <a:gd name="T14" fmla="*/ 95 w 674"/>
                <a:gd name="T15" fmla="*/ 237 h 280"/>
                <a:gd name="T16" fmla="*/ 51 w 674"/>
                <a:gd name="T17" fmla="*/ 250 h 280"/>
                <a:gd name="T18" fmla="*/ 0 w 674"/>
                <a:gd name="T1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4" h="280">
                  <a:moveTo>
                    <a:pt x="336" y="108"/>
                  </a:moveTo>
                  <a:cubicBezTo>
                    <a:pt x="587" y="12"/>
                    <a:pt x="587" y="12"/>
                    <a:pt x="587" y="12"/>
                  </a:cubicBezTo>
                  <a:cubicBezTo>
                    <a:pt x="616" y="0"/>
                    <a:pt x="650" y="14"/>
                    <a:pt x="662" y="43"/>
                  </a:cubicBezTo>
                  <a:cubicBezTo>
                    <a:pt x="662" y="43"/>
                    <a:pt x="662" y="43"/>
                    <a:pt x="662" y="43"/>
                  </a:cubicBezTo>
                  <a:cubicBezTo>
                    <a:pt x="674" y="73"/>
                    <a:pt x="660" y="106"/>
                    <a:pt x="631" y="118"/>
                  </a:cubicBezTo>
                  <a:cubicBezTo>
                    <a:pt x="377" y="226"/>
                    <a:pt x="377" y="226"/>
                    <a:pt x="377" y="226"/>
                  </a:cubicBezTo>
                  <a:cubicBezTo>
                    <a:pt x="359" y="234"/>
                    <a:pt x="340" y="237"/>
                    <a:pt x="321" y="237"/>
                  </a:cubicBezTo>
                  <a:cubicBezTo>
                    <a:pt x="95" y="237"/>
                    <a:pt x="95" y="237"/>
                    <a:pt x="95" y="237"/>
                  </a:cubicBezTo>
                  <a:cubicBezTo>
                    <a:pt x="80" y="237"/>
                    <a:pt x="65" y="242"/>
                    <a:pt x="51" y="250"/>
                  </a:cubicBezTo>
                  <a:cubicBezTo>
                    <a:pt x="0" y="280"/>
                    <a:pt x="0" y="280"/>
                    <a:pt x="0" y="280"/>
                  </a:cubicBezTo>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BE"/>
            </a:p>
          </p:txBody>
        </p:sp>
      </p:grpSp>
      <p:sp>
        <p:nvSpPr>
          <p:cNvPr id="6" name="Freeform 21">
            <a:extLst>
              <a:ext uri="{FF2B5EF4-FFF2-40B4-BE49-F238E27FC236}">
                <a16:creationId xmlns:a16="http://schemas.microsoft.com/office/drawing/2014/main" id="{62361F20-1A66-405D-D12E-9D2FFD52790A}"/>
              </a:ext>
            </a:extLst>
          </p:cNvPr>
          <p:cNvSpPr>
            <a:spLocks noChangeAspect="1"/>
          </p:cNvSpPr>
          <p:nvPr/>
        </p:nvSpPr>
        <p:spPr bwMode="auto">
          <a:xfrm>
            <a:off x="6036210" y="2020527"/>
            <a:ext cx="128322" cy="339683"/>
          </a:xfrm>
          <a:custGeom>
            <a:avLst/>
            <a:gdLst>
              <a:gd name="T0" fmla="*/ 9 w 100"/>
              <a:gd name="T1" fmla="*/ 302 h 302"/>
              <a:gd name="T2" fmla="*/ 5 w 100"/>
              <a:gd name="T3" fmla="*/ 301 h 302"/>
              <a:gd name="T4" fmla="*/ 3 w 100"/>
              <a:gd name="T5" fmla="*/ 290 h 302"/>
              <a:gd name="T6" fmla="*/ 82 w 100"/>
              <a:gd name="T7" fmla="*/ 152 h 302"/>
              <a:gd name="T8" fmla="*/ 2 w 100"/>
              <a:gd name="T9" fmla="*/ 13 h 302"/>
              <a:gd name="T10" fmla="*/ 5 w 100"/>
              <a:gd name="T11" fmla="*/ 2 h 302"/>
              <a:gd name="T12" fmla="*/ 16 w 100"/>
              <a:gd name="T13" fmla="*/ 5 h 302"/>
              <a:gd name="T14" fmla="*/ 98 w 100"/>
              <a:gd name="T15" fmla="*/ 148 h 302"/>
              <a:gd name="T16" fmla="*/ 98 w 100"/>
              <a:gd name="T17" fmla="*/ 156 h 302"/>
              <a:gd name="T18" fmla="*/ 16 w 100"/>
              <a:gd name="T19" fmla="*/ 298 h 302"/>
              <a:gd name="T20" fmla="*/ 9 w 100"/>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302">
                <a:moveTo>
                  <a:pt x="9" y="302"/>
                </a:moveTo>
                <a:cubicBezTo>
                  <a:pt x="8" y="302"/>
                  <a:pt x="7" y="302"/>
                  <a:pt x="5" y="301"/>
                </a:cubicBezTo>
                <a:cubicBezTo>
                  <a:pt x="2" y="299"/>
                  <a:pt x="0" y="294"/>
                  <a:pt x="3" y="290"/>
                </a:cubicBezTo>
                <a:cubicBezTo>
                  <a:pt x="82" y="152"/>
                  <a:pt x="82" y="152"/>
                  <a:pt x="82" y="152"/>
                </a:cubicBezTo>
                <a:cubicBezTo>
                  <a:pt x="2" y="13"/>
                  <a:pt x="2" y="13"/>
                  <a:pt x="2" y="13"/>
                </a:cubicBezTo>
                <a:cubicBezTo>
                  <a:pt x="0" y="9"/>
                  <a:pt x="1" y="4"/>
                  <a:pt x="5" y="2"/>
                </a:cubicBezTo>
                <a:cubicBezTo>
                  <a:pt x="9" y="0"/>
                  <a:pt x="14" y="1"/>
                  <a:pt x="16" y="5"/>
                </a:cubicBezTo>
                <a:cubicBezTo>
                  <a:pt x="98" y="148"/>
                  <a:pt x="98" y="148"/>
                  <a:pt x="98" y="148"/>
                </a:cubicBezTo>
                <a:cubicBezTo>
                  <a:pt x="100" y="150"/>
                  <a:pt x="100" y="154"/>
                  <a:pt x="98" y="156"/>
                </a:cubicBezTo>
                <a:cubicBezTo>
                  <a:pt x="16" y="298"/>
                  <a:pt x="16" y="298"/>
                  <a:pt x="16" y="298"/>
                </a:cubicBezTo>
                <a:cubicBezTo>
                  <a:pt x="15" y="301"/>
                  <a:pt x="12" y="302"/>
                  <a:pt x="9" y="302"/>
                </a:cubicBezTo>
                <a:close/>
              </a:path>
            </a:pathLst>
          </a:custGeom>
          <a:solidFill>
            <a:schemeClr val="tx1"/>
          </a:solidFill>
          <a:ln w="28575">
            <a:solidFill>
              <a:schemeClr val="tx1"/>
            </a:solidFill>
          </a:ln>
        </p:spPr>
        <p:txBody>
          <a:bodyPr vert="horz" wrap="square" lIns="68580" tIns="34291" rIns="68580" bIns="34291" numCol="1" anchor="t" anchorCtr="0" compatLnSpc="1">
            <a:prstTxWarp prst="textNoShape">
              <a:avLst/>
            </a:prstTxWarp>
          </a:bodyPr>
          <a:lstStyle/>
          <a:p>
            <a:endParaRPr lang="en-US" sz="1351" dirty="0"/>
          </a:p>
        </p:txBody>
      </p:sp>
      <p:sp>
        <p:nvSpPr>
          <p:cNvPr id="7" name="Rectangle 6">
            <a:extLst>
              <a:ext uri="{FF2B5EF4-FFF2-40B4-BE49-F238E27FC236}">
                <a16:creationId xmlns:a16="http://schemas.microsoft.com/office/drawing/2014/main" id="{89084D44-4262-ABFB-8E4D-B364EABA1187}"/>
              </a:ext>
            </a:extLst>
          </p:cNvPr>
          <p:cNvSpPr/>
          <p:nvPr/>
        </p:nvSpPr>
        <p:spPr>
          <a:xfrm>
            <a:off x="406744" y="1124147"/>
            <a:ext cx="4004789" cy="5810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b="1" dirty="0">
                <a:solidFill>
                  <a:srgbClr val="FFFFFF"/>
                </a:solidFill>
                <a:latin typeface="EYInterstate Light" panose="02000506000000020004" pitchFamily="2" charset="0"/>
                <a:ea typeface="Arial" panose="020B0706030804020204" pitchFamily="34" charset="0"/>
                <a:cs typeface="Arial" panose="020B0706030804020204" pitchFamily="34" charset="0"/>
              </a:rPr>
              <a:t>Objectives</a:t>
            </a:r>
          </a:p>
        </p:txBody>
      </p:sp>
      <p:sp>
        <p:nvSpPr>
          <p:cNvPr id="8" name="Freeform 13">
            <a:extLst>
              <a:ext uri="{FF2B5EF4-FFF2-40B4-BE49-F238E27FC236}">
                <a16:creationId xmlns:a16="http://schemas.microsoft.com/office/drawing/2014/main" id="{5D807D74-3062-E10E-A795-FE70D01723C2}"/>
              </a:ext>
            </a:extLst>
          </p:cNvPr>
          <p:cNvSpPr>
            <a:spLocks noChangeAspect="1" noEditPoints="1"/>
          </p:cNvSpPr>
          <p:nvPr/>
        </p:nvSpPr>
        <p:spPr bwMode="auto">
          <a:xfrm>
            <a:off x="4575925" y="1037108"/>
            <a:ext cx="835082" cy="607418"/>
          </a:xfrm>
          <a:custGeom>
            <a:avLst/>
            <a:gdLst>
              <a:gd name="T0" fmla="*/ 353 w 356"/>
              <a:gd name="T1" fmla="*/ 3 h 366"/>
              <a:gd name="T2" fmla="*/ 345 w 356"/>
              <a:gd name="T3" fmla="*/ 4 h 366"/>
              <a:gd name="T4" fmla="*/ 292 w 356"/>
              <a:gd name="T5" fmla="*/ 72 h 366"/>
              <a:gd name="T6" fmla="*/ 289 w 356"/>
              <a:gd name="T7" fmla="*/ 71 h 366"/>
              <a:gd name="T8" fmla="*/ 6 w 356"/>
              <a:gd name="T9" fmla="*/ 71 h 366"/>
              <a:gd name="T10" fmla="*/ 0 w 356"/>
              <a:gd name="T11" fmla="*/ 77 h 366"/>
              <a:gd name="T12" fmla="*/ 0 w 356"/>
              <a:gd name="T13" fmla="*/ 360 h 366"/>
              <a:gd name="T14" fmla="*/ 6 w 356"/>
              <a:gd name="T15" fmla="*/ 366 h 366"/>
              <a:gd name="T16" fmla="*/ 289 w 356"/>
              <a:gd name="T17" fmla="*/ 366 h 366"/>
              <a:gd name="T18" fmla="*/ 295 w 356"/>
              <a:gd name="T19" fmla="*/ 360 h 366"/>
              <a:gd name="T20" fmla="*/ 295 w 356"/>
              <a:gd name="T21" fmla="*/ 88 h 366"/>
              <a:gd name="T22" fmla="*/ 354 w 356"/>
              <a:gd name="T23" fmla="*/ 11 h 366"/>
              <a:gd name="T24" fmla="*/ 353 w 356"/>
              <a:gd name="T25" fmla="*/ 3 h 366"/>
              <a:gd name="T26" fmla="*/ 283 w 356"/>
              <a:gd name="T27" fmla="*/ 354 h 366"/>
              <a:gd name="T28" fmla="*/ 12 w 356"/>
              <a:gd name="T29" fmla="*/ 354 h 366"/>
              <a:gd name="T30" fmla="*/ 12 w 356"/>
              <a:gd name="T31" fmla="*/ 83 h 366"/>
              <a:gd name="T32" fmla="*/ 283 w 356"/>
              <a:gd name="T33" fmla="*/ 83 h 366"/>
              <a:gd name="T34" fmla="*/ 283 w 356"/>
              <a:gd name="T35" fmla="*/ 84 h 366"/>
              <a:gd name="T36" fmla="*/ 137 w 356"/>
              <a:gd name="T37" fmla="*/ 272 h 366"/>
              <a:gd name="T38" fmla="*/ 65 w 356"/>
              <a:gd name="T39" fmla="*/ 178 h 366"/>
              <a:gd name="T40" fmla="*/ 56 w 356"/>
              <a:gd name="T41" fmla="*/ 177 h 366"/>
              <a:gd name="T42" fmla="*/ 55 w 356"/>
              <a:gd name="T43" fmla="*/ 186 h 366"/>
              <a:gd name="T44" fmla="*/ 132 w 356"/>
              <a:gd name="T45" fmla="*/ 285 h 366"/>
              <a:gd name="T46" fmla="*/ 137 w 356"/>
              <a:gd name="T47" fmla="*/ 288 h 366"/>
              <a:gd name="T48" fmla="*/ 142 w 356"/>
              <a:gd name="T49" fmla="*/ 285 h 366"/>
              <a:gd name="T50" fmla="*/ 283 w 356"/>
              <a:gd name="T51" fmla="*/ 104 h 366"/>
              <a:gd name="T52" fmla="*/ 283 w 356"/>
              <a:gd name="T53" fmla="*/ 354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6" h="366">
                <a:moveTo>
                  <a:pt x="353" y="3"/>
                </a:moveTo>
                <a:cubicBezTo>
                  <a:pt x="351" y="0"/>
                  <a:pt x="347" y="1"/>
                  <a:pt x="345" y="4"/>
                </a:cubicBezTo>
                <a:cubicBezTo>
                  <a:pt x="292" y="72"/>
                  <a:pt x="292" y="72"/>
                  <a:pt x="292" y="72"/>
                </a:cubicBezTo>
                <a:cubicBezTo>
                  <a:pt x="291" y="71"/>
                  <a:pt x="290" y="71"/>
                  <a:pt x="289" y="71"/>
                </a:cubicBezTo>
                <a:cubicBezTo>
                  <a:pt x="6" y="71"/>
                  <a:pt x="6" y="71"/>
                  <a:pt x="6" y="71"/>
                </a:cubicBezTo>
                <a:cubicBezTo>
                  <a:pt x="2" y="71"/>
                  <a:pt x="0" y="73"/>
                  <a:pt x="0" y="77"/>
                </a:cubicBezTo>
                <a:cubicBezTo>
                  <a:pt x="0" y="360"/>
                  <a:pt x="0" y="360"/>
                  <a:pt x="0" y="360"/>
                </a:cubicBezTo>
                <a:cubicBezTo>
                  <a:pt x="0" y="363"/>
                  <a:pt x="2" y="366"/>
                  <a:pt x="6" y="366"/>
                </a:cubicBezTo>
                <a:cubicBezTo>
                  <a:pt x="289" y="366"/>
                  <a:pt x="289" y="366"/>
                  <a:pt x="289" y="366"/>
                </a:cubicBezTo>
                <a:cubicBezTo>
                  <a:pt x="292" y="366"/>
                  <a:pt x="295" y="363"/>
                  <a:pt x="295" y="360"/>
                </a:cubicBezTo>
                <a:cubicBezTo>
                  <a:pt x="295" y="88"/>
                  <a:pt x="295" y="88"/>
                  <a:pt x="295" y="88"/>
                </a:cubicBezTo>
                <a:cubicBezTo>
                  <a:pt x="354" y="11"/>
                  <a:pt x="354" y="11"/>
                  <a:pt x="354" y="11"/>
                </a:cubicBezTo>
                <a:cubicBezTo>
                  <a:pt x="356" y="8"/>
                  <a:pt x="356" y="5"/>
                  <a:pt x="353" y="3"/>
                </a:cubicBezTo>
                <a:close/>
                <a:moveTo>
                  <a:pt x="283" y="354"/>
                </a:moveTo>
                <a:cubicBezTo>
                  <a:pt x="12" y="354"/>
                  <a:pt x="12" y="354"/>
                  <a:pt x="12" y="354"/>
                </a:cubicBezTo>
                <a:cubicBezTo>
                  <a:pt x="12" y="83"/>
                  <a:pt x="12" y="83"/>
                  <a:pt x="12" y="83"/>
                </a:cubicBezTo>
                <a:cubicBezTo>
                  <a:pt x="283" y="83"/>
                  <a:pt x="283" y="83"/>
                  <a:pt x="283" y="83"/>
                </a:cubicBezTo>
                <a:cubicBezTo>
                  <a:pt x="283" y="84"/>
                  <a:pt x="283" y="84"/>
                  <a:pt x="283" y="84"/>
                </a:cubicBezTo>
                <a:cubicBezTo>
                  <a:pt x="137" y="272"/>
                  <a:pt x="137" y="272"/>
                  <a:pt x="137" y="272"/>
                </a:cubicBezTo>
                <a:cubicBezTo>
                  <a:pt x="65" y="178"/>
                  <a:pt x="65" y="178"/>
                  <a:pt x="65" y="178"/>
                </a:cubicBezTo>
                <a:cubicBezTo>
                  <a:pt x="63" y="176"/>
                  <a:pt x="59" y="175"/>
                  <a:pt x="56" y="177"/>
                </a:cubicBezTo>
                <a:cubicBezTo>
                  <a:pt x="54" y="179"/>
                  <a:pt x="53" y="183"/>
                  <a:pt x="55" y="186"/>
                </a:cubicBezTo>
                <a:cubicBezTo>
                  <a:pt x="132" y="285"/>
                  <a:pt x="132" y="285"/>
                  <a:pt x="132" y="285"/>
                </a:cubicBezTo>
                <a:cubicBezTo>
                  <a:pt x="134" y="287"/>
                  <a:pt x="135" y="288"/>
                  <a:pt x="137" y="288"/>
                </a:cubicBezTo>
                <a:cubicBezTo>
                  <a:pt x="139" y="288"/>
                  <a:pt x="141" y="287"/>
                  <a:pt x="142" y="285"/>
                </a:cubicBezTo>
                <a:cubicBezTo>
                  <a:pt x="283" y="104"/>
                  <a:pt x="283" y="104"/>
                  <a:pt x="283" y="104"/>
                </a:cubicBezTo>
                <a:lnTo>
                  <a:pt x="283" y="354"/>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013" dirty="0"/>
          </a:p>
        </p:txBody>
      </p:sp>
      <p:sp>
        <p:nvSpPr>
          <p:cNvPr id="9" name="Rectangle 8">
            <a:extLst>
              <a:ext uri="{FF2B5EF4-FFF2-40B4-BE49-F238E27FC236}">
                <a16:creationId xmlns:a16="http://schemas.microsoft.com/office/drawing/2014/main" id="{B63EA141-6703-A5C4-7F59-1ED0B5A58268}"/>
              </a:ext>
            </a:extLst>
          </p:cNvPr>
          <p:cNvSpPr/>
          <p:nvPr/>
        </p:nvSpPr>
        <p:spPr>
          <a:xfrm>
            <a:off x="418385" y="1935121"/>
            <a:ext cx="5230869" cy="523220"/>
          </a:xfrm>
          <a:prstGeom prst="rect">
            <a:avLst/>
          </a:prstGeom>
        </p:spPr>
        <p:style>
          <a:lnRef idx="2">
            <a:schemeClr val="accent1"/>
          </a:lnRef>
          <a:fillRef idx="1">
            <a:schemeClr val="lt1"/>
          </a:fillRef>
          <a:effectRef idx="0">
            <a:schemeClr val="accent1"/>
          </a:effectRef>
          <a:fontRef idx="minor">
            <a:schemeClr val="dk1"/>
          </a:fontRef>
        </p:style>
        <p:txBody>
          <a:bodyPr wrap="square" anchor="ctr">
            <a:spAutoFit/>
          </a:bodyPr>
          <a:lstStyle/>
          <a:p>
            <a:r>
              <a:rPr lang="en-US" sz="1400" b="1" dirty="0"/>
              <a:t>The BIA exercise was carried out with the following objectives:</a:t>
            </a:r>
          </a:p>
        </p:txBody>
      </p:sp>
      <p:sp>
        <p:nvSpPr>
          <p:cNvPr id="10" name="Rectangle 9">
            <a:extLst>
              <a:ext uri="{FF2B5EF4-FFF2-40B4-BE49-F238E27FC236}">
                <a16:creationId xmlns:a16="http://schemas.microsoft.com/office/drawing/2014/main" id="{A202ACA0-1E45-84C0-1C12-07B6CAF7EE3A}"/>
              </a:ext>
            </a:extLst>
          </p:cNvPr>
          <p:cNvSpPr/>
          <p:nvPr/>
        </p:nvSpPr>
        <p:spPr>
          <a:xfrm>
            <a:off x="6422575" y="1141361"/>
            <a:ext cx="4043734" cy="5661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b="1" dirty="0">
                <a:solidFill>
                  <a:srgbClr val="FFFFFF"/>
                </a:solidFill>
                <a:latin typeface="EYInterstate Light" panose="02000506000000020004" pitchFamily="2" charset="0"/>
                <a:ea typeface="Arial" panose="020B0706030804020204" pitchFamily="34" charset="0"/>
                <a:cs typeface="Arial" panose="020B0706030804020204" pitchFamily="34" charset="0"/>
              </a:rPr>
              <a:t>Outcomes</a:t>
            </a:r>
          </a:p>
        </p:txBody>
      </p:sp>
      <p:sp>
        <p:nvSpPr>
          <p:cNvPr id="11" name="Freeform 14">
            <a:extLst>
              <a:ext uri="{FF2B5EF4-FFF2-40B4-BE49-F238E27FC236}">
                <a16:creationId xmlns:a16="http://schemas.microsoft.com/office/drawing/2014/main" id="{CF6F89F3-9B40-CAAC-D6E5-F02BA121455D}"/>
              </a:ext>
            </a:extLst>
          </p:cNvPr>
          <p:cNvSpPr>
            <a:spLocks noChangeAspect="1" noEditPoints="1"/>
          </p:cNvSpPr>
          <p:nvPr/>
        </p:nvSpPr>
        <p:spPr bwMode="auto">
          <a:xfrm>
            <a:off x="10710580" y="1042824"/>
            <a:ext cx="835624" cy="568575"/>
          </a:xfrm>
          <a:custGeom>
            <a:avLst/>
            <a:gdLst>
              <a:gd name="T0" fmla="*/ 337 w 361"/>
              <a:gd name="T1" fmla="*/ 348 h 360"/>
              <a:gd name="T2" fmla="*/ 331 w 361"/>
              <a:gd name="T3" fmla="*/ 120 h 360"/>
              <a:gd name="T4" fmla="*/ 277 w 361"/>
              <a:gd name="T5" fmla="*/ 126 h 360"/>
              <a:gd name="T6" fmla="*/ 253 w 361"/>
              <a:gd name="T7" fmla="*/ 348 h 360"/>
              <a:gd name="T8" fmla="*/ 247 w 361"/>
              <a:gd name="T9" fmla="*/ 228 h 360"/>
              <a:gd name="T10" fmla="*/ 193 w 361"/>
              <a:gd name="T11" fmla="*/ 234 h 360"/>
              <a:gd name="T12" fmla="*/ 168 w 361"/>
              <a:gd name="T13" fmla="*/ 348 h 360"/>
              <a:gd name="T14" fmla="*/ 162 w 361"/>
              <a:gd name="T15" fmla="*/ 192 h 360"/>
              <a:gd name="T16" fmla="*/ 108 w 361"/>
              <a:gd name="T17" fmla="*/ 198 h 360"/>
              <a:gd name="T18" fmla="*/ 84 w 361"/>
              <a:gd name="T19" fmla="*/ 348 h 360"/>
              <a:gd name="T20" fmla="*/ 78 w 361"/>
              <a:gd name="T21" fmla="*/ 276 h 360"/>
              <a:gd name="T22" fmla="*/ 24 w 361"/>
              <a:gd name="T23" fmla="*/ 282 h 360"/>
              <a:gd name="T24" fmla="*/ 6 w 361"/>
              <a:gd name="T25" fmla="*/ 348 h 360"/>
              <a:gd name="T26" fmla="*/ 6 w 361"/>
              <a:gd name="T27" fmla="*/ 360 h 360"/>
              <a:gd name="T28" fmla="*/ 361 w 361"/>
              <a:gd name="T29" fmla="*/ 354 h 360"/>
              <a:gd name="T30" fmla="*/ 72 w 361"/>
              <a:gd name="T31" fmla="*/ 348 h 360"/>
              <a:gd name="T32" fmla="*/ 36 w 361"/>
              <a:gd name="T33" fmla="*/ 288 h 360"/>
              <a:gd name="T34" fmla="*/ 72 w 361"/>
              <a:gd name="T35" fmla="*/ 348 h 360"/>
              <a:gd name="T36" fmla="*/ 120 w 361"/>
              <a:gd name="T37" fmla="*/ 348 h 360"/>
              <a:gd name="T38" fmla="*/ 156 w 361"/>
              <a:gd name="T39" fmla="*/ 204 h 360"/>
              <a:gd name="T40" fmla="*/ 241 w 361"/>
              <a:gd name="T41" fmla="*/ 348 h 360"/>
              <a:gd name="T42" fmla="*/ 205 w 361"/>
              <a:gd name="T43" fmla="*/ 240 h 360"/>
              <a:gd name="T44" fmla="*/ 241 w 361"/>
              <a:gd name="T45" fmla="*/ 348 h 360"/>
              <a:gd name="T46" fmla="*/ 289 w 361"/>
              <a:gd name="T47" fmla="*/ 348 h 360"/>
              <a:gd name="T48" fmla="*/ 325 w 361"/>
              <a:gd name="T49" fmla="*/ 132 h 360"/>
              <a:gd name="T50" fmla="*/ 48 w 361"/>
              <a:gd name="T51" fmla="*/ 198 h 360"/>
              <a:gd name="T52" fmla="*/ 70 w 361"/>
              <a:gd name="T53" fmla="*/ 164 h 360"/>
              <a:gd name="T54" fmla="*/ 138 w 361"/>
              <a:gd name="T55" fmla="*/ 120 h 360"/>
              <a:gd name="T56" fmla="*/ 205 w 361"/>
              <a:gd name="T57" fmla="*/ 129 h 360"/>
              <a:gd name="T58" fmla="*/ 229 w 361"/>
              <a:gd name="T59" fmla="*/ 156 h 360"/>
              <a:gd name="T60" fmla="*/ 248 w 361"/>
              <a:gd name="T61" fmla="*/ 118 h 360"/>
              <a:gd name="T62" fmla="*/ 319 w 361"/>
              <a:gd name="T63" fmla="*/ 48 h 360"/>
              <a:gd name="T64" fmla="*/ 319 w 361"/>
              <a:gd name="T65" fmla="*/ 0 h 360"/>
              <a:gd name="T66" fmla="*/ 299 w 361"/>
              <a:gd name="T67" fmla="*/ 38 h 360"/>
              <a:gd name="T68" fmla="*/ 229 w 361"/>
              <a:gd name="T69" fmla="*/ 108 h 360"/>
              <a:gd name="T70" fmla="*/ 162 w 361"/>
              <a:gd name="T71" fmla="*/ 99 h 360"/>
              <a:gd name="T72" fmla="*/ 138 w 361"/>
              <a:gd name="T73" fmla="*/ 72 h 360"/>
              <a:gd name="T74" fmla="*/ 117 w 361"/>
              <a:gd name="T75" fmla="*/ 107 h 360"/>
              <a:gd name="T76" fmla="*/ 48 w 361"/>
              <a:gd name="T77" fmla="*/ 150 h 360"/>
              <a:gd name="T78" fmla="*/ 48 w 361"/>
              <a:gd name="T79" fmla="*/ 198 h 360"/>
              <a:gd name="T80" fmla="*/ 331 w 361"/>
              <a:gd name="T81" fmla="*/ 24 h 360"/>
              <a:gd name="T82" fmla="*/ 307 w 361"/>
              <a:gd name="T83" fmla="*/ 24 h 360"/>
              <a:gd name="T84" fmla="*/ 229 w 361"/>
              <a:gd name="T85" fmla="*/ 120 h 360"/>
              <a:gd name="T86" fmla="*/ 236 w 361"/>
              <a:gd name="T87" fmla="*/ 123 h 360"/>
              <a:gd name="T88" fmla="*/ 241 w 361"/>
              <a:gd name="T89" fmla="*/ 132 h 360"/>
              <a:gd name="T90" fmla="*/ 217 w 361"/>
              <a:gd name="T91" fmla="*/ 132 h 360"/>
              <a:gd name="T92" fmla="*/ 138 w 361"/>
              <a:gd name="T93" fmla="*/ 84 h 360"/>
              <a:gd name="T94" fmla="*/ 138 w 361"/>
              <a:gd name="T95" fmla="*/ 108 h 360"/>
              <a:gd name="T96" fmla="*/ 138 w 361"/>
              <a:gd name="T97" fmla="*/ 84 h 360"/>
              <a:gd name="T98" fmla="*/ 57 w 361"/>
              <a:gd name="T99" fmla="*/ 166 h 360"/>
              <a:gd name="T100" fmla="*/ 57 w 361"/>
              <a:gd name="T101" fmla="*/ 166 h 360"/>
              <a:gd name="T102" fmla="*/ 48 w 361"/>
              <a:gd name="T103" fmla="*/ 186 h 360"/>
              <a:gd name="T104" fmla="*/ 48 w 361"/>
              <a:gd name="T105"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1" h="360">
                <a:moveTo>
                  <a:pt x="355" y="348"/>
                </a:moveTo>
                <a:cubicBezTo>
                  <a:pt x="337" y="348"/>
                  <a:pt x="337" y="348"/>
                  <a:pt x="337" y="348"/>
                </a:cubicBezTo>
                <a:cubicBezTo>
                  <a:pt x="337" y="126"/>
                  <a:pt x="337" y="126"/>
                  <a:pt x="337" y="126"/>
                </a:cubicBezTo>
                <a:cubicBezTo>
                  <a:pt x="337" y="123"/>
                  <a:pt x="334" y="120"/>
                  <a:pt x="331" y="120"/>
                </a:cubicBezTo>
                <a:cubicBezTo>
                  <a:pt x="283" y="120"/>
                  <a:pt x="283" y="120"/>
                  <a:pt x="283" y="120"/>
                </a:cubicBezTo>
                <a:cubicBezTo>
                  <a:pt x="279" y="120"/>
                  <a:pt x="277" y="123"/>
                  <a:pt x="277" y="126"/>
                </a:cubicBezTo>
                <a:cubicBezTo>
                  <a:pt x="277" y="348"/>
                  <a:pt x="277" y="348"/>
                  <a:pt x="277" y="348"/>
                </a:cubicBezTo>
                <a:cubicBezTo>
                  <a:pt x="253" y="348"/>
                  <a:pt x="253" y="348"/>
                  <a:pt x="253" y="348"/>
                </a:cubicBezTo>
                <a:cubicBezTo>
                  <a:pt x="253" y="234"/>
                  <a:pt x="253" y="234"/>
                  <a:pt x="253" y="234"/>
                </a:cubicBezTo>
                <a:cubicBezTo>
                  <a:pt x="253" y="231"/>
                  <a:pt x="250" y="228"/>
                  <a:pt x="247" y="228"/>
                </a:cubicBezTo>
                <a:cubicBezTo>
                  <a:pt x="199" y="228"/>
                  <a:pt x="199" y="228"/>
                  <a:pt x="199" y="228"/>
                </a:cubicBezTo>
                <a:cubicBezTo>
                  <a:pt x="195" y="228"/>
                  <a:pt x="193" y="231"/>
                  <a:pt x="193" y="234"/>
                </a:cubicBezTo>
                <a:cubicBezTo>
                  <a:pt x="193" y="348"/>
                  <a:pt x="193" y="348"/>
                  <a:pt x="193" y="348"/>
                </a:cubicBezTo>
                <a:cubicBezTo>
                  <a:pt x="168" y="348"/>
                  <a:pt x="168" y="348"/>
                  <a:pt x="168" y="348"/>
                </a:cubicBezTo>
                <a:cubicBezTo>
                  <a:pt x="168" y="198"/>
                  <a:pt x="168" y="198"/>
                  <a:pt x="168" y="198"/>
                </a:cubicBezTo>
                <a:cubicBezTo>
                  <a:pt x="168" y="195"/>
                  <a:pt x="166" y="192"/>
                  <a:pt x="162" y="192"/>
                </a:cubicBezTo>
                <a:cubicBezTo>
                  <a:pt x="114" y="192"/>
                  <a:pt x="114" y="192"/>
                  <a:pt x="114" y="192"/>
                </a:cubicBezTo>
                <a:cubicBezTo>
                  <a:pt x="111" y="192"/>
                  <a:pt x="108" y="195"/>
                  <a:pt x="108" y="198"/>
                </a:cubicBezTo>
                <a:cubicBezTo>
                  <a:pt x="108" y="348"/>
                  <a:pt x="108" y="348"/>
                  <a:pt x="108" y="348"/>
                </a:cubicBezTo>
                <a:cubicBezTo>
                  <a:pt x="84" y="348"/>
                  <a:pt x="84" y="348"/>
                  <a:pt x="84" y="348"/>
                </a:cubicBezTo>
                <a:cubicBezTo>
                  <a:pt x="84" y="282"/>
                  <a:pt x="84" y="282"/>
                  <a:pt x="84" y="282"/>
                </a:cubicBezTo>
                <a:cubicBezTo>
                  <a:pt x="84" y="279"/>
                  <a:pt x="82" y="276"/>
                  <a:pt x="78" y="276"/>
                </a:cubicBezTo>
                <a:cubicBezTo>
                  <a:pt x="30" y="276"/>
                  <a:pt x="30" y="276"/>
                  <a:pt x="30" y="276"/>
                </a:cubicBezTo>
                <a:cubicBezTo>
                  <a:pt x="27" y="276"/>
                  <a:pt x="24" y="279"/>
                  <a:pt x="24" y="282"/>
                </a:cubicBezTo>
                <a:cubicBezTo>
                  <a:pt x="24" y="348"/>
                  <a:pt x="24" y="348"/>
                  <a:pt x="24" y="348"/>
                </a:cubicBezTo>
                <a:cubicBezTo>
                  <a:pt x="6" y="348"/>
                  <a:pt x="6" y="348"/>
                  <a:pt x="6" y="348"/>
                </a:cubicBezTo>
                <a:cubicBezTo>
                  <a:pt x="3" y="348"/>
                  <a:pt x="0" y="351"/>
                  <a:pt x="0" y="354"/>
                </a:cubicBezTo>
                <a:cubicBezTo>
                  <a:pt x="0" y="358"/>
                  <a:pt x="3" y="360"/>
                  <a:pt x="6" y="360"/>
                </a:cubicBezTo>
                <a:cubicBezTo>
                  <a:pt x="355" y="360"/>
                  <a:pt x="355" y="360"/>
                  <a:pt x="355" y="360"/>
                </a:cubicBezTo>
                <a:cubicBezTo>
                  <a:pt x="358" y="360"/>
                  <a:pt x="361" y="358"/>
                  <a:pt x="361" y="354"/>
                </a:cubicBezTo>
                <a:cubicBezTo>
                  <a:pt x="361" y="351"/>
                  <a:pt x="358" y="348"/>
                  <a:pt x="355" y="348"/>
                </a:cubicBezTo>
                <a:close/>
                <a:moveTo>
                  <a:pt x="72" y="348"/>
                </a:moveTo>
                <a:cubicBezTo>
                  <a:pt x="36" y="348"/>
                  <a:pt x="36" y="348"/>
                  <a:pt x="36" y="348"/>
                </a:cubicBezTo>
                <a:cubicBezTo>
                  <a:pt x="36" y="288"/>
                  <a:pt x="36" y="288"/>
                  <a:pt x="36" y="288"/>
                </a:cubicBezTo>
                <a:cubicBezTo>
                  <a:pt x="72" y="288"/>
                  <a:pt x="72" y="288"/>
                  <a:pt x="72" y="288"/>
                </a:cubicBezTo>
                <a:lnTo>
                  <a:pt x="72" y="348"/>
                </a:lnTo>
                <a:close/>
                <a:moveTo>
                  <a:pt x="156" y="348"/>
                </a:moveTo>
                <a:cubicBezTo>
                  <a:pt x="120" y="348"/>
                  <a:pt x="120" y="348"/>
                  <a:pt x="120" y="348"/>
                </a:cubicBezTo>
                <a:cubicBezTo>
                  <a:pt x="120" y="204"/>
                  <a:pt x="120" y="204"/>
                  <a:pt x="120" y="204"/>
                </a:cubicBezTo>
                <a:cubicBezTo>
                  <a:pt x="156" y="204"/>
                  <a:pt x="156" y="204"/>
                  <a:pt x="156" y="204"/>
                </a:cubicBezTo>
                <a:lnTo>
                  <a:pt x="156" y="348"/>
                </a:lnTo>
                <a:close/>
                <a:moveTo>
                  <a:pt x="241" y="348"/>
                </a:moveTo>
                <a:cubicBezTo>
                  <a:pt x="205" y="348"/>
                  <a:pt x="205" y="348"/>
                  <a:pt x="205" y="348"/>
                </a:cubicBezTo>
                <a:cubicBezTo>
                  <a:pt x="205" y="240"/>
                  <a:pt x="205" y="240"/>
                  <a:pt x="205" y="240"/>
                </a:cubicBezTo>
                <a:cubicBezTo>
                  <a:pt x="241" y="240"/>
                  <a:pt x="241" y="240"/>
                  <a:pt x="241" y="240"/>
                </a:cubicBezTo>
                <a:lnTo>
                  <a:pt x="241" y="348"/>
                </a:lnTo>
                <a:close/>
                <a:moveTo>
                  <a:pt x="325" y="348"/>
                </a:moveTo>
                <a:cubicBezTo>
                  <a:pt x="289" y="348"/>
                  <a:pt x="289" y="348"/>
                  <a:pt x="289" y="348"/>
                </a:cubicBezTo>
                <a:cubicBezTo>
                  <a:pt x="289" y="132"/>
                  <a:pt x="289" y="132"/>
                  <a:pt x="289" y="132"/>
                </a:cubicBezTo>
                <a:cubicBezTo>
                  <a:pt x="325" y="132"/>
                  <a:pt x="325" y="132"/>
                  <a:pt x="325" y="132"/>
                </a:cubicBezTo>
                <a:lnTo>
                  <a:pt x="325" y="348"/>
                </a:lnTo>
                <a:close/>
                <a:moveTo>
                  <a:pt x="48" y="198"/>
                </a:moveTo>
                <a:cubicBezTo>
                  <a:pt x="62" y="198"/>
                  <a:pt x="72" y="187"/>
                  <a:pt x="72" y="174"/>
                </a:cubicBezTo>
                <a:cubicBezTo>
                  <a:pt x="72" y="170"/>
                  <a:pt x="71" y="167"/>
                  <a:pt x="70" y="164"/>
                </a:cubicBezTo>
                <a:cubicBezTo>
                  <a:pt x="125" y="116"/>
                  <a:pt x="125" y="116"/>
                  <a:pt x="125" y="116"/>
                </a:cubicBezTo>
                <a:cubicBezTo>
                  <a:pt x="129" y="119"/>
                  <a:pt x="133" y="120"/>
                  <a:pt x="138" y="120"/>
                </a:cubicBezTo>
                <a:cubicBezTo>
                  <a:pt x="146" y="120"/>
                  <a:pt x="153" y="116"/>
                  <a:pt x="158" y="110"/>
                </a:cubicBezTo>
                <a:cubicBezTo>
                  <a:pt x="205" y="129"/>
                  <a:pt x="205" y="129"/>
                  <a:pt x="205" y="129"/>
                </a:cubicBezTo>
                <a:cubicBezTo>
                  <a:pt x="205" y="130"/>
                  <a:pt x="205" y="131"/>
                  <a:pt x="205" y="132"/>
                </a:cubicBezTo>
                <a:cubicBezTo>
                  <a:pt x="205" y="145"/>
                  <a:pt x="215" y="156"/>
                  <a:pt x="229" y="156"/>
                </a:cubicBezTo>
                <a:cubicBezTo>
                  <a:pt x="242" y="156"/>
                  <a:pt x="253" y="145"/>
                  <a:pt x="253" y="132"/>
                </a:cubicBezTo>
                <a:cubicBezTo>
                  <a:pt x="253" y="127"/>
                  <a:pt x="251" y="122"/>
                  <a:pt x="248" y="118"/>
                </a:cubicBezTo>
                <a:cubicBezTo>
                  <a:pt x="308" y="46"/>
                  <a:pt x="308" y="46"/>
                  <a:pt x="308" y="46"/>
                </a:cubicBezTo>
                <a:cubicBezTo>
                  <a:pt x="312" y="47"/>
                  <a:pt x="315" y="48"/>
                  <a:pt x="319" y="48"/>
                </a:cubicBezTo>
                <a:cubicBezTo>
                  <a:pt x="332" y="48"/>
                  <a:pt x="343" y="37"/>
                  <a:pt x="343" y="24"/>
                </a:cubicBezTo>
                <a:cubicBezTo>
                  <a:pt x="343" y="11"/>
                  <a:pt x="332" y="0"/>
                  <a:pt x="319" y="0"/>
                </a:cubicBezTo>
                <a:cubicBezTo>
                  <a:pt x="305" y="0"/>
                  <a:pt x="295" y="11"/>
                  <a:pt x="295" y="24"/>
                </a:cubicBezTo>
                <a:cubicBezTo>
                  <a:pt x="295" y="29"/>
                  <a:pt x="296" y="34"/>
                  <a:pt x="299" y="38"/>
                </a:cubicBezTo>
                <a:cubicBezTo>
                  <a:pt x="239" y="110"/>
                  <a:pt x="239" y="110"/>
                  <a:pt x="239" y="110"/>
                </a:cubicBezTo>
                <a:cubicBezTo>
                  <a:pt x="236" y="109"/>
                  <a:pt x="232" y="108"/>
                  <a:pt x="229" y="108"/>
                </a:cubicBezTo>
                <a:cubicBezTo>
                  <a:pt x="221" y="108"/>
                  <a:pt x="214" y="112"/>
                  <a:pt x="209" y="118"/>
                </a:cubicBezTo>
                <a:cubicBezTo>
                  <a:pt x="162" y="99"/>
                  <a:pt x="162" y="99"/>
                  <a:pt x="162" y="99"/>
                </a:cubicBezTo>
                <a:cubicBezTo>
                  <a:pt x="162" y="98"/>
                  <a:pt x="162" y="97"/>
                  <a:pt x="162" y="96"/>
                </a:cubicBezTo>
                <a:cubicBezTo>
                  <a:pt x="162" y="83"/>
                  <a:pt x="152" y="72"/>
                  <a:pt x="138" y="72"/>
                </a:cubicBezTo>
                <a:cubicBezTo>
                  <a:pt x="125" y="72"/>
                  <a:pt x="114" y="83"/>
                  <a:pt x="114" y="96"/>
                </a:cubicBezTo>
                <a:cubicBezTo>
                  <a:pt x="114" y="100"/>
                  <a:pt x="115" y="103"/>
                  <a:pt x="117" y="107"/>
                </a:cubicBezTo>
                <a:cubicBezTo>
                  <a:pt x="62" y="154"/>
                  <a:pt x="62" y="154"/>
                  <a:pt x="62" y="154"/>
                </a:cubicBezTo>
                <a:cubicBezTo>
                  <a:pt x="58" y="152"/>
                  <a:pt x="53" y="150"/>
                  <a:pt x="48" y="150"/>
                </a:cubicBezTo>
                <a:cubicBezTo>
                  <a:pt x="35" y="150"/>
                  <a:pt x="24" y="161"/>
                  <a:pt x="24" y="174"/>
                </a:cubicBezTo>
                <a:cubicBezTo>
                  <a:pt x="24" y="187"/>
                  <a:pt x="35" y="198"/>
                  <a:pt x="48" y="198"/>
                </a:cubicBezTo>
                <a:close/>
                <a:moveTo>
                  <a:pt x="319" y="12"/>
                </a:moveTo>
                <a:cubicBezTo>
                  <a:pt x="325" y="12"/>
                  <a:pt x="331" y="17"/>
                  <a:pt x="331" y="24"/>
                </a:cubicBezTo>
                <a:cubicBezTo>
                  <a:pt x="331" y="31"/>
                  <a:pt x="325" y="36"/>
                  <a:pt x="319" y="36"/>
                </a:cubicBezTo>
                <a:cubicBezTo>
                  <a:pt x="312" y="36"/>
                  <a:pt x="307" y="31"/>
                  <a:pt x="307" y="24"/>
                </a:cubicBezTo>
                <a:cubicBezTo>
                  <a:pt x="307" y="17"/>
                  <a:pt x="312" y="12"/>
                  <a:pt x="319" y="12"/>
                </a:cubicBezTo>
                <a:close/>
                <a:moveTo>
                  <a:pt x="229" y="120"/>
                </a:moveTo>
                <a:cubicBezTo>
                  <a:pt x="231" y="120"/>
                  <a:pt x="234" y="121"/>
                  <a:pt x="236" y="123"/>
                </a:cubicBezTo>
                <a:cubicBezTo>
                  <a:pt x="236" y="123"/>
                  <a:pt x="236" y="123"/>
                  <a:pt x="236" y="123"/>
                </a:cubicBezTo>
                <a:cubicBezTo>
                  <a:pt x="236" y="123"/>
                  <a:pt x="236" y="123"/>
                  <a:pt x="236" y="123"/>
                </a:cubicBezTo>
                <a:cubicBezTo>
                  <a:pt x="239" y="125"/>
                  <a:pt x="241" y="128"/>
                  <a:pt x="241" y="132"/>
                </a:cubicBezTo>
                <a:cubicBezTo>
                  <a:pt x="241" y="139"/>
                  <a:pt x="235" y="144"/>
                  <a:pt x="229" y="144"/>
                </a:cubicBezTo>
                <a:cubicBezTo>
                  <a:pt x="222" y="144"/>
                  <a:pt x="217" y="139"/>
                  <a:pt x="217" y="132"/>
                </a:cubicBezTo>
                <a:cubicBezTo>
                  <a:pt x="217" y="125"/>
                  <a:pt x="222" y="120"/>
                  <a:pt x="229" y="120"/>
                </a:cubicBezTo>
                <a:close/>
                <a:moveTo>
                  <a:pt x="138" y="84"/>
                </a:moveTo>
                <a:cubicBezTo>
                  <a:pt x="145" y="84"/>
                  <a:pt x="150" y="89"/>
                  <a:pt x="150" y="96"/>
                </a:cubicBezTo>
                <a:cubicBezTo>
                  <a:pt x="150" y="103"/>
                  <a:pt x="145" y="108"/>
                  <a:pt x="138" y="108"/>
                </a:cubicBezTo>
                <a:cubicBezTo>
                  <a:pt x="132" y="108"/>
                  <a:pt x="126" y="103"/>
                  <a:pt x="126" y="96"/>
                </a:cubicBezTo>
                <a:cubicBezTo>
                  <a:pt x="126" y="89"/>
                  <a:pt x="132" y="84"/>
                  <a:pt x="138" y="84"/>
                </a:cubicBezTo>
                <a:close/>
                <a:moveTo>
                  <a:pt x="48" y="162"/>
                </a:moveTo>
                <a:cubicBezTo>
                  <a:pt x="52" y="162"/>
                  <a:pt x="55" y="164"/>
                  <a:pt x="57" y="166"/>
                </a:cubicBezTo>
                <a:cubicBezTo>
                  <a:pt x="57" y="166"/>
                  <a:pt x="57" y="166"/>
                  <a:pt x="57" y="166"/>
                </a:cubicBezTo>
                <a:cubicBezTo>
                  <a:pt x="57" y="166"/>
                  <a:pt x="57" y="166"/>
                  <a:pt x="57" y="166"/>
                </a:cubicBezTo>
                <a:cubicBezTo>
                  <a:pt x="59" y="168"/>
                  <a:pt x="60" y="171"/>
                  <a:pt x="60" y="174"/>
                </a:cubicBezTo>
                <a:cubicBezTo>
                  <a:pt x="60" y="181"/>
                  <a:pt x="55" y="186"/>
                  <a:pt x="48" y="186"/>
                </a:cubicBezTo>
                <a:cubicBezTo>
                  <a:pt x="42" y="186"/>
                  <a:pt x="36" y="181"/>
                  <a:pt x="36" y="174"/>
                </a:cubicBezTo>
                <a:cubicBezTo>
                  <a:pt x="36" y="168"/>
                  <a:pt x="42" y="162"/>
                  <a:pt x="48" y="162"/>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013" dirty="0"/>
          </a:p>
        </p:txBody>
      </p:sp>
      <p:sp>
        <p:nvSpPr>
          <p:cNvPr id="12" name="Rectangle 11">
            <a:extLst>
              <a:ext uri="{FF2B5EF4-FFF2-40B4-BE49-F238E27FC236}">
                <a16:creationId xmlns:a16="http://schemas.microsoft.com/office/drawing/2014/main" id="{6EF6E4F3-12C2-AA67-A23B-48BC501E864D}"/>
              </a:ext>
            </a:extLst>
          </p:cNvPr>
          <p:cNvSpPr/>
          <p:nvPr/>
        </p:nvSpPr>
        <p:spPr>
          <a:xfrm>
            <a:off x="6422575" y="2042841"/>
            <a:ext cx="5229841" cy="307777"/>
          </a:xfrm>
          <a:prstGeom prst="rect">
            <a:avLst/>
          </a:prstGeom>
        </p:spPr>
        <p:style>
          <a:lnRef idx="2">
            <a:schemeClr val="accent2"/>
          </a:lnRef>
          <a:fillRef idx="1">
            <a:schemeClr val="lt1"/>
          </a:fillRef>
          <a:effectRef idx="0">
            <a:schemeClr val="accent2"/>
          </a:effectRef>
          <a:fontRef idx="minor">
            <a:schemeClr val="dk1"/>
          </a:fontRef>
        </p:style>
        <p:txBody>
          <a:bodyPr wrap="square" anchor="ctr">
            <a:spAutoFit/>
          </a:bodyPr>
          <a:lstStyle/>
          <a:p>
            <a:r>
              <a:rPr lang="en-US" sz="1400" b="1" dirty="0"/>
              <a:t>The BIA exercise helps establish the following:</a:t>
            </a:r>
          </a:p>
        </p:txBody>
      </p:sp>
      <p:sp>
        <p:nvSpPr>
          <p:cNvPr id="13" name="Rectangle 12">
            <a:extLst>
              <a:ext uri="{FF2B5EF4-FFF2-40B4-BE49-F238E27FC236}">
                <a16:creationId xmlns:a16="http://schemas.microsoft.com/office/drawing/2014/main" id="{C1F168C0-0554-087C-0F49-8D13CB314CD6}"/>
              </a:ext>
            </a:extLst>
          </p:cNvPr>
          <p:cNvSpPr/>
          <p:nvPr/>
        </p:nvSpPr>
        <p:spPr>
          <a:xfrm>
            <a:off x="366938" y="5473159"/>
            <a:ext cx="11301188" cy="577081"/>
          </a:xfrm>
          <a:prstGeom prst="rect">
            <a:avLst/>
          </a:prstGeom>
          <a:ln w="9525"/>
        </p:spPr>
        <p:style>
          <a:lnRef idx="2">
            <a:schemeClr val="accent4"/>
          </a:lnRef>
          <a:fillRef idx="1">
            <a:schemeClr val="lt1"/>
          </a:fillRef>
          <a:effectRef idx="0">
            <a:schemeClr val="accent4"/>
          </a:effectRef>
          <a:fontRef idx="minor">
            <a:schemeClr val="dk1"/>
          </a:fontRef>
        </p:style>
        <p:txBody>
          <a:bodyPr wrap="square" anchor="ctr">
            <a:spAutoFit/>
          </a:bodyPr>
          <a:lstStyle/>
          <a:p>
            <a:pPr algn="just">
              <a:spcAft>
                <a:spcPts val="800"/>
              </a:spcAft>
            </a:pPr>
            <a:r>
              <a:rPr lang="en-IN" sz="1050" dirty="0"/>
              <a:t>Having determined the criticality of the datasets from CIAP perspectives (i.e., how important is it to ensure the confidentiality, integrity, availability and privacy of the datasets),</a:t>
            </a:r>
            <a:r>
              <a:rPr lang="en-IN" sz="1050" b="1" dirty="0"/>
              <a:t> </a:t>
            </a:r>
            <a:r>
              <a:rPr lang="en-IN" sz="1050" dirty="0"/>
              <a:t>Bekaert can </a:t>
            </a:r>
            <a:r>
              <a:rPr lang="en-IN" sz="1050" b="1" dirty="0"/>
              <a:t>identify the security measures which should be implemented to maintain the confidentiality, integrity, availability and privacy </a:t>
            </a:r>
            <a:r>
              <a:rPr lang="en-IN" sz="1050" dirty="0"/>
              <a:t>and thus </a:t>
            </a:r>
            <a:r>
              <a:rPr lang="en-IN" sz="1050" b="1" dirty="0"/>
              <a:t>strengthen its information security posture</a:t>
            </a:r>
            <a:r>
              <a:rPr lang="en-IN" sz="1050" dirty="0"/>
              <a:t>. </a:t>
            </a:r>
            <a:endParaRPr lang="en-US" sz="1050" dirty="0"/>
          </a:p>
        </p:txBody>
      </p:sp>
      <p:sp>
        <p:nvSpPr>
          <p:cNvPr id="14" name="Rectangle 13">
            <a:extLst>
              <a:ext uri="{FF2B5EF4-FFF2-40B4-BE49-F238E27FC236}">
                <a16:creationId xmlns:a16="http://schemas.microsoft.com/office/drawing/2014/main" id="{20D9061C-4568-8D6A-2518-D00B7954E208}"/>
              </a:ext>
            </a:extLst>
          </p:cNvPr>
          <p:cNvSpPr/>
          <p:nvPr/>
        </p:nvSpPr>
        <p:spPr>
          <a:xfrm>
            <a:off x="6422575" y="2646339"/>
            <a:ext cx="5229841" cy="1966837"/>
          </a:xfrm>
          <a:prstGeom prst="rect">
            <a:avLst/>
          </a:prstGeom>
          <a:ln w="9525"/>
        </p:spPr>
        <p:style>
          <a:lnRef idx="2">
            <a:schemeClr val="accent2"/>
          </a:lnRef>
          <a:fillRef idx="1">
            <a:schemeClr val="lt1"/>
          </a:fillRef>
          <a:effectRef idx="0">
            <a:schemeClr val="accent2"/>
          </a:effectRef>
          <a:fontRef idx="minor">
            <a:schemeClr val="dk1"/>
          </a:fontRef>
        </p:style>
        <p:txBody>
          <a:bodyPr rtlCol="0" anchor="t"/>
          <a:lstStyle/>
          <a:p>
            <a:pPr marL="180000" indent="-180000" algn="ctr">
              <a:buFont typeface="Wingdings" panose="05000000000000000000" pitchFamily="2" charset="2"/>
              <a:buChar char="§"/>
            </a:pPr>
            <a:endParaRPr lang="en-IN" sz="1400" dirty="0">
              <a:solidFill>
                <a:schemeClr val="bg1"/>
              </a:solidFill>
            </a:endParaRPr>
          </a:p>
        </p:txBody>
      </p:sp>
      <p:sp>
        <p:nvSpPr>
          <p:cNvPr id="15" name="Rectangle 14">
            <a:extLst>
              <a:ext uri="{FF2B5EF4-FFF2-40B4-BE49-F238E27FC236}">
                <a16:creationId xmlns:a16="http://schemas.microsoft.com/office/drawing/2014/main" id="{C58BA468-8FD7-2FDD-B6D5-A5120B3D78F6}"/>
              </a:ext>
            </a:extLst>
          </p:cNvPr>
          <p:cNvSpPr/>
          <p:nvPr/>
        </p:nvSpPr>
        <p:spPr>
          <a:xfrm>
            <a:off x="6519166" y="2646339"/>
            <a:ext cx="5022750" cy="1543821"/>
          </a:xfrm>
          <a:prstGeom prst="rect">
            <a:avLst/>
          </a:prstGeom>
        </p:spPr>
        <p:txBody>
          <a:bodyPr wrap="square">
            <a:spAutoFit/>
          </a:bodyPr>
          <a:lstStyle/>
          <a:p>
            <a:pPr marL="268288" indent="-268288" algn="just">
              <a:lnSpc>
                <a:spcPct val="114000"/>
              </a:lnSpc>
              <a:spcAft>
                <a:spcPts val="1200"/>
              </a:spcAft>
              <a:buClr>
                <a:schemeClr val="accent2"/>
              </a:buClr>
              <a:buSzPct val="170000"/>
              <a:buFont typeface="Arial" panose="020B0604020202020204" pitchFamily="34" charset="0"/>
              <a:buChar char="•"/>
            </a:pPr>
            <a:r>
              <a:rPr lang="en-IN" sz="1100" dirty="0">
                <a:solidFill>
                  <a:schemeClr val="dk1"/>
                </a:solidFill>
              </a:rPr>
              <a:t>Determine the CIAP scores for each dataset, i.e</a:t>
            </a:r>
            <a:r>
              <a:rPr lang="en-IN" sz="1100" b="1" dirty="0">
                <a:solidFill>
                  <a:schemeClr val="dk1"/>
                </a:solidFill>
              </a:rPr>
              <a:t>., importance of each dataset from the perspective of maintaining its confidentiality, integrity, availability and privacy</a:t>
            </a:r>
          </a:p>
          <a:p>
            <a:pPr marL="268288" indent="-268288" algn="just">
              <a:lnSpc>
                <a:spcPct val="114000"/>
              </a:lnSpc>
              <a:spcAft>
                <a:spcPts val="1200"/>
              </a:spcAft>
              <a:buClr>
                <a:schemeClr val="accent2"/>
              </a:buClr>
              <a:buSzPct val="170000"/>
              <a:buFont typeface="Arial" panose="020B0604020202020204" pitchFamily="34" charset="0"/>
              <a:buChar char="•"/>
            </a:pPr>
            <a:r>
              <a:rPr lang="en-IN" sz="1100" b="1" dirty="0">
                <a:solidFill>
                  <a:schemeClr val="dk1"/>
                </a:solidFill>
              </a:rPr>
              <a:t>Re-validate crown jewels and applications</a:t>
            </a:r>
          </a:p>
          <a:p>
            <a:pPr marL="268288" indent="-268288" algn="just">
              <a:lnSpc>
                <a:spcPct val="114000"/>
              </a:lnSpc>
              <a:spcAft>
                <a:spcPts val="1200"/>
              </a:spcAft>
              <a:buClr>
                <a:schemeClr val="accent2"/>
              </a:buClr>
              <a:buSzPct val="170000"/>
              <a:buFont typeface="Arial" panose="020B0604020202020204" pitchFamily="34" charset="0"/>
              <a:buChar char="•"/>
            </a:pPr>
            <a:r>
              <a:rPr lang="en-IN" sz="1100" dirty="0">
                <a:solidFill>
                  <a:schemeClr val="dk1"/>
                </a:solidFill>
              </a:rPr>
              <a:t>Identify the </a:t>
            </a:r>
            <a:r>
              <a:rPr lang="en-IN" sz="1100" b="1" dirty="0">
                <a:solidFill>
                  <a:schemeClr val="dk1"/>
                </a:solidFill>
              </a:rPr>
              <a:t>departments and applications </a:t>
            </a:r>
            <a:r>
              <a:rPr lang="en-IN" sz="1100" dirty="0">
                <a:solidFill>
                  <a:schemeClr val="dk1"/>
                </a:solidFill>
              </a:rPr>
              <a:t>(by virtue of datasets handled) </a:t>
            </a:r>
            <a:r>
              <a:rPr lang="en-IN" sz="1100" b="1" dirty="0">
                <a:solidFill>
                  <a:schemeClr val="dk1"/>
                </a:solidFill>
              </a:rPr>
              <a:t>to be prioritized for data governance activities</a:t>
            </a:r>
          </a:p>
        </p:txBody>
      </p:sp>
      <p:sp>
        <p:nvSpPr>
          <p:cNvPr id="16" name="Rectangle 15">
            <a:extLst>
              <a:ext uri="{FF2B5EF4-FFF2-40B4-BE49-F238E27FC236}">
                <a16:creationId xmlns:a16="http://schemas.microsoft.com/office/drawing/2014/main" id="{8B9396D6-5914-3E72-074D-E07F35B60275}"/>
              </a:ext>
            </a:extLst>
          </p:cNvPr>
          <p:cNvSpPr/>
          <p:nvPr/>
        </p:nvSpPr>
        <p:spPr>
          <a:xfrm>
            <a:off x="420004" y="2646339"/>
            <a:ext cx="5229841" cy="1966837"/>
          </a:xfrm>
          <a:prstGeom prst="rect">
            <a:avLst/>
          </a:prstGeom>
          <a:ln w="6350">
            <a:solidFill>
              <a:schemeClr val="accent1"/>
            </a:solidFill>
          </a:ln>
        </p:spPr>
        <p:style>
          <a:lnRef idx="2">
            <a:schemeClr val="accent2"/>
          </a:lnRef>
          <a:fillRef idx="1">
            <a:schemeClr val="lt1"/>
          </a:fillRef>
          <a:effectRef idx="0">
            <a:schemeClr val="accent2"/>
          </a:effectRef>
          <a:fontRef idx="minor">
            <a:schemeClr val="dk1"/>
          </a:fontRef>
        </p:style>
        <p:txBody>
          <a:bodyPr rtlCol="0" anchor="t"/>
          <a:lstStyle/>
          <a:p>
            <a:pPr marL="180000" indent="-180000" algn="ctr">
              <a:buFont typeface="Wingdings" panose="05000000000000000000" pitchFamily="2" charset="2"/>
              <a:buChar char="§"/>
            </a:pPr>
            <a:endParaRPr lang="en-IN" sz="1100" dirty="0">
              <a:solidFill>
                <a:schemeClr val="bg1"/>
              </a:solidFill>
            </a:endParaRPr>
          </a:p>
        </p:txBody>
      </p:sp>
      <p:sp>
        <p:nvSpPr>
          <p:cNvPr id="17" name="Rectangle 16">
            <a:extLst>
              <a:ext uri="{FF2B5EF4-FFF2-40B4-BE49-F238E27FC236}">
                <a16:creationId xmlns:a16="http://schemas.microsoft.com/office/drawing/2014/main" id="{27765CFC-02CD-ABDF-1C3D-926716DB9104}"/>
              </a:ext>
            </a:extLst>
          </p:cNvPr>
          <p:cNvSpPr/>
          <p:nvPr/>
        </p:nvSpPr>
        <p:spPr>
          <a:xfrm>
            <a:off x="433911" y="2735740"/>
            <a:ext cx="5119342" cy="1350819"/>
          </a:xfrm>
          <a:prstGeom prst="rect">
            <a:avLst/>
          </a:prstGeom>
        </p:spPr>
        <p:txBody>
          <a:bodyPr wrap="square">
            <a:spAutoFit/>
          </a:bodyPr>
          <a:lstStyle/>
          <a:p>
            <a:pPr marL="268288" indent="-268288" algn="just">
              <a:lnSpc>
                <a:spcPct val="114000"/>
              </a:lnSpc>
              <a:spcAft>
                <a:spcPts val="1200"/>
              </a:spcAft>
              <a:buClr>
                <a:schemeClr val="accent1"/>
              </a:buClr>
              <a:buSzPct val="170000"/>
              <a:buFont typeface="Arial" panose="020B0604020202020204" pitchFamily="34" charset="0"/>
              <a:buChar char="•"/>
            </a:pPr>
            <a:r>
              <a:rPr lang="en-IN" sz="1100" dirty="0">
                <a:solidFill>
                  <a:schemeClr val="dk1"/>
                </a:solidFill>
              </a:rPr>
              <a:t>Identify the </a:t>
            </a:r>
            <a:r>
              <a:rPr lang="en-IN" sz="1100" b="1" dirty="0">
                <a:solidFill>
                  <a:schemeClr val="dk1"/>
                </a:solidFill>
              </a:rPr>
              <a:t>departments and applications</a:t>
            </a:r>
            <a:r>
              <a:rPr lang="en-IN" sz="1100" dirty="0">
                <a:solidFill>
                  <a:schemeClr val="dk1"/>
                </a:solidFill>
              </a:rPr>
              <a:t> which contain </a:t>
            </a:r>
            <a:r>
              <a:rPr lang="en-IN" sz="1100" b="1" dirty="0">
                <a:solidFill>
                  <a:schemeClr val="dk1"/>
                </a:solidFill>
              </a:rPr>
              <a:t>critical datasets</a:t>
            </a:r>
            <a:r>
              <a:rPr lang="en-US" sz="1100" dirty="0">
                <a:solidFill>
                  <a:schemeClr val="dk1"/>
                </a:solidFill>
              </a:rPr>
              <a:t>.</a:t>
            </a:r>
          </a:p>
          <a:p>
            <a:pPr marL="268288" indent="-268288" algn="just">
              <a:lnSpc>
                <a:spcPct val="114000"/>
              </a:lnSpc>
              <a:spcAft>
                <a:spcPts val="1200"/>
              </a:spcAft>
              <a:buClr>
                <a:schemeClr val="accent1"/>
              </a:buClr>
              <a:buSzPct val="170000"/>
              <a:buFont typeface="Arial" panose="020B0604020202020204" pitchFamily="34" charset="0"/>
              <a:buChar char="•"/>
            </a:pPr>
            <a:r>
              <a:rPr lang="en-IN" sz="1100" dirty="0">
                <a:solidFill>
                  <a:schemeClr val="dk1"/>
                </a:solidFill>
              </a:rPr>
              <a:t>Assess business impact of potential cybersecurity breach across the BIA areas, including </a:t>
            </a:r>
            <a:r>
              <a:rPr lang="en-IN" sz="1100" b="1" dirty="0">
                <a:solidFill>
                  <a:schemeClr val="dk1"/>
                </a:solidFill>
              </a:rPr>
              <a:t>confidentiality, integrity, availability and privacy (CIAP)</a:t>
            </a:r>
          </a:p>
          <a:p>
            <a:pPr marL="268288" indent="-268288" algn="just">
              <a:lnSpc>
                <a:spcPct val="114000"/>
              </a:lnSpc>
              <a:spcAft>
                <a:spcPts val="1200"/>
              </a:spcAft>
              <a:buClr>
                <a:schemeClr val="accent1"/>
              </a:buClr>
              <a:buSzPct val="170000"/>
              <a:buFont typeface="Arial" panose="020B0604020202020204" pitchFamily="34" charset="0"/>
              <a:buChar char="•"/>
            </a:pPr>
            <a:r>
              <a:rPr lang="en-US" sz="1100" dirty="0"/>
              <a:t>Confirm </a:t>
            </a:r>
            <a:r>
              <a:rPr lang="en-US" sz="1100" b="1" dirty="0"/>
              <a:t>crown jewels</a:t>
            </a:r>
          </a:p>
        </p:txBody>
      </p:sp>
    </p:spTree>
    <p:extLst>
      <p:ext uri="{BB962C8B-B14F-4D97-AF65-F5344CB8AC3E}">
        <p14:creationId xmlns:p14="http://schemas.microsoft.com/office/powerpoint/2010/main" val="714134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01CA8BB829C7A42B2F13D1EEEDCE24A" ma:contentTypeVersion="13" ma:contentTypeDescription="Create a new document." ma:contentTypeScope="" ma:versionID="793e02d6ef088f259508d28bf9310876">
  <xsd:schema xmlns:xsd="http://www.w3.org/2001/XMLSchema" xmlns:xs="http://www.w3.org/2001/XMLSchema" xmlns:p="http://schemas.microsoft.com/office/2006/metadata/properties" xmlns:ns2="d0d77eca-fb09-4c91-a0cf-c85fba2eb381" xmlns:ns3="2639db57-25c1-4f65-bd5b-b8808369bb33" targetNamespace="http://schemas.microsoft.com/office/2006/metadata/properties" ma:root="true" ma:fieldsID="ca73b7eb79617bad0957b97a3c1d14ae" ns2:_="" ns3:_="">
    <xsd:import namespace="d0d77eca-fb09-4c91-a0cf-c85fba2eb381"/>
    <xsd:import namespace="2639db57-25c1-4f65-bd5b-b8808369bb3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d77eca-fb09-4c91-a0cf-c85fba2eb3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d765a431-9415-4219-9cd0-5363948861b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639db57-25c1-4f65-bd5b-b8808369bb3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be3b4ae6-4021-4e19-9b6f-4dff2f7d081f}" ma:internalName="TaxCatchAll" ma:showField="CatchAllData" ma:web="2639db57-25c1-4f65-bd5b-b8808369bb3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0d77eca-fb09-4c91-a0cf-c85fba2eb381">
      <Terms xmlns="http://schemas.microsoft.com/office/infopath/2007/PartnerControls"/>
    </lcf76f155ced4ddcb4097134ff3c332f>
    <TaxCatchAll xmlns="2639db57-25c1-4f65-bd5b-b8808369bb33" xsi:nil="true"/>
  </documentManagement>
</p:properties>
</file>

<file path=customXml/itemProps1.xml><?xml version="1.0" encoding="utf-8"?>
<ds:datastoreItem xmlns:ds="http://schemas.openxmlformats.org/officeDocument/2006/customXml" ds:itemID="{CDBBFCAF-E360-4110-8C9B-82AE6B46F876}"/>
</file>

<file path=customXml/itemProps2.xml><?xml version="1.0" encoding="utf-8"?>
<ds:datastoreItem xmlns:ds="http://schemas.openxmlformats.org/officeDocument/2006/customXml" ds:itemID="{3391C690-4BE0-48BF-8EA9-D1E084F537D8}"/>
</file>

<file path=customXml/itemProps3.xml><?xml version="1.0" encoding="utf-8"?>
<ds:datastoreItem xmlns:ds="http://schemas.openxmlformats.org/officeDocument/2006/customXml" ds:itemID="{7737C1ED-1F4E-45D7-AC8E-9F8E022DE38F}"/>
</file>

<file path=docProps/app.xml><?xml version="1.0" encoding="utf-8"?>
<Properties xmlns="http://schemas.openxmlformats.org/officeDocument/2006/extended-properties" xmlns:vt="http://schemas.openxmlformats.org/officeDocument/2006/docPropsVTypes">
  <TotalTime>702</TotalTime>
  <Words>2584</Words>
  <Application>Microsoft Office PowerPoint</Application>
  <PresentationFormat>Widescreen</PresentationFormat>
  <Paragraphs>308</Paragraphs>
  <Slides>21</Slides>
  <Notes>0</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2" baseType="lpstr">
      <vt:lpstr>Arial</vt:lpstr>
      <vt:lpstr>Calibri</vt:lpstr>
      <vt:lpstr>Calibri Light</vt:lpstr>
      <vt:lpstr>EYInterstate</vt:lpstr>
      <vt:lpstr>EYInterstate Light</vt:lpstr>
      <vt:lpstr>Georgia</vt:lpstr>
      <vt:lpstr>Wingdings</vt:lpstr>
      <vt:lpstr>Office Theme</vt:lpstr>
      <vt:lpstr>EY dark background</vt:lpstr>
      <vt:lpstr>1_EY light background</vt:lpstr>
      <vt:lpstr>think-cell Slide</vt:lpstr>
      <vt:lpstr>Unit 4 Business Impact Analysi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t 4</dc:title>
  <dc:creator>Swapnil Raichandani</dc:creator>
  <cp:lastModifiedBy>EY</cp:lastModifiedBy>
  <cp:revision>1</cp:revision>
  <dcterms:created xsi:type="dcterms:W3CDTF">2023-08-03T11:25:47Z</dcterms:created>
  <dcterms:modified xsi:type="dcterms:W3CDTF">2023-09-09T08:4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1CA8BB829C7A42B2F13D1EEEDCE24A</vt:lpwstr>
  </property>
</Properties>
</file>